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3.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4.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6.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5" r:id="rId2"/>
    <p:sldMasterId id="2147483798" r:id="rId3"/>
    <p:sldMasterId id="2147483814" r:id="rId4"/>
    <p:sldMasterId id="2147483834" r:id="rId5"/>
    <p:sldMasterId id="2147483862" r:id="rId6"/>
    <p:sldMasterId id="2147483888" r:id="rId7"/>
  </p:sldMasterIdLst>
  <p:notesMasterIdLst>
    <p:notesMasterId r:id="rId29"/>
  </p:notesMasterIdLst>
  <p:sldIdLst>
    <p:sldId id="581" r:id="rId8"/>
    <p:sldId id="473" r:id="rId9"/>
    <p:sldId id="446" r:id="rId10"/>
    <p:sldId id="478" r:id="rId11"/>
    <p:sldId id="481" r:id="rId12"/>
    <p:sldId id="572" r:id="rId13"/>
    <p:sldId id="558" r:id="rId14"/>
    <p:sldId id="575" r:id="rId15"/>
    <p:sldId id="576" r:id="rId16"/>
    <p:sldId id="298" r:id="rId17"/>
    <p:sldId id="561" r:id="rId18"/>
    <p:sldId id="545" r:id="rId19"/>
    <p:sldId id="580" r:id="rId20"/>
    <p:sldId id="460" r:id="rId21"/>
    <p:sldId id="465" r:id="rId22"/>
    <p:sldId id="453" r:id="rId23"/>
    <p:sldId id="463" r:id="rId24"/>
    <p:sldId id="464" r:id="rId25"/>
    <p:sldId id="467" r:id="rId26"/>
    <p:sldId id="379" r:id="rId27"/>
    <p:sldId id="563" r:id="rId28"/>
  </p:sldIdLst>
  <p:sldSz cx="12188825" cy="6858000"/>
  <p:notesSz cx="7312025" cy="9598025"/>
  <p:defaultTextStyle>
    <a:defPPr>
      <a:defRPr lang="en-US"/>
    </a:defPPr>
    <a:lvl1pPr marL="0" algn="l" defTabSz="914323" rtl="0" eaLnBrk="1" latinLnBrk="0" hangingPunct="1">
      <a:defRPr sz="1900" kern="1200">
        <a:solidFill>
          <a:schemeClr val="tx1"/>
        </a:solidFill>
        <a:latin typeface="+mn-lt"/>
        <a:ea typeface="+mn-ea"/>
        <a:cs typeface="+mn-cs"/>
      </a:defRPr>
    </a:lvl1pPr>
    <a:lvl2pPr marL="457161" algn="l" defTabSz="914323" rtl="0" eaLnBrk="1" latinLnBrk="0" hangingPunct="1">
      <a:defRPr sz="1900" kern="1200">
        <a:solidFill>
          <a:schemeClr val="tx1"/>
        </a:solidFill>
        <a:latin typeface="+mn-lt"/>
        <a:ea typeface="+mn-ea"/>
        <a:cs typeface="+mn-cs"/>
      </a:defRPr>
    </a:lvl2pPr>
    <a:lvl3pPr marL="914323" algn="l" defTabSz="914323" rtl="0" eaLnBrk="1" latinLnBrk="0" hangingPunct="1">
      <a:defRPr sz="1900" kern="1200">
        <a:solidFill>
          <a:schemeClr val="tx1"/>
        </a:solidFill>
        <a:latin typeface="+mn-lt"/>
        <a:ea typeface="+mn-ea"/>
        <a:cs typeface="+mn-cs"/>
      </a:defRPr>
    </a:lvl3pPr>
    <a:lvl4pPr marL="1371485" algn="l" defTabSz="914323" rtl="0" eaLnBrk="1" latinLnBrk="0" hangingPunct="1">
      <a:defRPr sz="1900" kern="1200">
        <a:solidFill>
          <a:schemeClr val="tx1"/>
        </a:solidFill>
        <a:latin typeface="+mn-lt"/>
        <a:ea typeface="+mn-ea"/>
        <a:cs typeface="+mn-cs"/>
      </a:defRPr>
    </a:lvl4pPr>
    <a:lvl5pPr marL="1828648" algn="l" defTabSz="914323" rtl="0" eaLnBrk="1" latinLnBrk="0" hangingPunct="1">
      <a:defRPr sz="1900" kern="1200">
        <a:solidFill>
          <a:schemeClr val="tx1"/>
        </a:solidFill>
        <a:latin typeface="+mn-lt"/>
        <a:ea typeface="+mn-ea"/>
        <a:cs typeface="+mn-cs"/>
      </a:defRPr>
    </a:lvl5pPr>
    <a:lvl6pPr marL="2285809" algn="l" defTabSz="914323" rtl="0" eaLnBrk="1" latinLnBrk="0" hangingPunct="1">
      <a:defRPr sz="1900" kern="1200">
        <a:solidFill>
          <a:schemeClr val="tx1"/>
        </a:solidFill>
        <a:latin typeface="+mn-lt"/>
        <a:ea typeface="+mn-ea"/>
        <a:cs typeface="+mn-cs"/>
      </a:defRPr>
    </a:lvl6pPr>
    <a:lvl7pPr marL="2742971" algn="l" defTabSz="914323" rtl="0" eaLnBrk="1" latinLnBrk="0" hangingPunct="1">
      <a:defRPr sz="1900" kern="1200">
        <a:solidFill>
          <a:schemeClr val="tx1"/>
        </a:solidFill>
        <a:latin typeface="+mn-lt"/>
        <a:ea typeface="+mn-ea"/>
        <a:cs typeface="+mn-cs"/>
      </a:defRPr>
    </a:lvl7pPr>
    <a:lvl8pPr marL="3200133" algn="l" defTabSz="914323" rtl="0" eaLnBrk="1" latinLnBrk="0" hangingPunct="1">
      <a:defRPr sz="1900" kern="1200">
        <a:solidFill>
          <a:schemeClr val="tx1"/>
        </a:solidFill>
        <a:latin typeface="+mn-lt"/>
        <a:ea typeface="+mn-ea"/>
        <a:cs typeface="+mn-cs"/>
      </a:defRPr>
    </a:lvl8pPr>
    <a:lvl9pPr marL="3657296" algn="l" defTabSz="914323"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7">
          <p15:clr>
            <a:srgbClr val="A4A3A4"/>
          </p15:clr>
        </p15:guide>
        <p15:guide id="2" orient="horz" pos="4075">
          <p15:clr>
            <a:srgbClr val="A4A3A4"/>
          </p15:clr>
        </p15:guide>
        <p15:guide id="3" pos="3085">
          <p15:clr>
            <a:srgbClr val="A4A3A4"/>
          </p15:clr>
        </p15:guide>
        <p15:guide id="4" pos="383">
          <p15:clr>
            <a:srgbClr val="A4A3A4"/>
          </p15:clr>
        </p15:guide>
        <p15:guide id="5" pos="7294">
          <p15:clr>
            <a:srgbClr val="A4A3A4"/>
          </p15:clr>
        </p15:guide>
        <p15:guide id="6" pos="1680">
          <p15:clr>
            <a:srgbClr val="A4A3A4"/>
          </p15:clr>
        </p15:guide>
        <p15:guide id="7" pos="1788">
          <p15:clr>
            <a:srgbClr val="A4A3A4"/>
          </p15:clr>
        </p15:guide>
        <p15:guide id="8" pos="3191">
          <p15:clr>
            <a:srgbClr val="A4A3A4"/>
          </p15:clr>
        </p15:guide>
        <p15:guide id="9" pos="4487">
          <p15:clr>
            <a:srgbClr val="A4A3A4"/>
          </p15:clr>
        </p15:guide>
        <p15:guide id="10" pos="4593">
          <p15:clr>
            <a:srgbClr val="A4A3A4"/>
          </p15:clr>
        </p15:guide>
        <p15:guide id="11" pos="5890">
          <p15:clr>
            <a:srgbClr val="A4A3A4"/>
          </p15:clr>
        </p15:guide>
        <p15:guide id="12" pos="600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99FF"/>
    <a:srgbClr val="9FA0A4"/>
    <a:srgbClr val="3FAE49"/>
    <a:srgbClr val="F8F8F8"/>
    <a:srgbClr val="FFFFFF"/>
    <a:srgbClr val="009530"/>
    <a:srgbClr val="FFC000"/>
    <a:srgbClr val="CC9900"/>
    <a:srgbClr val="FFCC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765" autoAdjust="0"/>
    <p:restoredTop sz="72325" autoAdjust="0"/>
  </p:normalViewPr>
  <p:slideViewPr>
    <p:cSldViewPr snapToGrid="0" snapToObjects="1">
      <p:cViewPr varScale="1">
        <p:scale>
          <a:sx n="52" d="100"/>
          <a:sy n="52" d="100"/>
        </p:scale>
        <p:origin x="606" y="72"/>
      </p:cViewPr>
      <p:guideLst>
        <p:guide orient="horz" pos="247"/>
        <p:guide orient="horz" pos="4075"/>
        <p:guide pos="3085"/>
        <p:guide pos="383"/>
        <p:guide pos="7294"/>
        <p:guide pos="1680"/>
        <p:guide pos="1788"/>
        <p:guide pos="3191"/>
        <p:guide pos="4487"/>
        <p:guide pos="4593"/>
        <p:guide pos="5890"/>
        <p:guide pos="6000"/>
      </p:guideLst>
    </p:cSldViewPr>
  </p:slideViewPr>
  <p:outlineViewPr>
    <p:cViewPr>
      <p:scale>
        <a:sx n="33" d="100"/>
        <a:sy n="33" d="100"/>
      </p:scale>
      <p:origin x="0" y="-5910"/>
    </p:cViewPr>
  </p:outlineViewPr>
  <p:notesTextViewPr>
    <p:cViewPr>
      <p:scale>
        <a:sx n="125" d="100"/>
        <a:sy n="125" d="100"/>
      </p:scale>
      <p:origin x="0" y="0"/>
    </p:cViewPr>
  </p:notesTextViewPr>
  <p:sorterViewPr>
    <p:cViewPr varScale="1">
      <p:scale>
        <a:sx n="1" d="1"/>
        <a:sy n="1" d="1"/>
      </p:scale>
      <p:origin x="0" y="0"/>
    </p:cViewPr>
  </p:sorterViewPr>
  <p:notesViewPr>
    <p:cSldViewPr snapToGrid="0" snapToObjects="1">
      <p:cViewPr varScale="1">
        <p:scale>
          <a:sx n="53" d="100"/>
          <a:sy n="53" d="100"/>
        </p:scale>
        <p:origin x="2850"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microsoft.com/office/2015/10/relationships/revisionInfo" Target="revisionInfo.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8544" cy="479901"/>
          </a:xfrm>
          <a:prstGeom prst="rect">
            <a:avLst/>
          </a:prstGeom>
        </p:spPr>
        <p:txBody>
          <a:bodyPr vert="horz" lIns="96625" tIns="48312" rIns="96625" bIns="48312" rtlCol="0"/>
          <a:lstStyle>
            <a:lvl1pPr algn="l">
              <a:defRPr sz="1300"/>
            </a:lvl1pPr>
          </a:lstStyle>
          <a:p>
            <a:endParaRPr lang="en-US"/>
          </a:p>
        </p:txBody>
      </p:sp>
      <p:sp>
        <p:nvSpPr>
          <p:cNvPr id="3" name="Date Placeholder 2"/>
          <p:cNvSpPr>
            <a:spLocks noGrp="1"/>
          </p:cNvSpPr>
          <p:nvPr>
            <p:ph type="dt" idx="1"/>
          </p:nvPr>
        </p:nvSpPr>
        <p:spPr>
          <a:xfrm>
            <a:off x="4141789" y="0"/>
            <a:ext cx="3168544" cy="479901"/>
          </a:xfrm>
          <a:prstGeom prst="rect">
            <a:avLst/>
          </a:prstGeom>
        </p:spPr>
        <p:txBody>
          <a:bodyPr vert="horz" lIns="96625" tIns="48312" rIns="96625" bIns="48312" rtlCol="0"/>
          <a:lstStyle>
            <a:lvl1pPr algn="r">
              <a:defRPr sz="1300"/>
            </a:lvl1pPr>
          </a:lstStyle>
          <a:p>
            <a:fld id="{323A1176-C8DD-4CA5-8562-1D1161873E00}" type="datetimeFigureOut">
              <a:rPr lang="en-US" smtClean="0"/>
              <a:pPr/>
              <a:t>2/27/2018</a:t>
            </a:fld>
            <a:endParaRPr lang="en-US"/>
          </a:p>
        </p:txBody>
      </p:sp>
      <p:sp>
        <p:nvSpPr>
          <p:cNvPr id="4" name="Slide Image Placeholder 3"/>
          <p:cNvSpPr>
            <a:spLocks noGrp="1" noRot="1" noChangeAspect="1"/>
          </p:cNvSpPr>
          <p:nvPr>
            <p:ph type="sldImg" idx="2"/>
          </p:nvPr>
        </p:nvSpPr>
        <p:spPr>
          <a:xfrm>
            <a:off x="457200" y="719138"/>
            <a:ext cx="6397625" cy="3600450"/>
          </a:xfrm>
          <a:prstGeom prst="rect">
            <a:avLst/>
          </a:prstGeom>
          <a:noFill/>
          <a:ln w="12700">
            <a:solidFill>
              <a:prstClr val="black"/>
            </a:solidFill>
          </a:ln>
        </p:spPr>
        <p:txBody>
          <a:bodyPr vert="horz" lIns="96625" tIns="48312" rIns="96625" bIns="48312" rtlCol="0" anchor="ctr"/>
          <a:lstStyle/>
          <a:p>
            <a:endParaRPr lang="en-US"/>
          </a:p>
        </p:txBody>
      </p:sp>
      <p:sp>
        <p:nvSpPr>
          <p:cNvPr id="5" name="Notes Placeholder 4"/>
          <p:cNvSpPr>
            <a:spLocks noGrp="1"/>
          </p:cNvSpPr>
          <p:nvPr>
            <p:ph type="body" sz="quarter" idx="3"/>
          </p:nvPr>
        </p:nvSpPr>
        <p:spPr>
          <a:xfrm>
            <a:off x="731203" y="4559062"/>
            <a:ext cx="5849620" cy="4319111"/>
          </a:xfrm>
          <a:prstGeom prst="rect">
            <a:avLst/>
          </a:prstGeom>
        </p:spPr>
        <p:txBody>
          <a:bodyPr vert="horz" lIns="96625" tIns="48312" rIns="96625" bIns="4831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6458"/>
            <a:ext cx="3168544" cy="479901"/>
          </a:xfrm>
          <a:prstGeom prst="rect">
            <a:avLst/>
          </a:prstGeom>
        </p:spPr>
        <p:txBody>
          <a:bodyPr vert="horz" lIns="96625" tIns="48312" rIns="96625" bIns="48312" rtlCol="0" anchor="b"/>
          <a:lstStyle>
            <a:lvl1pPr algn="l">
              <a:defRPr sz="1300"/>
            </a:lvl1pPr>
          </a:lstStyle>
          <a:p>
            <a:endParaRPr lang="en-US"/>
          </a:p>
        </p:txBody>
      </p:sp>
      <p:sp>
        <p:nvSpPr>
          <p:cNvPr id="7" name="Slide Number Placeholder 6"/>
          <p:cNvSpPr>
            <a:spLocks noGrp="1"/>
          </p:cNvSpPr>
          <p:nvPr>
            <p:ph type="sldNum" sz="quarter" idx="5"/>
          </p:nvPr>
        </p:nvSpPr>
        <p:spPr>
          <a:xfrm>
            <a:off x="4141789" y="9116458"/>
            <a:ext cx="3168544" cy="479901"/>
          </a:xfrm>
          <a:prstGeom prst="rect">
            <a:avLst/>
          </a:prstGeom>
        </p:spPr>
        <p:txBody>
          <a:bodyPr vert="horz" lIns="96625" tIns="48312" rIns="96625" bIns="48312" rtlCol="0" anchor="b"/>
          <a:lstStyle>
            <a:lvl1pPr algn="r">
              <a:defRPr sz="1300"/>
            </a:lvl1pPr>
          </a:lstStyle>
          <a:p>
            <a:fld id="{1CEAC983-54EE-4F70-BDD0-102B71A5E8E3}" type="slidenum">
              <a:rPr lang="en-US" smtClean="0"/>
              <a:pPr/>
              <a:t>‹#›</a:t>
            </a:fld>
            <a:endParaRPr lang="en-US"/>
          </a:p>
        </p:txBody>
      </p:sp>
    </p:spTree>
    <p:extLst>
      <p:ext uri="{BB962C8B-B14F-4D97-AF65-F5344CB8AC3E}">
        <p14:creationId xmlns:p14="http://schemas.microsoft.com/office/powerpoint/2010/main" val="3839520743"/>
      </p:ext>
    </p:extLst>
  </p:cSld>
  <p:clrMap bg1="lt1" tx1="dk1" bg2="lt2" tx2="dk2" accent1="accent1" accent2="accent2" accent3="accent3" accent4="accent4" accent5="accent5" accent6="accent6" hlink="hlink" folHlink="folHlink"/>
  <p:notesStyle>
    <a:lvl1pPr marL="0" algn="l" defTabSz="914323" rtl="0" eaLnBrk="1" latinLnBrk="0" hangingPunct="1">
      <a:defRPr sz="1200" kern="1200">
        <a:solidFill>
          <a:schemeClr val="tx1"/>
        </a:solidFill>
        <a:latin typeface="+mn-lt"/>
        <a:ea typeface="+mn-ea"/>
        <a:cs typeface="+mn-cs"/>
      </a:defRPr>
    </a:lvl1pPr>
    <a:lvl2pPr marL="457161" algn="l" defTabSz="914323" rtl="0" eaLnBrk="1" latinLnBrk="0" hangingPunct="1">
      <a:defRPr sz="1200" kern="1200">
        <a:solidFill>
          <a:schemeClr val="tx1"/>
        </a:solidFill>
        <a:latin typeface="+mn-lt"/>
        <a:ea typeface="+mn-ea"/>
        <a:cs typeface="+mn-cs"/>
      </a:defRPr>
    </a:lvl2pPr>
    <a:lvl3pPr marL="914323" algn="l" defTabSz="914323" rtl="0" eaLnBrk="1" latinLnBrk="0" hangingPunct="1">
      <a:defRPr sz="1200" kern="1200">
        <a:solidFill>
          <a:schemeClr val="tx1"/>
        </a:solidFill>
        <a:latin typeface="+mn-lt"/>
        <a:ea typeface="+mn-ea"/>
        <a:cs typeface="+mn-cs"/>
      </a:defRPr>
    </a:lvl3pPr>
    <a:lvl4pPr marL="1371485" algn="l" defTabSz="914323" rtl="0" eaLnBrk="1" latinLnBrk="0" hangingPunct="1">
      <a:defRPr sz="1200" kern="1200">
        <a:solidFill>
          <a:schemeClr val="tx1"/>
        </a:solidFill>
        <a:latin typeface="+mn-lt"/>
        <a:ea typeface="+mn-ea"/>
        <a:cs typeface="+mn-cs"/>
      </a:defRPr>
    </a:lvl4pPr>
    <a:lvl5pPr marL="1828648" algn="l" defTabSz="914323" rtl="0" eaLnBrk="1" latinLnBrk="0" hangingPunct="1">
      <a:defRPr sz="1200" kern="1200">
        <a:solidFill>
          <a:schemeClr val="tx1"/>
        </a:solidFill>
        <a:latin typeface="+mn-lt"/>
        <a:ea typeface="+mn-ea"/>
        <a:cs typeface="+mn-cs"/>
      </a:defRPr>
    </a:lvl5pPr>
    <a:lvl6pPr marL="2285809" algn="l" defTabSz="914323" rtl="0" eaLnBrk="1" latinLnBrk="0" hangingPunct="1">
      <a:defRPr sz="1200" kern="1200">
        <a:solidFill>
          <a:schemeClr val="tx1"/>
        </a:solidFill>
        <a:latin typeface="+mn-lt"/>
        <a:ea typeface="+mn-ea"/>
        <a:cs typeface="+mn-cs"/>
      </a:defRPr>
    </a:lvl6pPr>
    <a:lvl7pPr marL="2742971" algn="l" defTabSz="914323" rtl="0" eaLnBrk="1" latinLnBrk="0" hangingPunct="1">
      <a:defRPr sz="1200" kern="1200">
        <a:solidFill>
          <a:schemeClr val="tx1"/>
        </a:solidFill>
        <a:latin typeface="+mn-lt"/>
        <a:ea typeface="+mn-ea"/>
        <a:cs typeface="+mn-cs"/>
      </a:defRPr>
    </a:lvl7pPr>
    <a:lvl8pPr marL="3200133" algn="l" defTabSz="914323" rtl="0" eaLnBrk="1" latinLnBrk="0" hangingPunct="1">
      <a:defRPr sz="1200" kern="1200">
        <a:solidFill>
          <a:schemeClr val="tx1"/>
        </a:solidFill>
        <a:latin typeface="+mn-lt"/>
        <a:ea typeface="+mn-ea"/>
        <a:cs typeface="+mn-cs"/>
      </a:defRPr>
    </a:lvl8pPr>
    <a:lvl9pPr marL="3657296" algn="l" defTabSz="91432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23" rtl="0" eaLnBrk="1" fontAlgn="auto" latinLnBrk="0" hangingPunct="1">
              <a:lnSpc>
                <a:spcPct val="100000"/>
              </a:lnSpc>
              <a:spcBef>
                <a:spcPts val="0"/>
              </a:spcBef>
              <a:spcAft>
                <a:spcPts val="0"/>
              </a:spcAft>
              <a:buClrTx/>
              <a:buSzTx/>
              <a:buFontTx/>
              <a:buNone/>
              <a:tabLst/>
              <a:defRPr/>
            </a:pPr>
            <a:r>
              <a:rPr lang="fr-FR" sz="1200" dirty="0" err="1"/>
              <a:t>Felicit</a:t>
            </a:r>
            <a:r>
              <a:rPr lang="fr-FR" sz="1200" dirty="0"/>
              <a:t> </a:t>
            </a:r>
            <a:r>
              <a:rPr lang="fr-FR" sz="1200" dirty="0" err="1"/>
              <a:t>organizatorii</a:t>
            </a:r>
            <a:r>
              <a:rPr lang="fr-FR" sz="1200" dirty="0"/>
              <a:t> </a:t>
            </a:r>
            <a:r>
              <a:rPr lang="fr-FR" sz="1200" dirty="0" err="1"/>
              <a:t>pentru</a:t>
            </a:r>
            <a:r>
              <a:rPr lang="fr-FR" sz="1200" dirty="0"/>
              <a:t> </a:t>
            </a:r>
            <a:r>
              <a:rPr lang="fr-FR" sz="1200" dirty="0" err="1"/>
              <a:t>tema</a:t>
            </a:r>
            <a:r>
              <a:rPr lang="fr-FR" sz="1200" dirty="0"/>
              <a:t> </a:t>
            </a:r>
            <a:r>
              <a:rPr lang="fr-FR" sz="1200" dirty="0" err="1"/>
              <a:t>propusa</a:t>
            </a:r>
            <a:r>
              <a:rPr lang="fr-FR" sz="1200" dirty="0"/>
              <a:t>, o </a:t>
            </a:r>
            <a:r>
              <a:rPr lang="fr-FR" sz="1200" dirty="0" err="1"/>
              <a:t>tematica</a:t>
            </a:r>
            <a:r>
              <a:rPr lang="fr-FR" sz="1200" dirty="0"/>
              <a:t> de </a:t>
            </a:r>
            <a:r>
              <a:rPr lang="fr-FR" sz="1200" dirty="0" err="1"/>
              <a:t>actualitate</a:t>
            </a:r>
            <a:r>
              <a:rPr lang="fr-FR" sz="1200" dirty="0"/>
              <a:t> </a:t>
            </a:r>
            <a:r>
              <a:rPr lang="fr-FR" sz="1200" dirty="0" err="1"/>
              <a:t>din</a:t>
            </a:r>
            <a:r>
              <a:rPr lang="fr-FR" sz="1200" dirty="0"/>
              <a:t> ce in ce mai des </a:t>
            </a:r>
            <a:r>
              <a:rPr lang="fr-FR" sz="1200" dirty="0" err="1"/>
              <a:t>intalnita</a:t>
            </a:r>
            <a:r>
              <a:rPr lang="fr-FR" sz="1200" dirty="0"/>
              <a:t>. Dar </a:t>
            </a:r>
            <a:r>
              <a:rPr lang="fr-FR" sz="1200" dirty="0" err="1"/>
              <a:t>trebuie</a:t>
            </a:r>
            <a:r>
              <a:rPr lang="fr-FR" sz="1200" dirty="0"/>
              <a:t> sa </a:t>
            </a:r>
            <a:r>
              <a:rPr lang="fr-FR" sz="1200" dirty="0" err="1"/>
              <a:t>intelegem</a:t>
            </a:r>
            <a:r>
              <a:rPr lang="fr-FR" sz="1200" dirty="0"/>
              <a:t> ce </a:t>
            </a:r>
            <a:r>
              <a:rPr lang="fr-FR" sz="1200" dirty="0" err="1"/>
              <a:t>inseamna</a:t>
            </a:r>
            <a:r>
              <a:rPr lang="fr-FR" sz="1200" dirty="0"/>
              <a:t> o </a:t>
            </a:r>
            <a:r>
              <a:rPr lang="fr-FR" sz="1200" dirty="0" err="1"/>
              <a:t>cladire</a:t>
            </a:r>
            <a:r>
              <a:rPr lang="fr-FR" sz="1200" dirty="0"/>
              <a:t> </a:t>
            </a:r>
            <a:r>
              <a:rPr lang="fr-FR" sz="1200" dirty="0" err="1"/>
              <a:t>inteligenta</a:t>
            </a:r>
            <a:r>
              <a:rPr lang="fr-FR" sz="1200" dirty="0"/>
              <a:t>: o </a:t>
            </a:r>
            <a:r>
              <a:rPr lang="fr-FR" sz="1200" dirty="0" err="1"/>
              <a:t>cladire</a:t>
            </a:r>
            <a:r>
              <a:rPr lang="fr-FR" sz="1200" dirty="0"/>
              <a:t> </a:t>
            </a:r>
            <a:r>
              <a:rPr lang="fr-FR" sz="1200" dirty="0" err="1"/>
              <a:t>inteligenta</a:t>
            </a:r>
            <a:r>
              <a:rPr lang="fr-FR" sz="1200" dirty="0"/>
              <a:t> este o </a:t>
            </a:r>
            <a:r>
              <a:rPr lang="fr-FR" sz="1200" dirty="0" err="1"/>
              <a:t>cladire</a:t>
            </a:r>
            <a:r>
              <a:rPr lang="fr-FR" sz="1200" dirty="0"/>
              <a:t> care </a:t>
            </a:r>
            <a:r>
              <a:rPr lang="fr-FR" sz="1200" dirty="0" err="1"/>
              <a:t>functioneaza</a:t>
            </a:r>
            <a:r>
              <a:rPr lang="fr-FR" sz="1200" dirty="0"/>
              <a:t> </a:t>
            </a:r>
            <a:r>
              <a:rPr lang="fr-FR" sz="1200" dirty="0" err="1"/>
              <a:t>oferind</a:t>
            </a:r>
            <a:r>
              <a:rPr lang="fr-FR" sz="1200" dirty="0"/>
              <a:t> </a:t>
            </a:r>
            <a:r>
              <a:rPr lang="fr-FR" sz="1200" dirty="0" err="1"/>
              <a:t>conditii</a:t>
            </a:r>
            <a:r>
              <a:rPr lang="fr-FR" sz="1200" dirty="0"/>
              <a:t> de confort si </a:t>
            </a:r>
            <a:r>
              <a:rPr lang="fr-FR" sz="1200" dirty="0" err="1"/>
              <a:t>securitate</a:t>
            </a:r>
            <a:r>
              <a:rPr lang="fr-FR" sz="1200" dirty="0"/>
              <a:t> </a:t>
            </a:r>
            <a:r>
              <a:rPr lang="fr-FR" sz="1200" dirty="0" err="1"/>
              <a:t>corecte</a:t>
            </a:r>
            <a:r>
              <a:rPr lang="fr-FR" sz="1200" dirty="0"/>
              <a:t> </a:t>
            </a:r>
            <a:r>
              <a:rPr lang="fr-FR" sz="1200" dirty="0" err="1"/>
              <a:t>pentru</a:t>
            </a:r>
            <a:r>
              <a:rPr lang="fr-FR" sz="1200" dirty="0"/>
              <a:t> </a:t>
            </a:r>
            <a:r>
              <a:rPr lang="fr-FR" sz="1200" dirty="0" err="1"/>
              <a:t>ocupantii</a:t>
            </a:r>
            <a:r>
              <a:rPr lang="fr-FR" sz="1200" dirty="0"/>
              <a:t> </a:t>
            </a:r>
            <a:r>
              <a:rPr lang="fr-FR" sz="1200" dirty="0" err="1"/>
              <a:t>sai</a:t>
            </a:r>
            <a:r>
              <a:rPr lang="fr-FR" sz="1200" dirty="0"/>
              <a:t> dar </a:t>
            </a:r>
            <a:r>
              <a:rPr lang="fr-FR" sz="1200" dirty="0" err="1"/>
              <a:t>cu</a:t>
            </a:r>
            <a:r>
              <a:rPr lang="fr-FR" sz="1200" dirty="0"/>
              <a:t> </a:t>
            </a:r>
            <a:r>
              <a:rPr lang="fr-FR" sz="1200" dirty="0" err="1"/>
              <a:t>consumuri</a:t>
            </a:r>
            <a:r>
              <a:rPr lang="fr-FR" sz="1200" dirty="0"/>
              <a:t> cat mai </a:t>
            </a:r>
            <a:r>
              <a:rPr lang="fr-FR" sz="1200" dirty="0" err="1"/>
              <a:t>reduse</a:t>
            </a:r>
            <a:r>
              <a:rPr lang="fr-FR" sz="1200" dirty="0"/>
              <a:t> de </a:t>
            </a:r>
            <a:r>
              <a:rPr lang="fr-FR" sz="1200" dirty="0" err="1"/>
              <a:t>energii</a:t>
            </a:r>
            <a:r>
              <a:rPr lang="fr-FR" sz="1200" dirty="0"/>
              <a:t> si </a:t>
            </a:r>
            <a:r>
              <a:rPr lang="fr-FR" sz="1200" dirty="0" err="1"/>
              <a:t>resurse</a:t>
            </a:r>
            <a:r>
              <a:rPr lang="fr-FR" sz="1200" dirty="0"/>
              <a:t> in </a:t>
            </a:r>
            <a:r>
              <a:rPr lang="fr-FR" sz="1200" dirty="0" err="1"/>
              <a:t>general</a:t>
            </a:r>
            <a:r>
              <a:rPr lang="fr-FR" sz="1200" dirty="0"/>
              <a:t>. Este o </a:t>
            </a:r>
            <a:r>
              <a:rPr lang="fr-FR" sz="1200" dirty="0" err="1"/>
              <a:t>cladire</a:t>
            </a:r>
            <a:r>
              <a:rPr lang="fr-FR" sz="1200" dirty="0"/>
              <a:t> in care, inca </a:t>
            </a:r>
            <a:r>
              <a:rPr lang="fr-FR" sz="1200" dirty="0" err="1"/>
              <a:t>din</a:t>
            </a:r>
            <a:r>
              <a:rPr lang="fr-FR" sz="1200" dirty="0"/>
              <a:t> </a:t>
            </a:r>
            <a:r>
              <a:rPr lang="fr-FR" sz="1200" dirty="0" err="1"/>
              <a:t>faza</a:t>
            </a:r>
            <a:r>
              <a:rPr lang="fr-FR" sz="1200" dirty="0"/>
              <a:t> de concept </a:t>
            </a:r>
            <a:r>
              <a:rPr lang="fr-FR" sz="1200" dirty="0" err="1"/>
              <a:t>s-au</a:t>
            </a:r>
            <a:r>
              <a:rPr lang="fr-FR" sz="1200" dirty="0"/>
              <a:t> </a:t>
            </a:r>
            <a:r>
              <a:rPr lang="fr-FR" sz="1200" dirty="0" err="1"/>
              <a:t>prevazut</a:t>
            </a:r>
            <a:r>
              <a:rPr lang="fr-FR" sz="1200" dirty="0"/>
              <a:t> </a:t>
            </a:r>
            <a:r>
              <a:rPr lang="fr-FR" sz="1200" dirty="0" err="1"/>
              <a:t>solutii</a:t>
            </a:r>
            <a:r>
              <a:rPr lang="fr-FR" sz="1200" dirty="0"/>
              <a:t> de </a:t>
            </a:r>
            <a:r>
              <a:rPr lang="fr-FR" sz="1200" dirty="0" err="1"/>
              <a:t>eficienta</a:t>
            </a:r>
            <a:r>
              <a:rPr lang="fr-FR" sz="1200" dirty="0"/>
              <a:t> </a:t>
            </a:r>
            <a:r>
              <a:rPr lang="fr-FR" sz="1200" dirty="0" err="1"/>
              <a:t>energetica</a:t>
            </a:r>
            <a:r>
              <a:rPr lang="fr-FR" sz="1200" dirty="0"/>
              <a:t> state – of – the art si de </a:t>
            </a:r>
            <a:r>
              <a:rPr lang="fr-FR" sz="1200" dirty="0" err="1"/>
              <a:t>asemenea</a:t>
            </a:r>
            <a:r>
              <a:rPr lang="fr-FR" sz="1200" dirty="0"/>
              <a:t>, </a:t>
            </a:r>
            <a:r>
              <a:rPr lang="fr-FR" sz="1200" dirty="0" err="1"/>
              <a:t>solutii</a:t>
            </a:r>
            <a:r>
              <a:rPr lang="fr-FR" sz="1200" dirty="0"/>
              <a:t> de </a:t>
            </a:r>
            <a:r>
              <a:rPr lang="fr-FR" sz="1200" dirty="0" err="1"/>
              <a:t>monitorizare</a:t>
            </a:r>
            <a:r>
              <a:rPr lang="fr-FR" sz="1200" dirty="0"/>
              <a:t> permanenta ale </a:t>
            </a:r>
            <a:r>
              <a:rPr lang="fr-FR" sz="1200" dirty="0" err="1"/>
              <a:t>consumurilor</a:t>
            </a:r>
            <a:r>
              <a:rPr lang="fr-FR" sz="1200" dirty="0"/>
              <a:t>. </a:t>
            </a:r>
            <a:r>
              <a:rPr lang="fr-FR" sz="1200" dirty="0" err="1"/>
              <a:t>Astfel</a:t>
            </a:r>
            <a:r>
              <a:rPr lang="fr-FR" sz="1200" dirty="0"/>
              <a:t>, </a:t>
            </a:r>
            <a:r>
              <a:rPr lang="fr-FR" sz="1200" dirty="0" err="1"/>
              <a:t>pe</a:t>
            </a:r>
            <a:r>
              <a:rPr lang="fr-FR" sz="1200" dirty="0"/>
              <a:t> </a:t>
            </a:r>
            <a:r>
              <a:rPr lang="fr-FR" sz="1200" dirty="0" err="1"/>
              <a:t>perioada</a:t>
            </a:r>
            <a:r>
              <a:rPr lang="fr-FR" sz="1200" dirty="0"/>
              <a:t> de </a:t>
            </a:r>
            <a:r>
              <a:rPr lang="fr-FR" sz="1200" dirty="0" err="1"/>
              <a:t>functionare</a:t>
            </a:r>
            <a:r>
              <a:rPr lang="fr-FR" sz="1200" dirty="0"/>
              <a:t> a </a:t>
            </a:r>
            <a:r>
              <a:rPr lang="fr-FR" sz="1200" dirty="0" err="1"/>
              <a:t>cladirii</a:t>
            </a:r>
            <a:r>
              <a:rPr lang="fr-FR" sz="1200" dirty="0"/>
              <a:t> </a:t>
            </a:r>
            <a:r>
              <a:rPr lang="fr-FR" sz="1200" dirty="0" err="1"/>
              <a:t>acestea</a:t>
            </a:r>
            <a:r>
              <a:rPr lang="fr-FR" sz="1200" dirty="0"/>
              <a:t> pot </a:t>
            </a:r>
            <a:r>
              <a:rPr lang="fr-FR" sz="1200" dirty="0" err="1"/>
              <a:t>depista</a:t>
            </a:r>
            <a:r>
              <a:rPr lang="fr-FR" sz="1200" dirty="0"/>
              <a:t> </a:t>
            </a:r>
            <a:r>
              <a:rPr lang="fr-FR" sz="1200" dirty="0" err="1"/>
              <a:t>defecte</a:t>
            </a:r>
            <a:r>
              <a:rPr lang="fr-FR" sz="1200" dirty="0"/>
              <a:t> de </a:t>
            </a:r>
            <a:r>
              <a:rPr lang="fr-FR" sz="1200" dirty="0" err="1"/>
              <a:t>functionare</a:t>
            </a:r>
            <a:r>
              <a:rPr lang="fr-FR" sz="1200" dirty="0"/>
              <a:t>, </a:t>
            </a:r>
            <a:r>
              <a:rPr lang="fr-FR" sz="1200" dirty="0" err="1"/>
              <a:t>locuri</a:t>
            </a:r>
            <a:r>
              <a:rPr lang="fr-FR" sz="1200" dirty="0"/>
              <a:t> </a:t>
            </a:r>
            <a:r>
              <a:rPr lang="fr-FR" sz="1200" dirty="0" err="1"/>
              <a:t>unde</a:t>
            </a:r>
            <a:r>
              <a:rPr lang="fr-FR" sz="1200" dirty="0"/>
              <a:t> se pot face inca </a:t>
            </a:r>
            <a:r>
              <a:rPr lang="fr-FR" sz="1200" dirty="0" err="1"/>
              <a:t>economii</a:t>
            </a:r>
            <a:r>
              <a:rPr lang="fr-FR" sz="1200" dirty="0"/>
              <a:t> </a:t>
            </a:r>
            <a:r>
              <a:rPr lang="fr-FR" sz="1200" dirty="0" err="1"/>
              <a:t>sau</a:t>
            </a:r>
            <a:r>
              <a:rPr lang="fr-FR" sz="1200" dirty="0"/>
              <a:t> </a:t>
            </a:r>
            <a:r>
              <a:rPr lang="fr-FR" sz="1200" dirty="0" err="1"/>
              <a:t>disfunctionalitati</a:t>
            </a:r>
            <a:r>
              <a:rPr lang="fr-FR" sz="1200" dirty="0"/>
              <a:t> ale </a:t>
            </a:r>
            <a:r>
              <a:rPr lang="fr-FR" sz="1200" dirty="0" err="1"/>
              <a:t>instalatiilor</a:t>
            </a:r>
            <a:r>
              <a:rPr lang="fr-FR" sz="1200" dirty="0"/>
              <a:t> </a:t>
            </a:r>
            <a:r>
              <a:rPr lang="fr-FR" sz="1200" dirty="0" err="1"/>
              <a:t>determinate</a:t>
            </a:r>
            <a:r>
              <a:rPr lang="fr-FR" sz="1200" dirty="0"/>
              <a:t> de </a:t>
            </a:r>
            <a:r>
              <a:rPr lang="fr-FR" sz="1200" dirty="0" err="1"/>
              <a:t>procesul</a:t>
            </a:r>
            <a:r>
              <a:rPr lang="fr-FR" sz="1200" dirty="0"/>
              <a:t> </a:t>
            </a:r>
            <a:r>
              <a:rPr lang="fr-FR" sz="1200" dirty="0" err="1"/>
              <a:t>inevitabil</a:t>
            </a:r>
            <a:r>
              <a:rPr lang="fr-FR" sz="1200" dirty="0"/>
              <a:t> de </a:t>
            </a:r>
            <a:r>
              <a:rPr lang="fr-FR" sz="1200" dirty="0" err="1"/>
              <a:t>imbatranire</a:t>
            </a:r>
            <a:r>
              <a:rPr lang="fr-FR" sz="1200" dirty="0"/>
              <a:t> al </a:t>
            </a:r>
            <a:r>
              <a:rPr lang="fr-FR" sz="1200" dirty="0" err="1"/>
              <a:t>acestora</a:t>
            </a:r>
            <a:r>
              <a:rPr lang="fr-FR" sz="1200" dirty="0"/>
              <a:t> si al </a:t>
            </a:r>
            <a:r>
              <a:rPr lang="fr-FR" sz="1200" dirty="0" err="1"/>
              <a:t>cladirii</a:t>
            </a:r>
            <a:r>
              <a:rPr lang="fr-FR" sz="1200" dirty="0"/>
              <a:t>, in </a:t>
            </a:r>
            <a:r>
              <a:rPr lang="fr-FR" sz="1200" dirty="0" err="1"/>
              <a:t>general</a:t>
            </a:r>
            <a:r>
              <a:rPr lang="fr-FR" sz="1200" dirty="0"/>
              <a:t>. </a:t>
            </a:r>
            <a:r>
              <a:rPr lang="fr-FR" sz="1200" dirty="0" err="1"/>
              <a:t>Trebuie</a:t>
            </a:r>
            <a:r>
              <a:rPr lang="fr-FR" sz="1200" dirty="0"/>
              <a:t> </a:t>
            </a:r>
            <a:r>
              <a:rPr lang="fr-FR" sz="1200" dirty="0" err="1"/>
              <a:t>mentionat</a:t>
            </a:r>
            <a:r>
              <a:rPr lang="fr-FR" sz="1200" dirty="0"/>
              <a:t> </a:t>
            </a:r>
            <a:r>
              <a:rPr lang="fr-FR" sz="1200" dirty="0" err="1"/>
              <a:t>neaparat</a:t>
            </a:r>
            <a:r>
              <a:rPr lang="fr-FR" sz="1200" dirty="0"/>
              <a:t> </a:t>
            </a:r>
            <a:r>
              <a:rPr lang="fr-FR" sz="1200" dirty="0" err="1"/>
              <a:t>faptul</a:t>
            </a:r>
            <a:r>
              <a:rPr lang="fr-FR" sz="1200" dirty="0"/>
              <a:t> ca </a:t>
            </a:r>
            <a:r>
              <a:rPr lang="fr-FR" sz="1200" dirty="0" err="1"/>
              <a:t>echiparea</a:t>
            </a:r>
            <a:r>
              <a:rPr lang="fr-FR" sz="1200" dirty="0"/>
              <a:t> </a:t>
            </a:r>
            <a:r>
              <a:rPr lang="fr-FR" sz="1200" dirty="0" err="1"/>
              <a:t>unei</a:t>
            </a:r>
            <a:r>
              <a:rPr lang="fr-FR" sz="1200" dirty="0"/>
              <a:t> </a:t>
            </a:r>
            <a:r>
              <a:rPr lang="fr-FR" sz="1200" dirty="0" err="1"/>
              <a:t>cladiri</a:t>
            </a:r>
            <a:r>
              <a:rPr lang="fr-FR" sz="1200" dirty="0"/>
              <a:t> </a:t>
            </a:r>
            <a:r>
              <a:rPr lang="fr-FR" sz="1200" dirty="0" err="1"/>
              <a:t>cu</a:t>
            </a:r>
            <a:r>
              <a:rPr lang="fr-FR" sz="1200" dirty="0"/>
              <a:t> </a:t>
            </a:r>
            <a:r>
              <a:rPr lang="fr-FR" sz="1200" dirty="0" err="1"/>
              <a:t>solutii</a:t>
            </a:r>
            <a:r>
              <a:rPr lang="fr-FR" sz="1200" dirty="0"/>
              <a:t> </a:t>
            </a:r>
            <a:r>
              <a:rPr lang="fr-FR" sz="1200" dirty="0" err="1"/>
              <a:t>noi</a:t>
            </a:r>
            <a:r>
              <a:rPr lang="fr-FR" sz="1200" dirty="0"/>
              <a:t>, </a:t>
            </a:r>
            <a:r>
              <a:rPr lang="fr-FR" sz="1200" dirty="0" err="1"/>
              <a:t>inovatoare</a:t>
            </a:r>
            <a:r>
              <a:rPr lang="fr-FR" sz="1200" dirty="0"/>
              <a:t> </a:t>
            </a:r>
            <a:r>
              <a:rPr lang="fr-FR" sz="1200" dirty="0" err="1"/>
              <a:t>inteligente</a:t>
            </a:r>
            <a:r>
              <a:rPr lang="fr-FR" sz="1200" dirty="0"/>
              <a:t> </a:t>
            </a:r>
            <a:r>
              <a:rPr lang="fr-FR" sz="1200" dirty="0" err="1"/>
              <a:t>creste</a:t>
            </a:r>
            <a:r>
              <a:rPr lang="fr-FR" sz="1200" dirty="0"/>
              <a:t>  </a:t>
            </a:r>
            <a:r>
              <a:rPr lang="fr-FR" sz="1200" dirty="0" err="1"/>
              <a:t>valoarea</a:t>
            </a:r>
            <a:r>
              <a:rPr lang="fr-FR" sz="1200" dirty="0"/>
              <a:t> </a:t>
            </a:r>
            <a:r>
              <a:rPr lang="fr-FR" sz="1200" dirty="0" err="1"/>
              <a:t>acesteia</a:t>
            </a:r>
            <a:r>
              <a:rPr lang="fr-FR" sz="1200" dirty="0"/>
              <a:t>, </a:t>
            </a:r>
            <a:r>
              <a:rPr lang="fr-FR" sz="1200" dirty="0" err="1"/>
              <a:t>atat</a:t>
            </a:r>
            <a:r>
              <a:rPr lang="fr-FR" sz="1200" dirty="0"/>
              <a:t> </a:t>
            </a:r>
            <a:r>
              <a:rPr lang="fr-FR" sz="1200" dirty="0" err="1"/>
              <a:t>dpdv</a:t>
            </a:r>
            <a:r>
              <a:rPr lang="fr-FR" sz="1200" dirty="0"/>
              <a:t> al </a:t>
            </a:r>
            <a:r>
              <a:rPr lang="fr-FR" sz="1200" dirty="0" err="1"/>
              <a:t>chiriilor</a:t>
            </a:r>
            <a:r>
              <a:rPr lang="fr-FR" sz="1200" dirty="0"/>
              <a:t> </a:t>
            </a:r>
            <a:r>
              <a:rPr lang="fr-FR" sz="1200" dirty="0" err="1"/>
              <a:t>incasate</a:t>
            </a:r>
            <a:r>
              <a:rPr lang="fr-FR" sz="1200" dirty="0"/>
              <a:t>  cat si in </a:t>
            </a:r>
            <a:r>
              <a:rPr lang="fr-FR" sz="1200" dirty="0" err="1"/>
              <a:t>caz</a:t>
            </a:r>
            <a:r>
              <a:rPr lang="fr-FR" sz="1200" dirty="0"/>
              <a:t> de </a:t>
            </a:r>
            <a:r>
              <a:rPr lang="fr-FR" sz="1200" dirty="0" err="1"/>
              <a:t>vanzare</a:t>
            </a:r>
            <a:r>
              <a:rPr lang="fr-FR" sz="1200" dirty="0"/>
              <a:t>. </a:t>
            </a:r>
            <a:r>
              <a:rPr lang="fr-FR" sz="1200" dirty="0" err="1"/>
              <a:t>Totodata</a:t>
            </a:r>
            <a:r>
              <a:rPr lang="fr-FR" sz="1200" dirty="0"/>
              <a:t> </a:t>
            </a:r>
            <a:r>
              <a:rPr lang="fr-FR" sz="1200" dirty="0" err="1"/>
              <a:t>contribuie</a:t>
            </a:r>
            <a:r>
              <a:rPr lang="fr-FR" sz="1200" dirty="0"/>
              <a:t> si la </a:t>
            </a:r>
            <a:r>
              <a:rPr lang="fr-FR" sz="1200" dirty="0" err="1"/>
              <a:t>cresterea</a:t>
            </a:r>
            <a:r>
              <a:rPr lang="fr-FR" sz="1200" dirty="0"/>
              <a:t> </a:t>
            </a:r>
            <a:r>
              <a:rPr lang="fr-FR" sz="1200" dirty="0" err="1"/>
              <a:t>imaginii</a:t>
            </a:r>
            <a:r>
              <a:rPr lang="fr-FR" sz="1200" dirty="0"/>
              <a:t> </a:t>
            </a:r>
            <a:r>
              <a:rPr lang="fr-FR" sz="1200" dirty="0" err="1"/>
              <a:t>dezvoltatorilor</a:t>
            </a:r>
            <a:r>
              <a:rPr lang="fr-FR" sz="1200" dirty="0"/>
              <a:t> care </a:t>
            </a:r>
            <a:r>
              <a:rPr lang="fr-FR" sz="1200" dirty="0" err="1"/>
              <a:t>isi</a:t>
            </a:r>
            <a:r>
              <a:rPr lang="fr-FR" sz="1200" dirty="0"/>
              <a:t> </a:t>
            </a:r>
            <a:r>
              <a:rPr lang="fr-FR" sz="1200" dirty="0" err="1"/>
              <a:t>propun</a:t>
            </a:r>
            <a:r>
              <a:rPr lang="fr-FR" sz="1200" dirty="0"/>
              <a:t> si </a:t>
            </a:r>
            <a:r>
              <a:rPr lang="fr-FR" sz="1200" dirty="0" err="1"/>
              <a:t>realizeaza</a:t>
            </a:r>
            <a:r>
              <a:rPr lang="fr-FR" sz="1200" dirty="0"/>
              <a:t> </a:t>
            </a:r>
            <a:r>
              <a:rPr lang="fr-FR" sz="1200" dirty="0" err="1"/>
              <a:t>astfel</a:t>
            </a:r>
            <a:r>
              <a:rPr lang="fr-FR" sz="1200" dirty="0"/>
              <a:t> de </a:t>
            </a:r>
            <a:r>
              <a:rPr lang="fr-FR" sz="1200" dirty="0" err="1"/>
              <a:t>cladiri</a:t>
            </a:r>
            <a:r>
              <a:rPr lang="fr-FR" sz="1200" dirty="0"/>
              <a:t> </a:t>
            </a:r>
            <a:r>
              <a:rPr lang="fr-FR" sz="1200" dirty="0" err="1"/>
              <a:t>prin</a:t>
            </a:r>
            <a:r>
              <a:rPr lang="fr-FR" sz="1200" dirty="0"/>
              <a:t> </a:t>
            </a:r>
            <a:r>
              <a:rPr lang="fr-FR" sz="1200" dirty="0" err="1"/>
              <a:t>faptul</a:t>
            </a:r>
            <a:r>
              <a:rPr lang="fr-FR" sz="1200" dirty="0"/>
              <a:t> ca se </a:t>
            </a:r>
            <a:r>
              <a:rPr lang="fr-FR" sz="1200" dirty="0" err="1"/>
              <a:t>aliniaza</a:t>
            </a:r>
            <a:r>
              <a:rPr lang="fr-FR" sz="1200" dirty="0"/>
              <a:t> </a:t>
            </a:r>
            <a:r>
              <a:rPr lang="fr-FR" sz="1200" dirty="0" err="1"/>
              <a:t>astfel</a:t>
            </a:r>
            <a:r>
              <a:rPr lang="fr-FR" sz="1200" dirty="0"/>
              <a:t> </a:t>
            </a:r>
            <a:r>
              <a:rPr lang="fr-FR" sz="1200" dirty="0" err="1"/>
              <a:t>cerintelor</a:t>
            </a:r>
            <a:r>
              <a:rPr lang="fr-FR" sz="1200" dirty="0"/>
              <a:t> mondiale de </a:t>
            </a:r>
            <a:r>
              <a:rPr lang="fr-FR" sz="1200" dirty="0" err="1"/>
              <a:t>sustenabilitate</a:t>
            </a:r>
            <a:r>
              <a:rPr lang="fr-FR" sz="1200" dirty="0"/>
              <a:t> si </a:t>
            </a:r>
            <a:r>
              <a:rPr lang="fr-FR" sz="1200" dirty="0" err="1"/>
              <a:t>eficienta</a:t>
            </a:r>
            <a:r>
              <a:rPr lang="fr-FR" sz="1200" dirty="0"/>
              <a:t> </a:t>
            </a:r>
            <a:r>
              <a:rPr lang="fr-FR" sz="1200" dirty="0" err="1"/>
              <a:t>energetica</a:t>
            </a:r>
            <a:endParaRPr lang="fr-FR" sz="1200" dirty="0"/>
          </a:p>
          <a:p>
            <a:endParaRPr lang="en-US" dirty="0"/>
          </a:p>
        </p:txBody>
      </p:sp>
      <p:sp>
        <p:nvSpPr>
          <p:cNvPr id="4" name="Slide Number Placeholder 3"/>
          <p:cNvSpPr>
            <a:spLocks noGrp="1"/>
          </p:cNvSpPr>
          <p:nvPr>
            <p:ph type="sldNum" sz="quarter" idx="10"/>
          </p:nvPr>
        </p:nvSpPr>
        <p:spPr/>
        <p:txBody>
          <a:bodyPr/>
          <a:lstStyle/>
          <a:p>
            <a:pPr marL="0" marR="0" lvl="0" indent="0" algn="r" defTabSz="456918"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18"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29039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rin</a:t>
            </a:r>
            <a:r>
              <a:rPr lang="en-US" dirty="0"/>
              <a:t> </a:t>
            </a:r>
            <a:r>
              <a:rPr lang="en-US" dirty="0" err="1"/>
              <a:t>echipamente</a:t>
            </a:r>
            <a:r>
              <a:rPr lang="en-US" dirty="0"/>
              <a:t> de </a:t>
            </a:r>
            <a:r>
              <a:rPr lang="en-US" dirty="0" err="1"/>
              <a:t>medie</a:t>
            </a:r>
            <a:r>
              <a:rPr lang="en-US" dirty="0"/>
              <a:t> </a:t>
            </a:r>
            <a:r>
              <a:rPr lang="en-US" dirty="0" err="1"/>
              <a:t>si</a:t>
            </a:r>
            <a:r>
              <a:rPr lang="en-US" dirty="0"/>
              <a:t> </a:t>
            </a:r>
            <a:r>
              <a:rPr lang="en-US" dirty="0" err="1"/>
              <a:t>joasa</a:t>
            </a:r>
            <a:r>
              <a:rPr lang="en-US" dirty="0"/>
              <a:t> </a:t>
            </a:r>
            <a:r>
              <a:rPr lang="en-US" dirty="0" err="1"/>
              <a:t>tensiune</a:t>
            </a:r>
            <a:r>
              <a:rPr lang="en-US" dirty="0"/>
              <a:t> </a:t>
            </a:r>
            <a:r>
              <a:rPr lang="en-US" dirty="0" err="1"/>
              <a:t>inteligente</a:t>
            </a:r>
            <a:r>
              <a:rPr lang="en-US" dirty="0"/>
              <a:t> </a:t>
            </a:r>
            <a:r>
              <a:rPr lang="en-US" dirty="0" err="1"/>
              <a:t>putem</a:t>
            </a:r>
            <a:r>
              <a:rPr lang="en-US" dirty="0"/>
              <a:t> </a:t>
            </a:r>
            <a:r>
              <a:rPr lang="en-US" dirty="0" err="1"/>
              <a:t>realiza</a:t>
            </a:r>
            <a:r>
              <a:rPr lang="en-US" dirty="0"/>
              <a:t> </a:t>
            </a:r>
            <a:r>
              <a:rPr lang="en-US" dirty="0" err="1"/>
              <a:t>cerintele</a:t>
            </a:r>
            <a:r>
              <a:rPr lang="en-US" dirty="0"/>
              <a:t> de </a:t>
            </a:r>
            <a:r>
              <a:rPr lang="en-US" dirty="0" err="1"/>
              <a:t>sustenabilitate</a:t>
            </a:r>
            <a:r>
              <a:rPr lang="en-US" dirty="0"/>
              <a:t> </a:t>
            </a:r>
            <a:r>
              <a:rPr lang="en-US" dirty="0" err="1"/>
              <a:t>si</a:t>
            </a:r>
            <a:r>
              <a:rPr lang="en-US" dirty="0"/>
              <a:t> </a:t>
            </a:r>
            <a:r>
              <a:rPr lang="en-US" dirty="0" err="1"/>
              <a:t>eficienta</a:t>
            </a:r>
            <a:r>
              <a:rPr lang="en-US" dirty="0"/>
              <a:t> </a:t>
            </a:r>
            <a:r>
              <a:rPr lang="en-US" dirty="0" err="1"/>
              <a:t>impuse</a:t>
            </a:r>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10</a:t>
            </a:fld>
            <a:endParaRPr lang="en-US"/>
          </a:p>
        </p:txBody>
      </p:sp>
    </p:spTree>
    <p:extLst>
      <p:ext uri="{BB962C8B-B14F-4D97-AF65-F5344CB8AC3E}">
        <p14:creationId xmlns:p14="http://schemas.microsoft.com/office/powerpoint/2010/main" val="18020889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i exact: </a:t>
            </a:r>
            <a:r>
              <a:rPr lang="en-US" dirty="0" err="1"/>
              <a:t>Prin</a:t>
            </a:r>
            <a:r>
              <a:rPr lang="en-US" baseline="0" dirty="0"/>
              <a:t> </a:t>
            </a:r>
            <a:r>
              <a:rPr lang="en-US" baseline="0" dirty="0" err="1"/>
              <a:t>Tablouri</a:t>
            </a:r>
            <a:r>
              <a:rPr lang="en-US" baseline="0" dirty="0"/>
              <a:t> </a:t>
            </a:r>
            <a:r>
              <a:rPr lang="en-US" baseline="0" dirty="0" err="1"/>
              <a:t>Inteligente</a:t>
            </a:r>
            <a:r>
              <a:rPr lang="en-US" baseline="0" dirty="0"/>
              <a:t> dam voce </a:t>
            </a:r>
            <a:r>
              <a:rPr lang="en-US" baseline="0" dirty="0" err="1"/>
              <a:t>tabloului</a:t>
            </a:r>
            <a:r>
              <a:rPr lang="en-US" baseline="0" dirty="0"/>
              <a:t> electric, </a:t>
            </a:r>
            <a:r>
              <a:rPr lang="en-US" baseline="0" dirty="0" err="1"/>
              <a:t>ridicandu</a:t>
            </a:r>
            <a:r>
              <a:rPr lang="en-US" baseline="0" dirty="0"/>
              <a:t>-i </a:t>
            </a:r>
            <a:r>
              <a:rPr lang="en-US" baseline="0" dirty="0" err="1"/>
              <a:t>rolul</a:t>
            </a:r>
            <a:r>
              <a:rPr lang="en-US" baseline="0" dirty="0"/>
              <a:t> de la </a:t>
            </a:r>
            <a:r>
              <a:rPr lang="en-US" baseline="0" dirty="0" err="1"/>
              <a:t>echipament</a:t>
            </a:r>
            <a:r>
              <a:rPr lang="en-US" baseline="0" dirty="0"/>
              <a:t> de </a:t>
            </a:r>
            <a:r>
              <a:rPr lang="en-US" baseline="0" dirty="0" err="1"/>
              <a:t>protectie</a:t>
            </a:r>
            <a:r>
              <a:rPr lang="en-US" baseline="0" dirty="0"/>
              <a:t> a </a:t>
            </a:r>
            <a:r>
              <a:rPr lang="en-US" baseline="0" dirty="0" err="1"/>
              <a:t>instalatiei</a:t>
            </a:r>
            <a:r>
              <a:rPr lang="en-US" baseline="0" dirty="0"/>
              <a:t> </a:t>
            </a:r>
            <a:r>
              <a:rPr lang="en-US" baseline="0" dirty="0" err="1"/>
              <a:t>electrice</a:t>
            </a:r>
            <a:r>
              <a:rPr lang="en-US" baseline="0" dirty="0"/>
              <a:t> la instrument de management al </a:t>
            </a:r>
            <a:r>
              <a:rPr lang="en-US" baseline="0" dirty="0" err="1"/>
              <a:t>energiei</a:t>
            </a:r>
            <a:r>
              <a:rPr lang="en-US" baseline="0" dirty="0"/>
              <a:t>.</a:t>
            </a:r>
          </a:p>
          <a:p>
            <a:r>
              <a:rPr lang="en-US" baseline="0" dirty="0" err="1"/>
              <a:t>Multumita</a:t>
            </a:r>
            <a:r>
              <a:rPr lang="en-US" baseline="0" dirty="0"/>
              <a:t> </a:t>
            </a:r>
            <a:r>
              <a:rPr lang="en-US" baseline="0" dirty="0" err="1"/>
              <a:t>unor</a:t>
            </a:r>
            <a:r>
              <a:rPr lang="en-US" baseline="0" dirty="0"/>
              <a:t> </a:t>
            </a:r>
            <a:r>
              <a:rPr lang="en-US" baseline="0" dirty="0" err="1"/>
              <a:t>accesorii</a:t>
            </a:r>
            <a:r>
              <a:rPr lang="en-US" baseline="0" dirty="0"/>
              <a:t> simple care </a:t>
            </a:r>
            <a:r>
              <a:rPr lang="en-US" baseline="0" dirty="0" err="1"/>
              <a:t>echipeaza</a:t>
            </a:r>
            <a:r>
              <a:rPr lang="en-US" baseline="0" dirty="0"/>
              <a:t> </a:t>
            </a:r>
            <a:r>
              <a:rPr lang="en-US" baseline="0" dirty="0" err="1"/>
              <a:t>tabloul</a:t>
            </a:r>
            <a:r>
              <a:rPr lang="en-US" baseline="0" dirty="0"/>
              <a:t> electric </a:t>
            </a:r>
            <a:r>
              <a:rPr lang="en-US" baseline="0" dirty="0" err="1"/>
              <a:t>putem</a:t>
            </a:r>
            <a:r>
              <a:rPr lang="en-US" baseline="0" dirty="0"/>
              <a:t> fi </a:t>
            </a:r>
            <a:r>
              <a:rPr lang="en-US" b="1" baseline="0" dirty="0" err="1"/>
              <a:t>oricand</a:t>
            </a:r>
            <a:r>
              <a:rPr lang="en-US" b="1" baseline="0" dirty="0"/>
              <a:t>, (de)</a:t>
            </a:r>
            <a:r>
              <a:rPr lang="en-US" b="1" baseline="0" dirty="0" err="1"/>
              <a:t>oriunde</a:t>
            </a:r>
            <a:r>
              <a:rPr lang="en-US" b="1" baseline="0" dirty="0"/>
              <a:t> </a:t>
            </a:r>
            <a:r>
              <a:rPr lang="en-US" b="1" baseline="0" dirty="0" err="1"/>
              <a:t>informati</a:t>
            </a:r>
            <a:r>
              <a:rPr lang="en-US" b="1" baseline="0" dirty="0"/>
              <a:t> </a:t>
            </a:r>
            <a:r>
              <a:rPr lang="en-US" baseline="0" dirty="0" err="1"/>
              <a:t>astfel</a:t>
            </a:r>
            <a:r>
              <a:rPr lang="en-US" baseline="0" dirty="0"/>
              <a:t> </a:t>
            </a:r>
            <a:r>
              <a:rPr lang="en-US" baseline="0" dirty="0" err="1"/>
              <a:t>incat</a:t>
            </a:r>
            <a:r>
              <a:rPr lang="en-US" baseline="0" dirty="0"/>
              <a:t> </a:t>
            </a:r>
            <a:r>
              <a:rPr lang="en-US" baseline="0" dirty="0" err="1"/>
              <a:t>putem</a:t>
            </a:r>
            <a:r>
              <a:rPr lang="en-US" baseline="0" dirty="0"/>
              <a:t> </a:t>
            </a:r>
            <a:r>
              <a:rPr lang="en-US" baseline="0" dirty="0" err="1"/>
              <a:t>actiona</a:t>
            </a:r>
            <a:r>
              <a:rPr lang="en-US" baseline="0" dirty="0"/>
              <a:t> </a:t>
            </a:r>
            <a:r>
              <a:rPr lang="en-US" b="1" baseline="0" dirty="0" err="1"/>
              <a:t>oricand</a:t>
            </a:r>
            <a:r>
              <a:rPr lang="en-US" b="1" baseline="0" dirty="0"/>
              <a:t>, (de)</a:t>
            </a:r>
            <a:r>
              <a:rPr lang="en-US" b="1" baseline="0" dirty="0" err="1"/>
              <a:t>oriunde</a:t>
            </a:r>
            <a:r>
              <a:rPr lang="en-US" b="1" baseline="0" dirty="0"/>
              <a:t> </a:t>
            </a:r>
            <a:r>
              <a:rPr lang="en-US" baseline="0" dirty="0" err="1"/>
              <a:t>corect</a:t>
            </a:r>
            <a:r>
              <a:rPr lang="en-US" baseline="0" dirty="0"/>
              <a:t> </a:t>
            </a:r>
            <a:r>
              <a:rPr lang="en-US" baseline="0" dirty="0" err="1"/>
              <a:t>si</a:t>
            </a:r>
            <a:r>
              <a:rPr lang="en-US" baseline="0" dirty="0"/>
              <a:t> coherent  in </a:t>
            </a:r>
            <a:r>
              <a:rPr lang="en-US" baseline="0" dirty="0" err="1"/>
              <a:t>sensul</a:t>
            </a:r>
            <a:r>
              <a:rPr lang="en-US" baseline="0" dirty="0"/>
              <a:t> </a:t>
            </a:r>
            <a:r>
              <a:rPr lang="en-US" baseline="0" dirty="0" err="1"/>
              <a:t>cresterii</a:t>
            </a:r>
            <a:r>
              <a:rPr lang="en-US" baseline="0" dirty="0"/>
              <a:t> </a:t>
            </a:r>
            <a:r>
              <a:rPr lang="en-US" baseline="0" dirty="0" err="1"/>
              <a:t>eficientei</a:t>
            </a:r>
            <a:r>
              <a:rPr lang="en-US" baseline="0" dirty="0"/>
              <a:t> </a:t>
            </a:r>
            <a:r>
              <a:rPr lang="en-US" baseline="0" dirty="0" err="1"/>
              <a:t>energetice</a:t>
            </a:r>
            <a:r>
              <a:rPr lang="en-US" baseline="0" dirty="0"/>
              <a:t>, a </a:t>
            </a:r>
            <a:r>
              <a:rPr lang="en-US" baseline="0" dirty="0" err="1"/>
              <a:t>imbunatatirii</a:t>
            </a:r>
            <a:r>
              <a:rPr lang="en-US" baseline="0" dirty="0"/>
              <a:t> </a:t>
            </a:r>
            <a:r>
              <a:rPr lang="en-US" baseline="0" dirty="0" err="1"/>
              <a:t>continuitatii</a:t>
            </a:r>
            <a:r>
              <a:rPr lang="en-US" baseline="0" dirty="0"/>
              <a:t> in </a:t>
            </a:r>
            <a:r>
              <a:rPr lang="en-US" baseline="0" dirty="0" err="1"/>
              <a:t>serviciu</a:t>
            </a:r>
            <a:r>
              <a:rPr lang="en-US" baseline="0" dirty="0"/>
              <a:t> </a:t>
            </a:r>
            <a:r>
              <a:rPr lang="en-US" baseline="0" dirty="0" err="1"/>
              <a:t>si</a:t>
            </a:r>
            <a:r>
              <a:rPr lang="en-US" baseline="0" dirty="0"/>
              <a:t> a </a:t>
            </a:r>
            <a:r>
              <a:rPr lang="en-US" baseline="0" dirty="0" err="1"/>
              <a:t>cresterii</a:t>
            </a:r>
            <a:r>
              <a:rPr lang="en-US" baseline="0" dirty="0"/>
              <a:t> </a:t>
            </a:r>
            <a:r>
              <a:rPr lang="en-US" baseline="0" dirty="0" err="1"/>
              <a:t>eficientei</a:t>
            </a:r>
            <a:r>
              <a:rPr lang="en-US" baseline="0" dirty="0"/>
              <a:t> </a:t>
            </a:r>
            <a:r>
              <a:rPr lang="en-US" baseline="0" dirty="0" err="1"/>
              <a:t>activitatilor</a:t>
            </a:r>
            <a:r>
              <a:rPr lang="en-US" baseline="0" dirty="0"/>
              <a:t> de </a:t>
            </a:r>
            <a:r>
              <a:rPr lang="en-US" baseline="0" dirty="0" err="1"/>
              <a:t>mentenanta</a:t>
            </a:r>
            <a:r>
              <a:rPr lang="en-US" baseline="0" dirty="0"/>
              <a:t>.</a:t>
            </a:r>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11</a:t>
            </a:fld>
            <a:endParaRPr lang="en-US"/>
          </a:p>
        </p:txBody>
      </p:sp>
    </p:spTree>
    <p:extLst>
      <p:ext uri="{BB962C8B-B14F-4D97-AF65-F5344CB8AC3E}">
        <p14:creationId xmlns:p14="http://schemas.microsoft.com/office/powerpoint/2010/main" val="34127423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entru</a:t>
            </a:r>
            <a:r>
              <a:rPr lang="en-US" baseline="0" dirty="0"/>
              <a:t> </a:t>
            </a:r>
            <a:r>
              <a:rPr lang="en-US" baseline="0" dirty="0" err="1"/>
              <a:t>fiecare</a:t>
            </a:r>
            <a:r>
              <a:rPr lang="en-US" baseline="0" dirty="0"/>
              <a:t> din </a:t>
            </a:r>
            <a:r>
              <a:rPr lang="en-US" baseline="0" dirty="0" err="1"/>
              <a:t>cei</a:t>
            </a:r>
            <a:r>
              <a:rPr lang="en-US" baseline="0" dirty="0"/>
              <a:t> </a:t>
            </a:r>
            <a:r>
              <a:rPr lang="en-US" baseline="0" dirty="0" err="1"/>
              <a:t>patru</a:t>
            </a:r>
            <a:r>
              <a:rPr lang="en-US" baseline="0" dirty="0"/>
              <a:t> </a:t>
            </a:r>
            <a:r>
              <a:rPr lang="en-US" baseline="0" dirty="0" err="1"/>
              <a:t>piloni</a:t>
            </a:r>
            <a:r>
              <a:rPr lang="en-US" baseline="0" dirty="0"/>
              <a:t> </a:t>
            </a:r>
            <a:r>
              <a:rPr lang="en-US" baseline="0" dirty="0" err="1"/>
              <a:t>avem</a:t>
            </a:r>
            <a:r>
              <a:rPr lang="en-US" baseline="0" dirty="0"/>
              <a:t> </a:t>
            </a:r>
            <a:r>
              <a:rPr lang="en-US" baseline="0" dirty="0" err="1"/>
              <a:t>ceea</a:t>
            </a:r>
            <a:r>
              <a:rPr lang="en-US" baseline="0" dirty="0"/>
              <a:t> </a:t>
            </a:r>
            <a:r>
              <a:rPr lang="en-US" baseline="0" dirty="0" err="1"/>
              <a:t>ce</a:t>
            </a:r>
            <a:r>
              <a:rPr lang="en-US" baseline="0" dirty="0"/>
              <a:t> se </a:t>
            </a:r>
            <a:r>
              <a:rPr lang="en-US" baseline="0" dirty="0" err="1"/>
              <a:t>cheama</a:t>
            </a:r>
            <a:r>
              <a:rPr lang="en-US" baseline="0" dirty="0"/>
              <a:t> Value Propositions:</a:t>
            </a:r>
          </a:p>
          <a:p>
            <a:r>
              <a:rPr lang="en-US" baseline="0" dirty="0"/>
              <a:t>- </a:t>
            </a:r>
            <a:r>
              <a:rPr lang="en-US" baseline="0" dirty="0" err="1"/>
              <a:t>Semnificativ</a:t>
            </a:r>
            <a:r>
              <a:rPr lang="en-US" baseline="0" dirty="0"/>
              <a:t> </a:t>
            </a:r>
            <a:r>
              <a:rPr lang="en-US" baseline="0" dirty="0" err="1"/>
              <a:t>mai</a:t>
            </a:r>
            <a:r>
              <a:rPr lang="en-US" baseline="0" dirty="0"/>
              <a:t> </a:t>
            </a:r>
            <a:r>
              <a:rPr lang="en-US" baseline="0" dirty="0" err="1"/>
              <a:t>putine</a:t>
            </a:r>
            <a:r>
              <a:rPr lang="en-US" baseline="0" dirty="0"/>
              <a:t> </a:t>
            </a:r>
            <a:r>
              <a:rPr lang="en-US" baseline="0" dirty="0" err="1"/>
              <a:t>incendii</a:t>
            </a:r>
            <a:r>
              <a:rPr lang="en-US" baseline="0" dirty="0"/>
              <a:t> </a:t>
            </a:r>
            <a:r>
              <a:rPr lang="en-US" baseline="0" dirty="0" err="1"/>
              <a:t>si</a:t>
            </a:r>
            <a:r>
              <a:rPr lang="en-US" baseline="0" dirty="0"/>
              <a:t> </a:t>
            </a:r>
            <a:r>
              <a:rPr lang="en-US" baseline="0" dirty="0" err="1"/>
              <a:t>reducere</a:t>
            </a:r>
            <a:r>
              <a:rPr lang="en-US" baseline="0" dirty="0"/>
              <a:t> a </a:t>
            </a:r>
            <a:r>
              <a:rPr lang="en-US" baseline="0" dirty="0" err="1"/>
              <a:t>numarului</a:t>
            </a:r>
            <a:r>
              <a:rPr lang="en-US" baseline="0" dirty="0"/>
              <a:t> de </a:t>
            </a:r>
            <a:r>
              <a:rPr lang="en-US" baseline="0" dirty="0" err="1"/>
              <a:t>accidente</a:t>
            </a:r>
            <a:r>
              <a:rPr lang="en-US" baseline="0" dirty="0"/>
              <a:t> cu </a:t>
            </a:r>
            <a:r>
              <a:rPr lang="en-US" baseline="0" dirty="0" err="1"/>
              <a:t>personalul</a:t>
            </a:r>
            <a:endParaRPr lang="en-US" baseline="0" dirty="0"/>
          </a:p>
          <a:p>
            <a:r>
              <a:rPr lang="en-US" baseline="0" dirty="0"/>
              <a:t>- </a:t>
            </a:r>
            <a:r>
              <a:rPr lang="en-US" baseline="0" dirty="0" err="1"/>
              <a:t>Imbunatatire</a:t>
            </a:r>
            <a:r>
              <a:rPr lang="en-US" baseline="0" dirty="0"/>
              <a:t> </a:t>
            </a:r>
            <a:r>
              <a:rPr lang="en-US" baseline="0" dirty="0" err="1"/>
              <a:t>semnificativa</a:t>
            </a:r>
            <a:r>
              <a:rPr lang="en-US" baseline="0" dirty="0"/>
              <a:t> a </a:t>
            </a:r>
            <a:r>
              <a:rPr lang="en-US" baseline="0" dirty="0" err="1"/>
              <a:t>continitatii</a:t>
            </a:r>
            <a:r>
              <a:rPr lang="en-US" baseline="0" dirty="0"/>
              <a:t> in </a:t>
            </a:r>
            <a:r>
              <a:rPr lang="en-US" baseline="0" dirty="0" err="1"/>
              <a:t>alimentarea</a:t>
            </a:r>
            <a:r>
              <a:rPr lang="en-US" baseline="0" dirty="0"/>
              <a:t> cu </a:t>
            </a:r>
            <a:r>
              <a:rPr lang="en-US" baseline="0" dirty="0" err="1"/>
              <a:t>energie</a:t>
            </a:r>
            <a:r>
              <a:rPr lang="en-US" baseline="0" dirty="0"/>
              <a:t> </a:t>
            </a:r>
            <a:r>
              <a:rPr lang="en-US" baseline="0" dirty="0" err="1"/>
              <a:t>electrica</a:t>
            </a:r>
            <a:r>
              <a:rPr lang="en-US" baseline="0" dirty="0"/>
              <a:t> </a:t>
            </a:r>
            <a:r>
              <a:rPr lang="en-US" baseline="0" dirty="0" err="1"/>
              <a:t>si</a:t>
            </a:r>
            <a:r>
              <a:rPr lang="en-US" baseline="0" dirty="0"/>
              <a:t> a </a:t>
            </a:r>
            <a:r>
              <a:rPr lang="en-US" baseline="0" dirty="0" err="1"/>
              <a:t>duratei</a:t>
            </a:r>
            <a:r>
              <a:rPr lang="en-US" baseline="0" dirty="0"/>
              <a:t> de </a:t>
            </a:r>
            <a:r>
              <a:rPr lang="en-US" baseline="0" dirty="0" err="1"/>
              <a:t>viata</a:t>
            </a:r>
            <a:r>
              <a:rPr lang="en-US" baseline="0" dirty="0"/>
              <a:t> </a:t>
            </a:r>
            <a:r>
              <a:rPr lang="en-US" baseline="0" dirty="0" err="1"/>
              <a:t>prin</a:t>
            </a:r>
            <a:r>
              <a:rPr lang="en-US" baseline="0" dirty="0"/>
              <a:t> </a:t>
            </a:r>
            <a:r>
              <a:rPr lang="en-US" baseline="0" dirty="0" err="1"/>
              <a:t>actiuni</a:t>
            </a:r>
            <a:r>
              <a:rPr lang="en-US" baseline="0" dirty="0"/>
              <a:t> proactive de </a:t>
            </a:r>
            <a:r>
              <a:rPr lang="en-US" baseline="0" dirty="0" err="1"/>
              <a:t>mentenanta</a:t>
            </a:r>
            <a:endParaRPr lang="en-US" baseline="0" dirty="0"/>
          </a:p>
          <a:p>
            <a:pPr marL="171450" indent="-171450">
              <a:buFontTx/>
              <a:buChar char="-"/>
            </a:pPr>
            <a:r>
              <a:rPr lang="en-US" baseline="0" dirty="0" err="1"/>
              <a:t>Cresterea</a:t>
            </a:r>
            <a:r>
              <a:rPr lang="en-US" baseline="0" dirty="0"/>
              <a:t> </a:t>
            </a:r>
            <a:r>
              <a:rPr lang="en-US" baseline="0" dirty="0" err="1"/>
              <a:t>eficientei</a:t>
            </a:r>
            <a:r>
              <a:rPr lang="en-US" baseline="0" dirty="0"/>
              <a:t> </a:t>
            </a:r>
            <a:r>
              <a:rPr lang="en-US" baseline="0" dirty="0" err="1"/>
              <a:t>energetice</a:t>
            </a:r>
            <a:r>
              <a:rPr lang="en-US" baseline="0" dirty="0"/>
              <a:t> </a:t>
            </a:r>
            <a:r>
              <a:rPr lang="en-US" baseline="0" dirty="0" err="1"/>
              <a:t>prin</a:t>
            </a:r>
            <a:r>
              <a:rPr lang="en-US" baseline="0" dirty="0"/>
              <a:t> </a:t>
            </a:r>
            <a:r>
              <a:rPr lang="en-US" baseline="0" dirty="0" err="1"/>
              <a:t>urmarirea</a:t>
            </a:r>
            <a:r>
              <a:rPr lang="en-US" baseline="0" dirty="0"/>
              <a:t> </a:t>
            </a:r>
            <a:r>
              <a:rPr lang="en-US" baseline="0" dirty="0" err="1"/>
              <a:t>consumurilor</a:t>
            </a:r>
            <a:r>
              <a:rPr lang="en-US" baseline="0" dirty="0"/>
              <a:t> </a:t>
            </a:r>
            <a:r>
              <a:rPr lang="en-US" baseline="0" dirty="0" err="1"/>
              <a:t>si</a:t>
            </a:r>
            <a:r>
              <a:rPr lang="en-US" baseline="0" dirty="0"/>
              <a:t> </a:t>
            </a:r>
            <a:r>
              <a:rPr lang="en-US" baseline="0" dirty="0" err="1"/>
              <a:t>luarea</a:t>
            </a:r>
            <a:r>
              <a:rPr lang="en-US" baseline="0" dirty="0"/>
              <a:t> de </a:t>
            </a:r>
            <a:r>
              <a:rPr lang="en-US" baseline="0" dirty="0" err="1"/>
              <a:t>masuri</a:t>
            </a:r>
            <a:r>
              <a:rPr lang="en-US" baseline="0" dirty="0"/>
              <a:t> </a:t>
            </a:r>
            <a:r>
              <a:rPr lang="en-US" baseline="0" dirty="0" err="1"/>
              <a:t>corective</a:t>
            </a:r>
            <a:r>
              <a:rPr lang="en-US" baseline="0" dirty="0"/>
              <a:t>, </a:t>
            </a:r>
            <a:r>
              <a:rPr lang="en-US" baseline="0" dirty="0" err="1"/>
              <a:t>reducerea</a:t>
            </a:r>
            <a:r>
              <a:rPr lang="en-US" baseline="0" dirty="0"/>
              <a:t> </a:t>
            </a:r>
            <a:r>
              <a:rPr lang="en-US" baseline="0" dirty="0" err="1"/>
              <a:t>costurilor</a:t>
            </a:r>
            <a:r>
              <a:rPr lang="en-US" baseline="0" dirty="0"/>
              <a:t> cu </a:t>
            </a:r>
            <a:r>
              <a:rPr lang="en-US" baseline="0" dirty="0" err="1"/>
              <a:t>mentenanta</a:t>
            </a:r>
            <a:r>
              <a:rPr lang="en-US" baseline="0" dirty="0"/>
              <a:t> </a:t>
            </a:r>
            <a:r>
              <a:rPr lang="en-US" baseline="0" dirty="0" err="1"/>
              <a:t>si</a:t>
            </a:r>
            <a:r>
              <a:rPr lang="en-US" baseline="0" dirty="0"/>
              <a:t> a </a:t>
            </a:r>
            <a:r>
              <a:rPr lang="en-US" baseline="0" dirty="0" err="1"/>
              <a:t>timpilor</a:t>
            </a:r>
            <a:r>
              <a:rPr lang="en-US" baseline="0" dirty="0"/>
              <a:t> de </a:t>
            </a:r>
            <a:r>
              <a:rPr lang="en-US" baseline="0" dirty="0" err="1"/>
              <a:t>repunere</a:t>
            </a:r>
            <a:r>
              <a:rPr lang="en-US" baseline="0" dirty="0"/>
              <a:t> in </a:t>
            </a:r>
            <a:r>
              <a:rPr lang="en-US" baseline="0" dirty="0" err="1"/>
              <a:t>functiune</a:t>
            </a:r>
            <a:endParaRPr lang="en-US" baseline="0" dirty="0"/>
          </a:p>
          <a:p>
            <a:pPr marL="171450" indent="-171450">
              <a:buFontTx/>
              <a:buChar char="-"/>
            </a:pPr>
            <a:r>
              <a:rPr lang="en-US" baseline="0" dirty="0" err="1"/>
              <a:t>Cresterea</a:t>
            </a:r>
            <a:r>
              <a:rPr lang="en-US" baseline="0" dirty="0"/>
              <a:t> </a:t>
            </a:r>
            <a:r>
              <a:rPr lang="en-US" baseline="0" dirty="0" err="1"/>
              <a:t>valorilor</a:t>
            </a:r>
            <a:r>
              <a:rPr lang="en-US" baseline="0" dirty="0"/>
              <a:t> </a:t>
            </a:r>
            <a:r>
              <a:rPr lang="en-US" baseline="0" dirty="0" err="1"/>
              <a:t>chiriilor</a:t>
            </a:r>
            <a:r>
              <a:rPr lang="en-US" baseline="0" dirty="0"/>
              <a:t> </a:t>
            </a:r>
            <a:r>
              <a:rPr lang="en-US" baseline="0" dirty="0" err="1"/>
              <a:t>si</a:t>
            </a:r>
            <a:r>
              <a:rPr lang="en-US" baseline="0" dirty="0"/>
              <a:t> de </a:t>
            </a:r>
            <a:r>
              <a:rPr lang="en-US" baseline="0" dirty="0" err="1"/>
              <a:t>vanzare</a:t>
            </a:r>
            <a:r>
              <a:rPr lang="en-US" baseline="0" dirty="0"/>
              <a:t> a </a:t>
            </a:r>
            <a:r>
              <a:rPr lang="en-US" baseline="0" dirty="0" err="1"/>
              <a:t>cladirilor</a:t>
            </a:r>
            <a:r>
              <a:rPr lang="en-US" baseline="0" dirty="0"/>
              <a:t> ca </a:t>
            </a:r>
            <a:r>
              <a:rPr lang="en-US" baseline="0" dirty="0" err="1"/>
              <a:t>si</a:t>
            </a:r>
            <a:r>
              <a:rPr lang="en-US" baseline="0" dirty="0"/>
              <a:t> o </a:t>
            </a:r>
            <a:r>
              <a:rPr lang="en-US" baseline="0" dirty="0" err="1"/>
              <a:t>reducere</a:t>
            </a:r>
            <a:r>
              <a:rPr lang="en-US" baseline="0" dirty="0"/>
              <a:t> a </a:t>
            </a:r>
            <a:r>
              <a:rPr lang="en-US" baseline="0" dirty="0" err="1"/>
              <a:t>responsabilitatii</a:t>
            </a:r>
            <a:r>
              <a:rPr lang="en-US" baseline="0" dirty="0"/>
              <a:t> </a:t>
            </a:r>
            <a:r>
              <a:rPr lang="en-US" baseline="0" dirty="0" err="1"/>
              <a:t>rin</a:t>
            </a:r>
            <a:r>
              <a:rPr lang="en-US" baseline="0" dirty="0"/>
              <a:t> </a:t>
            </a:r>
            <a:r>
              <a:rPr lang="en-US" baseline="0" dirty="0" err="1"/>
              <a:t>garantia</a:t>
            </a:r>
            <a:r>
              <a:rPr lang="en-US" baseline="0" dirty="0"/>
              <a:t> data de </a:t>
            </a:r>
            <a:r>
              <a:rPr lang="en-US" baseline="0" dirty="0" err="1"/>
              <a:t>solutii</a:t>
            </a:r>
            <a:r>
              <a:rPr lang="en-US" baseline="0" dirty="0"/>
              <a:t> testate, validate </a:t>
            </a:r>
            <a:r>
              <a:rPr lang="en-US" baseline="0" dirty="0" err="1"/>
              <a:t>si</a:t>
            </a:r>
            <a:r>
              <a:rPr lang="en-US" baseline="0" dirty="0"/>
              <a:t> </a:t>
            </a:r>
            <a:r>
              <a:rPr lang="en-US" baseline="0" dirty="0" err="1"/>
              <a:t>documentate</a:t>
            </a:r>
            <a:r>
              <a:rPr lang="en-US" baseline="0" dirty="0"/>
              <a:t>.</a:t>
            </a:r>
          </a:p>
          <a:p>
            <a:pPr marL="0" indent="0">
              <a:buFontTx/>
              <a:buNone/>
            </a:pPr>
            <a:r>
              <a:rPr lang="en-US" baseline="0" dirty="0"/>
              <a:t>Per </a:t>
            </a:r>
            <a:r>
              <a:rPr lang="en-US" baseline="0" dirty="0" err="1"/>
              <a:t>ansamblu</a:t>
            </a:r>
            <a:r>
              <a:rPr lang="en-US" baseline="0" dirty="0"/>
              <a:t>, </a:t>
            </a:r>
            <a:r>
              <a:rPr lang="en-US" baseline="0" dirty="0" err="1"/>
              <a:t>implementarea</a:t>
            </a:r>
            <a:r>
              <a:rPr lang="en-US" baseline="0" dirty="0"/>
              <a:t> </a:t>
            </a:r>
            <a:r>
              <a:rPr lang="en-US" baseline="0" dirty="0" err="1"/>
              <a:t>unor</a:t>
            </a:r>
            <a:r>
              <a:rPr lang="en-US" baseline="0" dirty="0"/>
              <a:t> </a:t>
            </a:r>
            <a:r>
              <a:rPr lang="en-US" baseline="0" dirty="0" err="1"/>
              <a:t>astfel</a:t>
            </a:r>
            <a:r>
              <a:rPr lang="en-US" baseline="0" dirty="0"/>
              <a:t> de </a:t>
            </a:r>
            <a:r>
              <a:rPr lang="en-US" baseline="0" dirty="0" err="1"/>
              <a:t>solutii</a:t>
            </a:r>
            <a:r>
              <a:rPr lang="en-US" baseline="0" dirty="0"/>
              <a:t> </a:t>
            </a:r>
            <a:r>
              <a:rPr lang="en-US" baseline="0" dirty="0" err="1"/>
              <a:t>inseamna</a:t>
            </a:r>
            <a:r>
              <a:rPr lang="en-US" baseline="0" dirty="0"/>
              <a:t> o </a:t>
            </a:r>
            <a:r>
              <a:rPr lang="en-US" baseline="0" dirty="0" err="1"/>
              <a:t>crestere</a:t>
            </a:r>
            <a:r>
              <a:rPr lang="en-US" baseline="0" dirty="0"/>
              <a:t> a </a:t>
            </a:r>
            <a:r>
              <a:rPr lang="en-US" baseline="0" dirty="0" err="1"/>
              <a:t>investitie</a:t>
            </a:r>
            <a:r>
              <a:rPr lang="en-US" baseline="0" dirty="0"/>
              <a:t> </a:t>
            </a:r>
            <a:r>
              <a:rPr lang="en-US" baseline="0" dirty="0" err="1"/>
              <a:t>initiale</a:t>
            </a:r>
            <a:r>
              <a:rPr lang="en-US" baseline="0" dirty="0"/>
              <a:t> cu </a:t>
            </a:r>
            <a:r>
              <a:rPr lang="en-US" baseline="0" dirty="0" err="1"/>
              <a:t>aproximativ</a:t>
            </a:r>
            <a:r>
              <a:rPr lang="en-US" baseline="0" dirty="0"/>
              <a:t> 10-12 % </a:t>
            </a:r>
            <a:r>
              <a:rPr lang="en-US" baseline="0" dirty="0" err="1"/>
              <a:t>insa</a:t>
            </a:r>
            <a:r>
              <a:rPr lang="en-US" baseline="0" dirty="0"/>
              <a:t> </a:t>
            </a:r>
            <a:r>
              <a:rPr lang="en-US" baseline="0" dirty="0" err="1"/>
              <a:t>analizele</a:t>
            </a:r>
            <a:r>
              <a:rPr lang="en-US" baseline="0" dirty="0"/>
              <a:t> </a:t>
            </a:r>
            <a:r>
              <a:rPr lang="en-US" baseline="0" dirty="0" err="1"/>
              <a:t>indica</a:t>
            </a:r>
            <a:r>
              <a:rPr lang="en-US" baseline="0" dirty="0"/>
              <a:t> o </a:t>
            </a:r>
            <a:r>
              <a:rPr lang="en-US" baseline="0" dirty="0" err="1"/>
              <a:t>perioada</a:t>
            </a:r>
            <a:r>
              <a:rPr lang="en-US" baseline="0" dirty="0"/>
              <a:t> de </a:t>
            </a:r>
            <a:r>
              <a:rPr lang="en-US" baseline="0" dirty="0" err="1"/>
              <a:t>recuperare</a:t>
            </a:r>
            <a:r>
              <a:rPr lang="en-US" baseline="0" dirty="0"/>
              <a:t> a </a:t>
            </a:r>
            <a:r>
              <a:rPr lang="en-US" baseline="0" dirty="0" err="1"/>
              <a:t>investitie</a:t>
            </a:r>
            <a:r>
              <a:rPr lang="en-US" baseline="0" dirty="0"/>
              <a:t> de </a:t>
            </a:r>
            <a:r>
              <a:rPr lang="en-US" baseline="0" dirty="0" err="1"/>
              <a:t>cca</a:t>
            </a:r>
            <a:r>
              <a:rPr lang="en-US" baseline="0" dirty="0"/>
              <a:t> 2 </a:t>
            </a:r>
            <a:r>
              <a:rPr lang="en-US" baseline="0" dirty="0" err="1"/>
              <a:t>ani</a:t>
            </a:r>
            <a:r>
              <a:rPr lang="en-US" baseline="0" dirty="0"/>
              <a:t>.</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165"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65" rtl="0" eaLnBrk="1" fontAlgn="auto" latinLnBrk="0" hangingPunct="1">
                <a:lnSpc>
                  <a:spcPct val="100000"/>
                </a:lnSpc>
                <a:spcBef>
                  <a:spcPts val="0"/>
                </a:spcBef>
                <a:spcAft>
                  <a:spcPts val="0"/>
                </a:spcAft>
                <a:buClrTx/>
                <a:buSzTx/>
                <a:buFontTx/>
                <a:buNone/>
                <a:tabLst/>
                <a:defRPr/>
              </a:pPr>
              <a:t>1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699727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397625" cy="3600450"/>
          </a:xfrm>
        </p:spPr>
      </p:sp>
      <p:sp>
        <p:nvSpPr>
          <p:cNvPr id="3" name="Notes Placeholder 2"/>
          <p:cNvSpPr>
            <a:spLocks noGrp="1"/>
          </p:cNvSpPr>
          <p:nvPr>
            <p:ph type="body" idx="1"/>
          </p:nvPr>
        </p:nvSpPr>
        <p:spPr/>
        <p:txBody>
          <a:bodyPr>
            <a:normAutofit/>
          </a:bodyPr>
          <a:lstStyle/>
          <a:p>
            <a:r>
              <a:rPr lang="en-US" dirty="0">
                <a:latin typeface="Arial" pitchFamily="34" charset="0"/>
                <a:cs typeface="Arial" pitchFamily="34" charset="0"/>
              </a:rPr>
              <a:t>Agenda</a:t>
            </a:r>
            <a:r>
              <a:rPr lang="en-US" baseline="0" dirty="0">
                <a:latin typeface="Arial" pitchFamily="34" charset="0"/>
                <a:cs typeface="Arial" pitchFamily="34" charset="0"/>
              </a:rPr>
              <a:t> slide</a:t>
            </a:r>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E7F34D1A-B7E5-DE48-8EA9-859D9DE63652}" type="slidenum">
              <a:rPr lang="en-US" smtClean="0">
                <a:solidFill>
                  <a:prstClr val="black"/>
                </a:solidFill>
              </a:rPr>
              <a:pPr/>
              <a:t>14</a:t>
            </a:fld>
            <a:endParaRPr lang="en-US" dirty="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397625" cy="3600450"/>
          </a:xfrm>
        </p:spPr>
      </p:sp>
      <p:sp>
        <p:nvSpPr>
          <p:cNvPr id="3" name="Notes Placeholder 2"/>
          <p:cNvSpPr>
            <a:spLocks noGrp="1"/>
          </p:cNvSpPr>
          <p:nvPr>
            <p:ph type="body" idx="1"/>
          </p:nvPr>
        </p:nvSpPr>
        <p:spPr/>
        <p:txBody>
          <a:bodyPr>
            <a:normAutofit/>
          </a:bodyPr>
          <a:lstStyle/>
          <a:p>
            <a:r>
              <a:rPr lang="en-US" dirty="0">
                <a:latin typeface="Arial" pitchFamily="34" charset="0"/>
                <a:cs typeface="Arial" pitchFamily="34" charset="0"/>
              </a:rPr>
              <a:t>Agenda</a:t>
            </a:r>
            <a:r>
              <a:rPr lang="en-US" baseline="0" dirty="0">
                <a:latin typeface="Arial" pitchFamily="34" charset="0"/>
                <a:cs typeface="Arial" pitchFamily="34" charset="0"/>
              </a:rPr>
              <a:t> slide</a:t>
            </a:r>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E7F34D1A-B7E5-DE48-8EA9-859D9DE63652}" type="slidenum">
              <a:rPr lang="en-US" smtClean="0">
                <a:solidFill>
                  <a:prstClr val="black"/>
                </a:solidFill>
              </a:rPr>
              <a:pPr/>
              <a:t>15</a:t>
            </a:fld>
            <a:endParaRPr lang="en-US" dirty="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397625" cy="3600450"/>
          </a:xfrm>
        </p:spPr>
      </p:sp>
      <p:sp>
        <p:nvSpPr>
          <p:cNvPr id="3" name="Notes Placeholder 2"/>
          <p:cNvSpPr>
            <a:spLocks noGrp="1"/>
          </p:cNvSpPr>
          <p:nvPr>
            <p:ph type="body" idx="1"/>
          </p:nvPr>
        </p:nvSpPr>
        <p:spPr/>
        <p:txBody>
          <a:bodyPr>
            <a:normAutofit/>
          </a:bodyPr>
          <a:lstStyle/>
          <a:p>
            <a:r>
              <a:rPr lang="en-US" dirty="0">
                <a:latin typeface="Arial" pitchFamily="34" charset="0"/>
                <a:cs typeface="Arial" pitchFamily="34" charset="0"/>
              </a:rPr>
              <a:t>Agenda</a:t>
            </a:r>
            <a:r>
              <a:rPr lang="en-US" baseline="0" dirty="0">
                <a:latin typeface="Arial" pitchFamily="34" charset="0"/>
                <a:cs typeface="Arial" pitchFamily="34" charset="0"/>
              </a:rPr>
              <a:t> slide</a:t>
            </a:r>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E7F34D1A-B7E5-DE48-8EA9-859D9DE63652}" type="slidenum">
              <a:rPr lang="en-US" smtClean="0">
                <a:solidFill>
                  <a:prstClr val="black"/>
                </a:solidFill>
              </a:rPr>
              <a:pPr/>
              <a:t>16</a:t>
            </a:fld>
            <a:endParaRPr lang="en-US" dirty="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397625" cy="3600450"/>
          </a:xfrm>
        </p:spPr>
      </p:sp>
      <p:sp>
        <p:nvSpPr>
          <p:cNvPr id="3" name="Notes Placeholder 2"/>
          <p:cNvSpPr>
            <a:spLocks noGrp="1"/>
          </p:cNvSpPr>
          <p:nvPr>
            <p:ph type="body" idx="1"/>
          </p:nvPr>
        </p:nvSpPr>
        <p:spPr/>
        <p:txBody>
          <a:bodyPr>
            <a:normAutofit/>
          </a:bodyPr>
          <a:lstStyle/>
          <a:p>
            <a:r>
              <a:rPr lang="en-US" dirty="0">
                <a:latin typeface="Arial" pitchFamily="34" charset="0"/>
                <a:cs typeface="Arial" pitchFamily="34" charset="0"/>
              </a:rPr>
              <a:t>Agenda</a:t>
            </a:r>
            <a:r>
              <a:rPr lang="en-US" baseline="0" dirty="0">
                <a:latin typeface="Arial" pitchFamily="34" charset="0"/>
                <a:cs typeface="Arial" pitchFamily="34" charset="0"/>
              </a:rPr>
              <a:t> slide</a:t>
            </a:r>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E7F34D1A-B7E5-DE48-8EA9-859D9DE63652}" type="slidenum">
              <a:rPr lang="en-US" smtClean="0">
                <a:solidFill>
                  <a:prstClr val="black"/>
                </a:solidFill>
              </a:rPr>
              <a:pPr/>
              <a:t>17</a:t>
            </a:fld>
            <a:endParaRPr lang="en-US" dirty="0">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397625" cy="3600450"/>
          </a:xfrm>
        </p:spPr>
      </p:sp>
      <p:sp>
        <p:nvSpPr>
          <p:cNvPr id="3" name="Notes Placeholder 2"/>
          <p:cNvSpPr>
            <a:spLocks noGrp="1"/>
          </p:cNvSpPr>
          <p:nvPr>
            <p:ph type="body" idx="1"/>
          </p:nvPr>
        </p:nvSpPr>
        <p:spPr/>
        <p:txBody>
          <a:bodyPr>
            <a:normAutofit/>
          </a:bodyPr>
          <a:lstStyle/>
          <a:p>
            <a:r>
              <a:rPr lang="en-US" dirty="0">
                <a:latin typeface="Arial" pitchFamily="34" charset="0"/>
                <a:cs typeface="Arial" pitchFamily="34" charset="0"/>
              </a:rPr>
              <a:t>Agenda</a:t>
            </a:r>
            <a:r>
              <a:rPr lang="en-US" baseline="0" dirty="0">
                <a:latin typeface="Arial" pitchFamily="34" charset="0"/>
                <a:cs typeface="Arial" pitchFamily="34" charset="0"/>
              </a:rPr>
              <a:t> slide</a:t>
            </a:r>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E7F34D1A-B7E5-DE48-8EA9-859D9DE63652}" type="slidenum">
              <a:rPr lang="en-US" smtClean="0">
                <a:solidFill>
                  <a:prstClr val="black"/>
                </a:solidFill>
              </a:rPr>
              <a:pPr/>
              <a:t>18</a:t>
            </a:fld>
            <a:endParaRPr lang="en-US" dirty="0">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19138"/>
            <a:ext cx="6397625" cy="3600450"/>
          </a:xfrm>
        </p:spPr>
      </p:sp>
      <p:sp>
        <p:nvSpPr>
          <p:cNvPr id="3" name="Notes Placeholder 2"/>
          <p:cNvSpPr>
            <a:spLocks noGrp="1"/>
          </p:cNvSpPr>
          <p:nvPr>
            <p:ph type="body" idx="1"/>
          </p:nvPr>
        </p:nvSpPr>
        <p:spPr/>
        <p:txBody>
          <a:bodyPr>
            <a:normAutofit/>
          </a:bodyPr>
          <a:lstStyle/>
          <a:p>
            <a:r>
              <a:rPr lang="en-US" dirty="0">
                <a:latin typeface="Arial" pitchFamily="34" charset="0"/>
                <a:cs typeface="Arial" pitchFamily="34" charset="0"/>
              </a:rPr>
              <a:t>Agenda</a:t>
            </a:r>
            <a:r>
              <a:rPr lang="en-US" baseline="0" dirty="0">
                <a:latin typeface="Arial" pitchFamily="34" charset="0"/>
                <a:cs typeface="Arial" pitchFamily="34" charset="0"/>
              </a:rPr>
              <a:t> slide</a:t>
            </a:r>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E7F34D1A-B7E5-DE48-8EA9-859D9DE63652}" type="slidenum">
              <a:rPr lang="en-US" smtClean="0">
                <a:solidFill>
                  <a:prstClr val="black"/>
                </a:solidFill>
              </a:rPr>
              <a:pPr/>
              <a:t>19</a:t>
            </a:fld>
            <a:endParaRPr lang="en-US"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a:latin typeface="Arial" pitchFamily="34" charset="0"/>
                <a:cs typeface="Arial" pitchFamily="34" charset="0"/>
              </a:rPr>
              <a:t>Statisticile</a:t>
            </a:r>
            <a:r>
              <a:rPr lang="en-US" dirty="0">
                <a:latin typeface="Arial" pitchFamily="34" charset="0"/>
                <a:cs typeface="Arial" pitchFamily="34" charset="0"/>
              </a:rPr>
              <a:t> </a:t>
            </a:r>
            <a:r>
              <a:rPr lang="en-US" dirty="0" err="1">
                <a:latin typeface="Arial" pitchFamily="34" charset="0"/>
                <a:cs typeface="Arial" pitchFamily="34" charset="0"/>
              </a:rPr>
              <a:t>arata</a:t>
            </a:r>
            <a:r>
              <a:rPr lang="en-US" dirty="0">
                <a:latin typeface="Arial" pitchFamily="34" charset="0"/>
                <a:cs typeface="Arial" pitchFamily="34" charset="0"/>
              </a:rPr>
              <a:t> ca, in </a:t>
            </a:r>
            <a:r>
              <a:rPr lang="en-US" dirty="0" err="1">
                <a:latin typeface="Arial" pitchFamily="34" charset="0"/>
                <a:cs typeface="Arial" pitchFamily="34" charset="0"/>
              </a:rPr>
              <a:t>cladiri</a:t>
            </a:r>
            <a:r>
              <a:rPr lang="en-US" dirty="0">
                <a:latin typeface="Arial" pitchFamily="34" charset="0"/>
                <a:cs typeface="Arial" pitchFamily="34" charset="0"/>
              </a:rPr>
              <a:t> se </a:t>
            </a:r>
            <a:r>
              <a:rPr lang="en-US" dirty="0" err="1">
                <a:latin typeface="Arial" pitchFamily="34" charset="0"/>
                <a:cs typeface="Arial" pitchFamily="34" charset="0"/>
              </a:rPr>
              <a:t>consuma</a:t>
            </a:r>
            <a:r>
              <a:rPr lang="en-US" dirty="0">
                <a:latin typeface="Arial" pitchFamily="34" charset="0"/>
                <a:cs typeface="Arial" pitchFamily="34" charset="0"/>
              </a:rPr>
              <a:t> </a:t>
            </a:r>
            <a:r>
              <a:rPr lang="en-US" dirty="0" err="1">
                <a:latin typeface="Arial" pitchFamily="34" charset="0"/>
                <a:cs typeface="Arial" pitchFamily="34" charset="0"/>
              </a:rPr>
              <a:t>cca</a:t>
            </a:r>
            <a:r>
              <a:rPr lang="en-US" dirty="0">
                <a:latin typeface="Arial" pitchFamily="34" charset="0"/>
                <a:cs typeface="Arial" pitchFamily="34" charset="0"/>
              </a:rPr>
              <a:t> 40% din </a:t>
            </a:r>
            <a:r>
              <a:rPr lang="en-US" dirty="0" err="1">
                <a:latin typeface="Arial" pitchFamily="34" charset="0"/>
                <a:cs typeface="Arial" pitchFamily="34" charset="0"/>
              </a:rPr>
              <a:t>consumul</a:t>
            </a:r>
            <a:r>
              <a:rPr lang="en-US" dirty="0">
                <a:latin typeface="Arial" pitchFamily="34" charset="0"/>
                <a:cs typeface="Arial" pitchFamily="34" charset="0"/>
              </a:rPr>
              <a:t> total de </a:t>
            </a:r>
            <a:r>
              <a:rPr lang="en-US" dirty="0" err="1">
                <a:latin typeface="Arial" pitchFamily="34" charset="0"/>
                <a:cs typeface="Arial" pitchFamily="34" charset="0"/>
              </a:rPr>
              <a:t>energie</a:t>
            </a:r>
            <a:endParaRPr lang="en-US" dirty="0">
              <a:latin typeface="Arial" pitchFamily="34" charset="0"/>
              <a:cs typeface="Arial" pitchFamily="34" charset="0"/>
            </a:endParaRPr>
          </a:p>
          <a:p>
            <a:endParaRPr lang="en-US" dirty="0">
              <a:latin typeface="Arial" pitchFamily="34" charset="0"/>
              <a:cs typeface="Arial" pitchFamily="34" charset="0"/>
            </a:endParaRPr>
          </a:p>
          <a:p>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E7F34D1A-B7E5-DE48-8EA9-859D9DE63652}" type="slidenum">
              <a:rPr lang="en-US" smtClean="0"/>
              <a:pPr/>
              <a:t>2</a:t>
            </a:fld>
            <a:endParaRPr lang="en-US" dirty="0"/>
          </a:p>
        </p:txBody>
      </p:sp>
    </p:spTree>
    <p:extLst>
      <p:ext uri="{BB962C8B-B14F-4D97-AF65-F5344CB8AC3E}">
        <p14:creationId xmlns:p14="http://schemas.microsoft.com/office/powerpoint/2010/main" val="30600284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Ceea</a:t>
            </a:r>
            <a:r>
              <a:rPr lang="en-US" dirty="0"/>
              <a:t> </a:t>
            </a:r>
            <a:r>
              <a:rPr lang="en-US" dirty="0" err="1"/>
              <a:t>ce</a:t>
            </a:r>
            <a:r>
              <a:rPr lang="en-US" dirty="0"/>
              <a:t> a </a:t>
            </a:r>
            <a:r>
              <a:rPr lang="en-US" dirty="0" err="1"/>
              <a:t>condus</a:t>
            </a:r>
            <a:r>
              <a:rPr lang="en-US" dirty="0"/>
              <a:t> la directive </a:t>
            </a:r>
            <a:r>
              <a:rPr lang="en-US" dirty="0" err="1"/>
              <a:t>europene</a:t>
            </a:r>
            <a:r>
              <a:rPr lang="en-US" dirty="0"/>
              <a:t> </a:t>
            </a:r>
            <a:r>
              <a:rPr lang="en-US" dirty="0" err="1"/>
              <a:t>privind</a:t>
            </a:r>
            <a:r>
              <a:rPr lang="en-US" dirty="0"/>
              <a:t> </a:t>
            </a:r>
            <a:r>
              <a:rPr lang="en-US" dirty="0" err="1"/>
              <a:t>performatele</a:t>
            </a:r>
            <a:r>
              <a:rPr lang="en-US" dirty="0"/>
              <a:t> de </a:t>
            </a:r>
            <a:r>
              <a:rPr lang="en-US" dirty="0" err="1"/>
              <a:t>consum</a:t>
            </a:r>
            <a:r>
              <a:rPr lang="en-US" dirty="0"/>
              <a:t> ale </a:t>
            </a:r>
            <a:r>
              <a:rPr lang="en-US" dirty="0" err="1"/>
              <a:t>cladirilor</a:t>
            </a:r>
            <a:r>
              <a:rPr lang="en-US" dirty="0"/>
              <a:t> </a:t>
            </a:r>
            <a:r>
              <a:rPr lang="en-US" dirty="0" err="1"/>
              <a:t>si</a:t>
            </a:r>
            <a:r>
              <a:rPr lang="en-US" dirty="0"/>
              <a:t> </a:t>
            </a:r>
            <a:r>
              <a:rPr lang="en-US" dirty="0" err="1"/>
              <a:t>masuri</a:t>
            </a:r>
            <a:r>
              <a:rPr lang="en-US" dirty="0"/>
              <a:t> de </a:t>
            </a:r>
            <a:r>
              <a:rPr lang="en-US" dirty="0" err="1"/>
              <a:t>eficienta</a:t>
            </a:r>
            <a:r>
              <a:rPr lang="en-US" dirty="0"/>
              <a:t> </a:t>
            </a:r>
            <a:r>
              <a:rPr lang="en-US" dirty="0" err="1"/>
              <a:t>energetica</a:t>
            </a:r>
            <a:r>
              <a:rPr lang="en-US" dirty="0"/>
              <a:t> care au </a:t>
            </a:r>
            <a:r>
              <a:rPr lang="en-US" dirty="0" err="1"/>
              <a:t>intrat</a:t>
            </a:r>
            <a:r>
              <a:rPr lang="en-US" dirty="0"/>
              <a:t> in </a:t>
            </a:r>
            <a:r>
              <a:rPr lang="en-US" dirty="0" err="1"/>
              <a:t>vigoare</a:t>
            </a:r>
            <a:r>
              <a:rPr lang="en-US" dirty="0"/>
              <a:t> </a:t>
            </a:r>
            <a:r>
              <a:rPr lang="en-US" dirty="0" err="1"/>
              <a:t>si</a:t>
            </a:r>
            <a:r>
              <a:rPr lang="en-US" dirty="0"/>
              <a:t> in Romania</a:t>
            </a:r>
          </a:p>
        </p:txBody>
      </p:sp>
      <p:sp>
        <p:nvSpPr>
          <p:cNvPr id="4" name="Slide Number Placeholder 3"/>
          <p:cNvSpPr>
            <a:spLocks noGrp="1"/>
          </p:cNvSpPr>
          <p:nvPr>
            <p:ph type="sldNum" sz="quarter" idx="10"/>
          </p:nvPr>
        </p:nvSpPr>
        <p:spPr/>
        <p:txBody>
          <a:bodyPr/>
          <a:lstStyle/>
          <a:p>
            <a:fld id="{1CEAC983-54EE-4F70-BDD0-102B71A5E8E3}" type="slidenum">
              <a:rPr lang="en-US" smtClean="0"/>
              <a:pPr/>
              <a:t>3</a:t>
            </a:fld>
            <a:endParaRPr lang="en-US"/>
          </a:p>
        </p:txBody>
      </p:sp>
    </p:spTree>
    <p:extLst>
      <p:ext uri="{BB962C8B-B14F-4D97-AF65-F5344CB8AC3E}">
        <p14:creationId xmlns:p14="http://schemas.microsoft.com/office/powerpoint/2010/main" val="545174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err="1">
                <a:solidFill>
                  <a:schemeClr val="tx1"/>
                </a:solidFill>
                <a:latin typeface="+mn-lt"/>
                <a:ea typeface="+mn-ea"/>
                <a:cs typeface="+mn-cs"/>
              </a:rPr>
              <a:t>Daca</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analizam</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cerintele</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unui</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dezvoltator</a:t>
            </a:r>
            <a:r>
              <a:rPr lang="en-US" sz="1200" kern="1200" baseline="0" dirty="0">
                <a:solidFill>
                  <a:schemeClr val="tx1"/>
                </a:solidFill>
                <a:latin typeface="+mn-lt"/>
                <a:ea typeface="+mn-ea"/>
                <a:cs typeface="+mn-cs"/>
              </a:rPr>
              <a:t> de </a:t>
            </a:r>
            <a:r>
              <a:rPr lang="en-US" sz="1200" kern="1200" baseline="0" dirty="0" err="1">
                <a:solidFill>
                  <a:schemeClr val="tx1"/>
                </a:solidFill>
                <a:latin typeface="+mn-lt"/>
                <a:ea typeface="+mn-ea"/>
                <a:cs typeface="+mn-cs"/>
              </a:rPr>
              <a:t>cladiri</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acestea</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vizeaza</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conformitatea</a:t>
            </a:r>
            <a:r>
              <a:rPr lang="en-US" sz="1200" kern="1200" baseline="0" dirty="0">
                <a:solidFill>
                  <a:schemeClr val="tx1"/>
                </a:solidFill>
                <a:latin typeface="+mn-lt"/>
                <a:ea typeface="+mn-ea"/>
                <a:cs typeface="+mn-cs"/>
              </a:rPr>
              <a:t> cu </a:t>
            </a:r>
            <a:r>
              <a:rPr lang="en-US" sz="1200" kern="1200" baseline="0" dirty="0" err="1">
                <a:solidFill>
                  <a:schemeClr val="tx1"/>
                </a:solidFill>
                <a:latin typeface="+mn-lt"/>
                <a:ea typeface="+mn-ea"/>
                <a:cs typeface="+mn-cs"/>
              </a:rPr>
              <a:t>standardele</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si</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normativele</a:t>
            </a:r>
            <a:r>
              <a:rPr lang="en-US" sz="1200" kern="1200" baseline="0" dirty="0">
                <a:solidFill>
                  <a:schemeClr val="tx1"/>
                </a:solidFill>
                <a:latin typeface="+mn-lt"/>
                <a:ea typeface="+mn-ea"/>
                <a:cs typeface="+mn-cs"/>
              </a:rPr>
              <a:t> in </a:t>
            </a:r>
            <a:r>
              <a:rPr lang="en-US" sz="1200" kern="1200" baseline="0" dirty="0" err="1">
                <a:solidFill>
                  <a:schemeClr val="tx1"/>
                </a:solidFill>
                <a:latin typeface="+mn-lt"/>
                <a:ea typeface="+mn-ea"/>
                <a:cs typeface="+mn-cs"/>
              </a:rPr>
              <a:t>vigoare</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dar</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si</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cresterea</a:t>
            </a:r>
            <a:r>
              <a:rPr lang="en-US" sz="1200" kern="1200" baseline="0" dirty="0">
                <a:solidFill>
                  <a:schemeClr val="tx1"/>
                </a:solidFill>
                <a:latin typeface="+mn-lt"/>
                <a:ea typeface="+mn-ea"/>
                <a:cs typeface="+mn-cs"/>
              </a:rPr>
              <a:t> per </a:t>
            </a:r>
            <a:r>
              <a:rPr lang="en-US" sz="1200" kern="1200" baseline="0" dirty="0" err="1">
                <a:solidFill>
                  <a:schemeClr val="tx1"/>
                </a:solidFill>
                <a:latin typeface="+mn-lt"/>
                <a:ea typeface="+mn-ea"/>
                <a:cs typeface="+mn-cs"/>
              </a:rPr>
              <a:t>ansamblu</a:t>
            </a:r>
            <a:r>
              <a:rPr lang="en-US" sz="1200" kern="1200" baseline="0" dirty="0">
                <a:solidFill>
                  <a:schemeClr val="tx1"/>
                </a:solidFill>
                <a:latin typeface="+mn-lt"/>
                <a:ea typeface="+mn-ea"/>
                <a:cs typeface="+mn-cs"/>
              </a:rPr>
              <a:t> a </a:t>
            </a:r>
            <a:r>
              <a:rPr lang="en-US" sz="1200" kern="1200" baseline="0" dirty="0" err="1">
                <a:solidFill>
                  <a:schemeClr val="tx1"/>
                </a:solidFill>
                <a:latin typeface="+mn-lt"/>
                <a:ea typeface="+mn-ea"/>
                <a:cs typeface="+mn-cs"/>
              </a:rPr>
              <a:t>eficientei</a:t>
            </a:r>
            <a:r>
              <a:rPr lang="en-US" sz="1200" kern="1200" baseline="0" dirty="0">
                <a:solidFill>
                  <a:schemeClr val="tx1"/>
                </a:solidFill>
                <a:latin typeface="+mn-lt"/>
                <a:ea typeface="+mn-ea"/>
                <a:cs typeface="+mn-cs"/>
              </a:rPr>
              <a:t> de </a:t>
            </a:r>
            <a:r>
              <a:rPr lang="en-US" sz="1200" kern="1200" baseline="0" dirty="0" err="1">
                <a:solidFill>
                  <a:schemeClr val="tx1"/>
                </a:solidFill>
                <a:latin typeface="+mn-lt"/>
                <a:ea typeface="+mn-ea"/>
                <a:cs typeface="+mn-cs"/>
              </a:rPr>
              <a:t>functionare</a:t>
            </a:r>
            <a:r>
              <a:rPr lang="en-US" sz="1200" kern="1200" baseline="0" dirty="0">
                <a:solidFill>
                  <a:schemeClr val="tx1"/>
                </a:solidFill>
                <a:latin typeface="+mn-lt"/>
                <a:ea typeface="+mn-ea"/>
                <a:cs typeface="+mn-cs"/>
              </a:rPr>
              <a:t> a </a:t>
            </a:r>
            <a:r>
              <a:rPr lang="en-US" sz="1200" kern="1200" baseline="0" dirty="0" err="1">
                <a:solidFill>
                  <a:schemeClr val="tx1"/>
                </a:solidFill>
                <a:latin typeface="+mn-lt"/>
                <a:ea typeface="+mn-ea"/>
                <a:cs typeface="+mn-cs"/>
              </a:rPr>
              <a:t>cladirii</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functionare</a:t>
            </a:r>
            <a:r>
              <a:rPr lang="en-US" sz="1200" kern="1200" baseline="0" dirty="0">
                <a:solidFill>
                  <a:schemeClr val="tx1"/>
                </a:solidFill>
                <a:latin typeface="+mn-lt"/>
                <a:ea typeface="+mn-ea"/>
                <a:cs typeface="+mn-cs"/>
              </a:rPr>
              <a:t> in </a:t>
            </a:r>
            <a:r>
              <a:rPr lang="en-US" sz="1200" kern="1200" baseline="0" dirty="0" err="1">
                <a:solidFill>
                  <a:schemeClr val="tx1"/>
                </a:solidFill>
                <a:latin typeface="+mn-lt"/>
                <a:ea typeface="+mn-ea"/>
                <a:cs typeface="+mn-cs"/>
              </a:rPr>
              <a:t>conditii</a:t>
            </a:r>
            <a:r>
              <a:rPr lang="en-US" sz="1200" kern="1200" baseline="0" dirty="0">
                <a:solidFill>
                  <a:schemeClr val="tx1"/>
                </a:solidFill>
                <a:latin typeface="+mn-lt"/>
                <a:ea typeface="+mn-ea"/>
                <a:cs typeface="+mn-cs"/>
              </a:rPr>
              <a:t> de </a:t>
            </a:r>
            <a:r>
              <a:rPr lang="en-US" sz="1200" kern="1200" baseline="0" dirty="0" err="1">
                <a:solidFill>
                  <a:schemeClr val="tx1"/>
                </a:solidFill>
                <a:latin typeface="+mn-lt"/>
                <a:ea typeface="+mn-ea"/>
                <a:cs typeface="+mn-cs"/>
              </a:rPr>
              <a:t>costuri</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reduse</a:t>
            </a:r>
            <a:r>
              <a:rPr lang="en-US" sz="1200" kern="1200" baseline="0" dirty="0">
                <a:solidFill>
                  <a:schemeClr val="tx1"/>
                </a:solidFill>
                <a:latin typeface="+mn-lt"/>
                <a:ea typeface="+mn-ea"/>
                <a:cs typeface="+mn-cs"/>
              </a:rPr>
              <a:t> cu </a:t>
            </a:r>
            <a:r>
              <a:rPr lang="en-US" sz="1200" kern="1200" baseline="0" dirty="0" err="1">
                <a:solidFill>
                  <a:schemeClr val="tx1"/>
                </a:solidFill>
                <a:latin typeface="+mn-lt"/>
                <a:ea typeface="+mn-ea"/>
                <a:cs typeface="+mn-cs"/>
              </a:rPr>
              <a:t>energia</a:t>
            </a:r>
            <a:r>
              <a:rPr lang="en-US" sz="1200" kern="1200" baseline="0" dirty="0">
                <a:solidFill>
                  <a:schemeClr val="tx1"/>
                </a:solidFill>
                <a:latin typeface="+mn-lt"/>
                <a:ea typeface="+mn-ea"/>
                <a:cs typeface="+mn-cs"/>
              </a:rPr>
              <a:t>, cu </a:t>
            </a:r>
            <a:r>
              <a:rPr lang="en-US" sz="1200" kern="1200" baseline="0" dirty="0" err="1">
                <a:solidFill>
                  <a:schemeClr val="tx1"/>
                </a:solidFill>
                <a:latin typeface="+mn-lt"/>
                <a:ea typeface="+mn-ea"/>
                <a:cs typeface="+mn-cs"/>
              </a:rPr>
              <a:t>timpi</a:t>
            </a:r>
            <a:r>
              <a:rPr lang="en-US" sz="1200" kern="1200" baseline="0" dirty="0">
                <a:solidFill>
                  <a:schemeClr val="tx1"/>
                </a:solidFill>
                <a:latin typeface="+mn-lt"/>
                <a:ea typeface="+mn-ea"/>
                <a:cs typeface="+mn-cs"/>
              </a:rPr>
              <a:t> de </a:t>
            </a:r>
            <a:r>
              <a:rPr lang="en-US" sz="1200" kern="1200" baseline="0" dirty="0" err="1">
                <a:solidFill>
                  <a:schemeClr val="tx1"/>
                </a:solidFill>
                <a:latin typeface="+mn-lt"/>
                <a:ea typeface="+mn-ea"/>
                <a:cs typeface="+mn-cs"/>
              </a:rPr>
              <a:t>intrerupere</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limitati</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si</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fara</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compromisuri</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privind</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confortul</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si</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securitatea</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ocupantilor</a:t>
            </a:r>
            <a:r>
              <a:rPr lang="en-US" sz="1200" kern="1200" baseline="0" dirty="0">
                <a:solidFill>
                  <a:schemeClr val="tx1"/>
                </a:solidFill>
                <a:latin typeface="+mn-lt"/>
                <a:ea typeface="+mn-ea"/>
                <a:cs typeface="+mn-cs"/>
              </a:rPr>
              <a:t>. </a:t>
            </a:r>
            <a:endParaRPr lang="en-US"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E7F34D1A-B7E5-DE48-8EA9-859D9DE63652}" type="slidenum">
              <a:rPr lang="en-US" smtClean="0"/>
              <a:pPr/>
              <a:t>4</a:t>
            </a:fld>
            <a:endParaRPr lang="en-US" dirty="0"/>
          </a:p>
        </p:txBody>
      </p:sp>
    </p:spTree>
    <p:extLst>
      <p:ext uri="{BB962C8B-B14F-4D97-AF65-F5344CB8AC3E}">
        <p14:creationId xmlns:p14="http://schemas.microsoft.com/office/powerpoint/2010/main" val="3774319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ctr"/>
            <a:r>
              <a:rPr lang="en-US" sz="400" dirty="0" err="1">
                <a:latin typeface="Andalus" panose="02020603050405020304" pitchFamily="18" charset="-78"/>
                <a:cs typeface="Andalus" panose="02020603050405020304" pitchFamily="18" charset="-78"/>
              </a:rPr>
              <a:t>Intrebarea</a:t>
            </a:r>
            <a:r>
              <a:rPr lang="en-US" sz="400" dirty="0">
                <a:latin typeface="Andalus" panose="02020603050405020304" pitchFamily="18" charset="-78"/>
                <a:cs typeface="Andalus" panose="02020603050405020304" pitchFamily="18" charset="-78"/>
              </a:rPr>
              <a:t> </a:t>
            </a:r>
            <a:r>
              <a:rPr lang="en-US" sz="400" dirty="0" err="1">
                <a:latin typeface="Andalus" panose="02020603050405020304" pitchFamily="18" charset="-78"/>
                <a:cs typeface="Andalus" panose="02020603050405020304" pitchFamily="18" charset="-78"/>
              </a:rPr>
              <a:t>fireasca</a:t>
            </a:r>
            <a:r>
              <a:rPr lang="en-US" sz="400" dirty="0">
                <a:latin typeface="Andalus" panose="02020603050405020304" pitchFamily="18" charset="-78"/>
                <a:cs typeface="Andalus" panose="02020603050405020304" pitchFamily="18" charset="-78"/>
              </a:rPr>
              <a:t> </a:t>
            </a:r>
            <a:r>
              <a:rPr lang="en-US" sz="400" dirty="0" err="1">
                <a:latin typeface="Andalus" panose="02020603050405020304" pitchFamily="18" charset="-78"/>
                <a:cs typeface="Andalus" panose="02020603050405020304" pitchFamily="18" charset="-78"/>
              </a:rPr>
              <a:t>este</a:t>
            </a:r>
            <a:r>
              <a:rPr lang="en-US" sz="400" dirty="0">
                <a:latin typeface="Andalus" panose="02020603050405020304" pitchFamily="18" charset="-78"/>
                <a:cs typeface="Andalus" panose="02020603050405020304" pitchFamily="18" charset="-78"/>
              </a:rPr>
              <a:t>: </a:t>
            </a:r>
            <a:r>
              <a:rPr lang="en-US" sz="400" dirty="0" err="1">
                <a:latin typeface="Andalus" panose="02020603050405020304" pitchFamily="18" charset="-78"/>
                <a:cs typeface="Andalus" panose="02020603050405020304" pitchFamily="18" charset="-78"/>
              </a:rPr>
              <a:t>cerintele</a:t>
            </a:r>
            <a:r>
              <a:rPr lang="en-US" sz="400" dirty="0">
                <a:latin typeface="Andalus" panose="02020603050405020304" pitchFamily="18" charset="-78"/>
                <a:cs typeface="Andalus" panose="02020603050405020304" pitchFamily="18" charset="-78"/>
              </a:rPr>
              <a:t> </a:t>
            </a:r>
            <a:r>
              <a:rPr lang="en-US" sz="400" dirty="0" err="1">
                <a:latin typeface="Andalus" panose="02020603050405020304" pitchFamily="18" charset="-78"/>
                <a:cs typeface="Andalus" panose="02020603050405020304" pitchFamily="18" charset="-78"/>
              </a:rPr>
              <a:t>actuale</a:t>
            </a:r>
            <a:r>
              <a:rPr lang="en-US" sz="400" dirty="0">
                <a:latin typeface="Andalus" panose="02020603050405020304" pitchFamily="18" charset="-78"/>
                <a:cs typeface="Andalus" panose="02020603050405020304" pitchFamily="18" charset="-78"/>
              </a:rPr>
              <a:t> ale </a:t>
            </a:r>
            <a:r>
              <a:rPr lang="en-US" sz="400" dirty="0" err="1">
                <a:latin typeface="Andalus" panose="02020603050405020304" pitchFamily="18" charset="-78"/>
                <a:cs typeface="Andalus" panose="02020603050405020304" pitchFamily="18" charset="-78"/>
              </a:rPr>
              <a:t>dezvoltatorilor</a:t>
            </a:r>
            <a:r>
              <a:rPr lang="en-US" sz="400" dirty="0">
                <a:latin typeface="Andalus" panose="02020603050405020304" pitchFamily="18" charset="-78"/>
                <a:cs typeface="Andalus" panose="02020603050405020304" pitchFamily="18" charset="-78"/>
              </a:rPr>
              <a:t> </a:t>
            </a:r>
            <a:r>
              <a:rPr lang="en-US" sz="400" dirty="0" err="1">
                <a:latin typeface="Andalus" panose="02020603050405020304" pitchFamily="18" charset="-78"/>
                <a:cs typeface="Andalus" panose="02020603050405020304" pitchFamily="18" charset="-78"/>
              </a:rPr>
              <a:t>sunt</a:t>
            </a:r>
            <a:r>
              <a:rPr lang="en-US" sz="400" dirty="0">
                <a:latin typeface="Andalus" panose="02020603050405020304" pitchFamily="18" charset="-78"/>
                <a:cs typeface="Andalus" panose="02020603050405020304" pitchFamily="18" charset="-78"/>
              </a:rPr>
              <a:t> </a:t>
            </a:r>
            <a:r>
              <a:rPr lang="en-US" sz="400" dirty="0" err="1">
                <a:latin typeface="Andalus" panose="02020603050405020304" pitchFamily="18" charset="-78"/>
                <a:cs typeface="Andalus" panose="02020603050405020304" pitchFamily="18" charset="-78"/>
              </a:rPr>
              <a:t>satisfacute</a:t>
            </a:r>
            <a:r>
              <a:rPr lang="en-US" sz="400" dirty="0">
                <a:latin typeface="Andalus" panose="02020603050405020304" pitchFamily="18" charset="-78"/>
                <a:cs typeface="Andalus" panose="02020603050405020304" pitchFamily="18" charset="-78"/>
              </a:rPr>
              <a:t> de </a:t>
            </a:r>
            <a:r>
              <a:rPr lang="en-US" sz="400" dirty="0" err="1">
                <a:latin typeface="Andalus" panose="02020603050405020304" pitchFamily="18" charset="-78"/>
                <a:cs typeface="Andalus" panose="02020603050405020304" pitchFamily="18" charset="-78"/>
              </a:rPr>
              <a:t>solutiile</a:t>
            </a:r>
            <a:r>
              <a:rPr lang="en-US" sz="400" dirty="0">
                <a:latin typeface="Andalus" panose="02020603050405020304" pitchFamily="18" charset="-78"/>
                <a:cs typeface="Andalus" panose="02020603050405020304" pitchFamily="18" charset="-78"/>
              </a:rPr>
              <a:t> </a:t>
            </a:r>
            <a:r>
              <a:rPr lang="en-US" sz="400" dirty="0" err="1">
                <a:latin typeface="Andalus" panose="02020603050405020304" pitchFamily="18" charset="-78"/>
                <a:cs typeface="Andalus" panose="02020603050405020304" pitchFamily="18" charset="-78"/>
              </a:rPr>
              <a:t>traditionale</a:t>
            </a:r>
            <a:r>
              <a:rPr lang="en-US" sz="400" dirty="0">
                <a:latin typeface="Andalus" panose="02020603050405020304" pitchFamily="18" charset="-78"/>
                <a:cs typeface="Andalus" panose="02020603050405020304" pitchFamily="18" charset="-78"/>
              </a:rPr>
              <a:t> de Proiectare, </a:t>
            </a:r>
            <a:r>
              <a:rPr lang="en-US" sz="400" dirty="0" err="1">
                <a:latin typeface="Andalus" panose="02020603050405020304" pitchFamily="18" charset="-78"/>
                <a:cs typeface="Andalus" panose="02020603050405020304" pitchFamily="18" charset="-78"/>
              </a:rPr>
              <a:t>Executie</a:t>
            </a:r>
            <a:r>
              <a:rPr lang="en-US" sz="400" dirty="0">
                <a:latin typeface="Andalus" panose="02020603050405020304" pitchFamily="18" charset="-78"/>
                <a:cs typeface="Andalus" panose="02020603050405020304" pitchFamily="18" charset="-78"/>
              </a:rPr>
              <a:t> </a:t>
            </a:r>
            <a:r>
              <a:rPr lang="en-US" sz="400" dirty="0" err="1">
                <a:latin typeface="Andalus" panose="02020603050405020304" pitchFamily="18" charset="-78"/>
                <a:cs typeface="Andalus" panose="02020603050405020304" pitchFamily="18" charset="-78"/>
              </a:rPr>
              <a:t>si</a:t>
            </a:r>
            <a:r>
              <a:rPr lang="en-US" sz="400" dirty="0">
                <a:latin typeface="Andalus" panose="02020603050405020304" pitchFamily="18" charset="-78"/>
                <a:cs typeface="Andalus" panose="02020603050405020304" pitchFamily="18" charset="-78"/>
              </a:rPr>
              <a:t> </a:t>
            </a:r>
            <a:r>
              <a:rPr lang="en-US" sz="400" dirty="0" err="1">
                <a:latin typeface="Andalus" panose="02020603050405020304" pitchFamily="18" charset="-78"/>
                <a:cs typeface="Andalus" panose="02020603050405020304" pitchFamily="18" charset="-78"/>
              </a:rPr>
              <a:t>mentenanta</a:t>
            </a:r>
            <a:r>
              <a:rPr lang="en-US" sz="400" baseline="0" dirty="0">
                <a:latin typeface="Andalus" panose="02020603050405020304" pitchFamily="18" charset="-78"/>
                <a:cs typeface="Andalus" panose="02020603050405020304" pitchFamily="18" charset="-78"/>
              </a:rPr>
              <a:t> a </a:t>
            </a:r>
            <a:r>
              <a:rPr lang="en-US" sz="400" baseline="0" dirty="0" err="1">
                <a:latin typeface="Andalus" panose="02020603050405020304" pitchFamily="18" charset="-78"/>
                <a:cs typeface="Andalus" panose="02020603050405020304" pitchFamily="18" charset="-78"/>
              </a:rPr>
              <a:t>cladirilor</a:t>
            </a:r>
            <a:r>
              <a:rPr lang="en-US" sz="400" baseline="0" dirty="0">
                <a:latin typeface="Andalus" panose="02020603050405020304" pitchFamily="18" charset="-78"/>
                <a:cs typeface="Andalus" panose="02020603050405020304" pitchFamily="18" charset="-78"/>
              </a:rPr>
              <a:t>? </a:t>
            </a:r>
            <a:r>
              <a:rPr lang="en-US" sz="400" kern="1200" baseline="0" dirty="0">
                <a:solidFill>
                  <a:schemeClr val="tx1"/>
                </a:solidFill>
                <a:latin typeface="Andalus" panose="02020603050405020304" pitchFamily="18" charset="-78"/>
                <a:ea typeface="+mn-ea"/>
                <a:cs typeface="Andalus" panose="02020603050405020304" pitchFamily="18" charset="-78"/>
              </a:rPr>
              <a:t>In </a:t>
            </a:r>
            <a:r>
              <a:rPr lang="en-US" sz="400" kern="1200" baseline="0" dirty="0" err="1">
                <a:solidFill>
                  <a:schemeClr val="tx1"/>
                </a:solidFill>
                <a:latin typeface="Andalus" panose="02020603050405020304" pitchFamily="18" charset="-78"/>
                <a:ea typeface="+mn-ea"/>
                <a:cs typeface="Andalus" panose="02020603050405020304" pitchFamily="18" charset="-78"/>
              </a:rPr>
              <a:t>acest</a:t>
            </a:r>
            <a:r>
              <a:rPr lang="en-US" sz="400" kern="1200" baseline="0" dirty="0">
                <a:solidFill>
                  <a:schemeClr val="tx1"/>
                </a:solidFill>
                <a:latin typeface="Andalus" panose="02020603050405020304" pitchFamily="18" charset="-78"/>
                <a:ea typeface="+mn-ea"/>
                <a:cs typeface="Andalus" panose="02020603050405020304" pitchFamily="18" charset="-78"/>
              </a:rPr>
              <a:t> moment, se </a:t>
            </a:r>
            <a:r>
              <a:rPr lang="en-US" sz="400" kern="1200" baseline="0" dirty="0" err="1">
                <a:solidFill>
                  <a:schemeClr val="tx1"/>
                </a:solidFill>
                <a:latin typeface="Andalus" panose="02020603050405020304" pitchFamily="18" charset="-78"/>
                <a:ea typeface="+mn-ea"/>
                <a:cs typeface="Andalus" panose="02020603050405020304" pitchFamily="18" charset="-78"/>
              </a:rPr>
              <a:t>proiecteaza</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si</a:t>
            </a:r>
            <a:r>
              <a:rPr lang="en-US" sz="400" kern="1200" baseline="0" dirty="0">
                <a:solidFill>
                  <a:schemeClr val="tx1"/>
                </a:solidFill>
                <a:latin typeface="Andalus" panose="02020603050405020304" pitchFamily="18" charset="-78"/>
                <a:ea typeface="+mn-ea"/>
                <a:cs typeface="Andalus" panose="02020603050405020304" pitchFamily="18" charset="-78"/>
              </a:rPr>
              <a:t> se </a:t>
            </a:r>
            <a:r>
              <a:rPr lang="en-US" sz="400" kern="1200" baseline="0" dirty="0" err="1">
                <a:solidFill>
                  <a:schemeClr val="tx1"/>
                </a:solidFill>
                <a:latin typeface="Andalus" panose="02020603050405020304" pitchFamily="18" charset="-78"/>
                <a:ea typeface="+mn-ea"/>
                <a:cs typeface="Andalus" panose="02020603050405020304" pitchFamily="18" charset="-78"/>
              </a:rPr>
              <a:t>executa</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dupa</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normativul</a:t>
            </a:r>
            <a:r>
              <a:rPr lang="en-US" sz="400" kern="1200" baseline="0" dirty="0">
                <a:solidFill>
                  <a:schemeClr val="tx1"/>
                </a:solidFill>
                <a:latin typeface="Andalus" panose="02020603050405020304" pitchFamily="18" charset="-78"/>
                <a:ea typeface="+mn-ea"/>
                <a:cs typeface="Andalus" panose="02020603050405020304" pitchFamily="18" charset="-78"/>
              </a:rPr>
              <a:t> de Proiectare, </a:t>
            </a:r>
            <a:r>
              <a:rPr lang="en-US" sz="400" kern="1200" baseline="0" dirty="0" err="1">
                <a:solidFill>
                  <a:schemeClr val="tx1"/>
                </a:solidFill>
                <a:latin typeface="Andalus" panose="02020603050405020304" pitchFamily="18" charset="-78"/>
                <a:ea typeface="+mn-ea"/>
                <a:cs typeface="Andalus" panose="02020603050405020304" pitchFamily="18" charset="-78"/>
              </a:rPr>
              <a:t>Executie</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si</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mentenanta</a:t>
            </a:r>
            <a:r>
              <a:rPr lang="en-US" sz="400" kern="1200" baseline="0" dirty="0">
                <a:solidFill>
                  <a:schemeClr val="tx1"/>
                </a:solidFill>
                <a:latin typeface="Andalus" panose="02020603050405020304" pitchFamily="18" charset="-78"/>
                <a:ea typeface="+mn-ea"/>
                <a:cs typeface="Andalus" panose="02020603050405020304" pitchFamily="18" charset="-78"/>
              </a:rPr>
              <a:t> a </a:t>
            </a:r>
            <a:r>
              <a:rPr lang="en-US" sz="400" kern="1200" baseline="0" dirty="0" err="1">
                <a:solidFill>
                  <a:schemeClr val="tx1"/>
                </a:solidFill>
                <a:latin typeface="Andalus" panose="02020603050405020304" pitchFamily="18" charset="-78"/>
                <a:ea typeface="+mn-ea"/>
                <a:cs typeface="Andalus" panose="02020603050405020304" pitchFamily="18" charset="-78"/>
              </a:rPr>
              <a:t>instalatiilor</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electrice</a:t>
            </a:r>
            <a:r>
              <a:rPr lang="en-US" sz="400" kern="1200" baseline="0" dirty="0">
                <a:solidFill>
                  <a:schemeClr val="tx1"/>
                </a:solidFill>
                <a:latin typeface="Andalus" panose="02020603050405020304" pitchFamily="18" charset="-78"/>
                <a:ea typeface="+mn-ea"/>
                <a:cs typeface="Andalus" panose="02020603050405020304" pitchFamily="18" charset="-78"/>
              </a:rPr>
              <a:t>, I7, </a:t>
            </a:r>
            <a:r>
              <a:rPr lang="en-US" sz="400" kern="1200" baseline="0" dirty="0" err="1">
                <a:solidFill>
                  <a:schemeClr val="tx1"/>
                </a:solidFill>
                <a:latin typeface="Andalus" panose="02020603050405020304" pitchFamily="18" charset="-78"/>
                <a:ea typeface="+mn-ea"/>
                <a:cs typeface="Andalus" panose="02020603050405020304" pitchFamily="18" charset="-78"/>
              </a:rPr>
              <a:t>elaborat</a:t>
            </a:r>
            <a:r>
              <a:rPr lang="en-US" sz="400" kern="1200" baseline="0" dirty="0">
                <a:solidFill>
                  <a:schemeClr val="tx1"/>
                </a:solidFill>
                <a:latin typeface="Andalus" panose="02020603050405020304" pitchFamily="18" charset="-78"/>
                <a:ea typeface="+mn-ea"/>
                <a:cs typeface="Andalus" panose="02020603050405020304" pitchFamily="18" charset="-78"/>
              </a:rPr>
              <a:t> in 2008 </a:t>
            </a:r>
            <a:r>
              <a:rPr lang="en-US" sz="400" kern="1200" baseline="0" dirty="0" err="1">
                <a:solidFill>
                  <a:schemeClr val="tx1"/>
                </a:solidFill>
                <a:latin typeface="Andalus" panose="02020603050405020304" pitchFamily="18" charset="-78"/>
                <a:ea typeface="+mn-ea"/>
                <a:cs typeface="Andalus" panose="02020603050405020304" pitchFamily="18" charset="-78"/>
              </a:rPr>
              <a:t>si</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intrat</a:t>
            </a:r>
            <a:r>
              <a:rPr lang="en-US" sz="400" kern="1200" baseline="0" dirty="0">
                <a:solidFill>
                  <a:schemeClr val="tx1"/>
                </a:solidFill>
                <a:latin typeface="Andalus" panose="02020603050405020304" pitchFamily="18" charset="-78"/>
                <a:ea typeface="+mn-ea"/>
                <a:cs typeface="Andalus" panose="02020603050405020304" pitchFamily="18" charset="-78"/>
              </a:rPr>
              <a:t> in </a:t>
            </a:r>
            <a:r>
              <a:rPr lang="en-US" sz="400" kern="1200" baseline="0" dirty="0" err="1">
                <a:solidFill>
                  <a:schemeClr val="tx1"/>
                </a:solidFill>
                <a:latin typeface="Andalus" panose="02020603050405020304" pitchFamily="18" charset="-78"/>
                <a:ea typeface="+mn-ea"/>
                <a:cs typeface="Andalus" panose="02020603050405020304" pitchFamily="18" charset="-78"/>
              </a:rPr>
              <a:t>vigoare</a:t>
            </a:r>
            <a:r>
              <a:rPr lang="en-US" sz="400" kern="1200" baseline="0" dirty="0">
                <a:solidFill>
                  <a:schemeClr val="tx1"/>
                </a:solidFill>
                <a:latin typeface="Andalus" panose="02020603050405020304" pitchFamily="18" charset="-78"/>
                <a:ea typeface="+mn-ea"/>
                <a:cs typeface="Andalus" panose="02020603050405020304" pitchFamily="18" charset="-78"/>
              </a:rPr>
              <a:t> in 2011, </a:t>
            </a:r>
            <a:r>
              <a:rPr lang="en-US" sz="400" kern="1200" baseline="0" dirty="0" err="1">
                <a:solidFill>
                  <a:schemeClr val="tx1"/>
                </a:solidFill>
                <a:latin typeface="Andalus" panose="02020603050405020304" pitchFamily="18" charset="-78"/>
                <a:ea typeface="+mn-ea"/>
                <a:cs typeface="Andalus" panose="02020603050405020304" pitchFamily="18" charset="-78"/>
              </a:rPr>
              <a:t>normativ</a:t>
            </a:r>
            <a:r>
              <a:rPr lang="en-US" sz="400" kern="1200" baseline="0" dirty="0">
                <a:solidFill>
                  <a:schemeClr val="tx1"/>
                </a:solidFill>
                <a:latin typeface="Andalus" panose="02020603050405020304" pitchFamily="18" charset="-78"/>
                <a:ea typeface="+mn-ea"/>
                <a:cs typeface="Andalus" panose="02020603050405020304" pitchFamily="18" charset="-78"/>
              </a:rPr>
              <a:t> evident </a:t>
            </a:r>
            <a:r>
              <a:rPr lang="en-US" sz="400" kern="1200" baseline="0" dirty="0" err="1">
                <a:solidFill>
                  <a:schemeClr val="tx1"/>
                </a:solidFill>
                <a:latin typeface="Andalus" panose="02020603050405020304" pitchFamily="18" charset="-78"/>
                <a:ea typeface="+mn-ea"/>
                <a:cs typeface="Andalus" panose="02020603050405020304" pitchFamily="18" charset="-78"/>
              </a:rPr>
              <a:t>depasit</a:t>
            </a:r>
            <a:r>
              <a:rPr lang="en-US" sz="400" kern="1200" baseline="0" dirty="0">
                <a:solidFill>
                  <a:schemeClr val="tx1"/>
                </a:solidFill>
                <a:latin typeface="Andalus" panose="02020603050405020304" pitchFamily="18" charset="-78"/>
                <a:ea typeface="+mn-ea"/>
                <a:cs typeface="Andalus" panose="02020603050405020304" pitchFamily="18" charset="-78"/>
              </a:rPr>
              <a:t> moral de </a:t>
            </a:r>
            <a:r>
              <a:rPr lang="en-US" sz="400" kern="1200" baseline="0" dirty="0" err="1">
                <a:solidFill>
                  <a:schemeClr val="tx1"/>
                </a:solidFill>
                <a:latin typeface="Andalus" panose="02020603050405020304" pitchFamily="18" charset="-78"/>
                <a:ea typeface="+mn-ea"/>
                <a:cs typeface="Andalus" panose="02020603050405020304" pitchFamily="18" charset="-78"/>
              </a:rPr>
              <a:t>progresul</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tehnologic</a:t>
            </a:r>
            <a:r>
              <a:rPr lang="en-US" sz="400" kern="1200" baseline="0" dirty="0">
                <a:solidFill>
                  <a:schemeClr val="tx1"/>
                </a:solidFill>
                <a:latin typeface="Andalus" panose="02020603050405020304" pitchFamily="18" charset="-78"/>
                <a:ea typeface="+mn-ea"/>
                <a:cs typeface="Andalus" panose="02020603050405020304" pitchFamily="18" charset="-78"/>
              </a:rPr>
              <a:t>, de </a:t>
            </a:r>
            <a:r>
              <a:rPr lang="en-US" sz="400" kern="1200" baseline="0" dirty="0" err="1">
                <a:solidFill>
                  <a:schemeClr val="tx1"/>
                </a:solidFill>
                <a:latin typeface="Andalus" panose="02020603050405020304" pitchFamily="18" charset="-78"/>
                <a:ea typeface="+mn-ea"/>
                <a:cs typeface="Andalus" panose="02020603050405020304" pitchFamily="18" charset="-78"/>
              </a:rPr>
              <a:t>standardele</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noi</a:t>
            </a:r>
            <a:r>
              <a:rPr lang="en-US" sz="400" kern="1200" baseline="0" dirty="0">
                <a:solidFill>
                  <a:schemeClr val="tx1"/>
                </a:solidFill>
                <a:latin typeface="Andalus" panose="02020603050405020304" pitchFamily="18" charset="-78"/>
                <a:ea typeface="+mn-ea"/>
                <a:cs typeface="Andalus" panose="02020603050405020304" pitchFamily="18" charset="-78"/>
              </a:rPr>
              <a:t> care au </a:t>
            </a:r>
            <a:r>
              <a:rPr lang="en-US" sz="400" kern="1200" baseline="0" dirty="0" err="1">
                <a:solidFill>
                  <a:schemeClr val="tx1"/>
                </a:solidFill>
                <a:latin typeface="Andalus" panose="02020603050405020304" pitchFamily="18" charset="-78"/>
                <a:ea typeface="+mn-ea"/>
                <a:cs typeface="Andalus" panose="02020603050405020304" pitchFamily="18" charset="-78"/>
              </a:rPr>
              <a:t>intrat</a:t>
            </a:r>
            <a:r>
              <a:rPr lang="en-US" sz="400" kern="1200" baseline="0" dirty="0">
                <a:solidFill>
                  <a:schemeClr val="tx1"/>
                </a:solidFill>
                <a:latin typeface="Andalus" panose="02020603050405020304" pitchFamily="18" charset="-78"/>
                <a:ea typeface="+mn-ea"/>
                <a:cs typeface="Andalus" panose="02020603050405020304" pitchFamily="18" charset="-78"/>
              </a:rPr>
              <a:t> in </a:t>
            </a:r>
            <a:r>
              <a:rPr lang="en-US" sz="400" kern="1200" baseline="0" dirty="0" err="1">
                <a:solidFill>
                  <a:schemeClr val="tx1"/>
                </a:solidFill>
                <a:latin typeface="Andalus" panose="02020603050405020304" pitchFamily="18" charset="-78"/>
                <a:ea typeface="+mn-ea"/>
                <a:cs typeface="Andalus" panose="02020603050405020304" pitchFamily="18" charset="-78"/>
              </a:rPr>
              <a:t>vigoare</a:t>
            </a:r>
            <a:r>
              <a:rPr lang="en-US" sz="400" kern="1200" baseline="0" dirty="0">
                <a:solidFill>
                  <a:schemeClr val="tx1"/>
                </a:solidFill>
                <a:latin typeface="Andalus" panose="02020603050405020304" pitchFamily="18" charset="-78"/>
                <a:ea typeface="+mn-ea"/>
                <a:cs typeface="Andalus" panose="02020603050405020304" pitchFamily="18" charset="-78"/>
              </a:rPr>
              <a:t> in </a:t>
            </a:r>
            <a:r>
              <a:rPr lang="en-US" sz="400" kern="1200" baseline="0" dirty="0" err="1">
                <a:solidFill>
                  <a:schemeClr val="tx1"/>
                </a:solidFill>
                <a:latin typeface="Andalus" panose="02020603050405020304" pitchFamily="18" charset="-78"/>
                <a:ea typeface="+mn-ea"/>
                <a:cs typeface="Andalus" panose="02020603050405020304" pitchFamily="18" charset="-78"/>
              </a:rPr>
              <a:t>acesti</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ani</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si</a:t>
            </a:r>
            <a:r>
              <a:rPr lang="en-US" sz="400" kern="1200" baseline="0" dirty="0">
                <a:solidFill>
                  <a:schemeClr val="tx1"/>
                </a:solidFill>
                <a:latin typeface="Andalus" panose="02020603050405020304" pitchFamily="18" charset="-78"/>
                <a:ea typeface="+mn-ea"/>
                <a:cs typeface="Andalus" panose="02020603050405020304" pitchFamily="18" charset="-78"/>
              </a:rPr>
              <a:t> de </a:t>
            </a:r>
            <a:r>
              <a:rPr lang="en-US" sz="400" kern="1200" baseline="0" dirty="0" err="1">
                <a:solidFill>
                  <a:schemeClr val="tx1"/>
                </a:solidFill>
                <a:latin typeface="Andalus" panose="02020603050405020304" pitchFamily="18" charset="-78"/>
                <a:ea typeface="+mn-ea"/>
                <a:cs typeface="Andalus" panose="02020603050405020304" pitchFamily="18" charset="-78"/>
              </a:rPr>
              <a:t>cerintele</a:t>
            </a:r>
            <a:r>
              <a:rPr lang="en-US" sz="400" kern="1200" baseline="0" dirty="0">
                <a:solidFill>
                  <a:schemeClr val="tx1"/>
                </a:solidFill>
                <a:latin typeface="Andalus" panose="02020603050405020304" pitchFamily="18" charset="-78"/>
                <a:ea typeface="+mn-ea"/>
                <a:cs typeface="Andalus" panose="02020603050405020304" pitchFamily="18" charset="-78"/>
              </a:rPr>
              <a:t> din </a:t>
            </a:r>
            <a:r>
              <a:rPr lang="en-US" sz="400" kern="1200" baseline="0" dirty="0" err="1">
                <a:solidFill>
                  <a:schemeClr val="tx1"/>
                </a:solidFill>
                <a:latin typeface="Andalus" panose="02020603050405020304" pitchFamily="18" charset="-78"/>
                <a:ea typeface="+mn-ea"/>
                <a:cs typeface="Andalus" panose="02020603050405020304" pitchFamily="18" charset="-78"/>
              </a:rPr>
              <a:t>domeniul</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eficientei</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energetice</a:t>
            </a:r>
            <a:r>
              <a:rPr lang="en-US" sz="400" kern="1200" baseline="0" dirty="0">
                <a:solidFill>
                  <a:schemeClr val="tx1"/>
                </a:solidFill>
                <a:latin typeface="Andalus" panose="02020603050405020304" pitchFamily="18" charset="-78"/>
                <a:ea typeface="+mn-ea"/>
                <a:cs typeface="Andalus" panose="02020603050405020304" pitchFamily="18" charset="-78"/>
              </a:rPr>
              <a:t>. Ca </a:t>
            </a:r>
            <a:r>
              <a:rPr lang="en-US" sz="400" kern="1200" baseline="0" dirty="0" err="1">
                <a:solidFill>
                  <a:schemeClr val="tx1"/>
                </a:solidFill>
                <a:latin typeface="Andalus" panose="02020603050405020304" pitchFamily="18" charset="-78"/>
                <a:ea typeface="+mn-ea"/>
                <a:cs typeface="Andalus" panose="02020603050405020304" pitchFamily="18" charset="-78"/>
              </a:rPr>
              <a:t>urmare</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proiectantii</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elaboreaza</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documentatii</a:t>
            </a:r>
            <a:r>
              <a:rPr lang="en-US" sz="400" kern="1200" baseline="0" dirty="0">
                <a:solidFill>
                  <a:schemeClr val="tx1"/>
                </a:solidFill>
                <a:latin typeface="Andalus" panose="02020603050405020304" pitchFamily="18" charset="-78"/>
                <a:ea typeface="+mn-ea"/>
                <a:cs typeface="Andalus" panose="02020603050405020304" pitchFamily="18" charset="-78"/>
              </a:rPr>
              <a:t> in </a:t>
            </a:r>
            <a:r>
              <a:rPr lang="en-US" sz="400" kern="1200" baseline="0" dirty="0" err="1">
                <a:solidFill>
                  <a:schemeClr val="tx1"/>
                </a:solidFill>
                <a:latin typeface="Andalus" panose="02020603050405020304" pitchFamily="18" charset="-78"/>
                <a:ea typeface="+mn-ea"/>
                <a:cs typeface="Andalus" panose="02020603050405020304" pitchFamily="18" charset="-78"/>
              </a:rPr>
              <a:t>limitele</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prevazute</a:t>
            </a:r>
            <a:r>
              <a:rPr lang="en-US" sz="400" kern="1200" baseline="0" dirty="0">
                <a:solidFill>
                  <a:schemeClr val="tx1"/>
                </a:solidFill>
                <a:latin typeface="Andalus" panose="02020603050405020304" pitchFamily="18" charset="-78"/>
                <a:ea typeface="+mn-ea"/>
                <a:cs typeface="Andalus" panose="02020603050405020304" pitchFamily="18" charset="-78"/>
              </a:rPr>
              <a:t> de </a:t>
            </a:r>
            <a:r>
              <a:rPr lang="en-US" sz="400" kern="1200" baseline="0" dirty="0" err="1">
                <a:solidFill>
                  <a:schemeClr val="tx1"/>
                </a:solidFill>
                <a:latin typeface="Andalus" panose="02020603050405020304" pitchFamily="18" charset="-78"/>
                <a:ea typeface="+mn-ea"/>
                <a:cs typeface="Andalus" panose="02020603050405020304" pitchFamily="18" charset="-78"/>
              </a:rPr>
              <a:t>acest</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normativ</a:t>
            </a:r>
            <a:r>
              <a:rPr lang="en-US" sz="400" kern="1200" baseline="0" dirty="0">
                <a:solidFill>
                  <a:schemeClr val="tx1"/>
                </a:solidFill>
                <a:latin typeface="Andalus" panose="02020603050405020304" pitchFamily="18" charset="-78"/>
                <a:ea typeface="+mn-ea"/>
                <a:cs typeface="Andalus" panose="02020603050405020304" pitchFamily="18" charset="-78"/>
              </a:rPr>
              <a:t>, eventual cu </a:t>
            </a:r>
            <a:r>
              <a:rPr lang="en-US" sz="400" kern="1200" baseline="0" dirty="0" err="1">
                <a:solidFill>
                  <a:schemeClr val="tx1"/>
                </a:solidFill>
                <a:latin typeface="Andalus" panose="02020603050405020304" pitchFamily="18" charset="-78"/>
                <a:ea typeface="+mn-ea"/>
                <a:cs typeface="Andalus" panose="02020603050405020304" pitchFamily="18" charset="-78"/>
              </a:rPr>
              <a:t>oarecare</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solutii</a:t>
            </a:r>
            <a:r>
              <a:rPr lang="en-US" sz="400" kern="1200" baseline="0" dirty="0">
                <a:solidFill>
                  <a:schemeClr val="tx1"/>
                </a:solidFill>
                <a:latin typeface="Andalus" panose="02020603050405020304" pitchFamily="18" charset="-78"/>
                <a:ea typeface="+mn-ea"/>
                <a:cs typeface="Andalus" panose="02020603050405020304" pitchFamily="18" charset="-78"/>
              </a:rPr>
              <a:t> de </a:t>
            </a:r>
            <a:r>
              <a:rPr lang="en-US" sz="400" kern="1200" baseline="0" dirty="0" err="1">
                <a:solidFill>
                  <a:schemeClr val="tx1"/>
                </a:solidFill>
                <a:latin typeface="Andalus" panose="02020603050405020304" pitchFamily="18" charset="-78"/>
                <a:ea typeface="+mn-ea"/>
                <a:cs typeface="Andalus" panose="02020603050405020304" pitchFamily="18" charset="-78"/>
              </a:rPr>
              <a:t>eficienta</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energetica</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si</a:t>
            </a:r>
            <a:r>
              <a:rPr lang="en-US" sz="400" kern="1200" baseline="0" dirty="0">
                <a:solidFill>
                  <a:schemeClr val="tx1"/>
                </a:solidFill>
                <a:latin typeface="Andalus" panose="02020603050405020304" pitchFamily="18" charset="-78"/>
                <a:ea typeface="+mn-ea"/>
                <a:cs typeface="Andalus" panose="02020603050405020304" pitchFamily="18" charset="-78"/>
              </a:rPr>
              <a:t> de </a:t>
            </a:r>
            <a:r>
              <a:rPr lang="en-US" sz="400" kern="1200" baseline="0" dirty="0" err="1">
                <a:solidFill>
                  <a:schemeClr val="tx1"/>
                </a:solidFill>
                <a:latin typeface="Andalus" panose="02020603050405020304" pitchFamily="18" charset="-78"/>
                <a:ea typeface="+mn-ea"/>
                <a:cs typeface="Andalus" panose="02020603050405020304" pitchFamily="18" charset="-78"/>
              </a:rPr>
              <a:t>eficienta</a:t>
            </a:r>
            <a:r>
              <a:rPr lang="en-US" sz="400" kern="1200" baseline="0" dirty="0">
                <a:solidFill>
                  <a:schemeClr val="tx1"/>
                </a:solidFill>
                <a:latin typeface="Andalus" panose="02020603050405020304" pitchFamily="18" charset="-78"/>
                <a:ea typeface="+mn-ea"/>
                <a:cs typeface="Andalus" panose="02020603050405020304" pitchFamily="18" charset="-78"/>
              </a:rPr>
              <a:t> in </a:t>
            </a:r>
            <a:r>
              <a:rPr lang="en-US" sz="400" kern="1200" baseline="0" dirty="0" err="1">
                <a:solidFill>
                  <a:schemeClr val="tx1"/>
                </a:solidFill>
                <a:latin typeface="Andalus" panose="02020603050405020304" pitchFamily="18" charset="-78"/>
                <a:ea typeface="+mn-ea"/>
                <a:cs typeface="Andalus" panose="02020603050405020304" pitchFamily="18" charset="-78"/>
              </a:rPr>
              <a:t>operare</a:t>
            </a:r>
            <a:r>
              <a:rPr lang="en-US" sz="400" kern="1200" baseline="0" dirty="0">
                <a:solidFill>
                  <a:schemeClr val="tx1"/>
                </a:solidFill>
                <a:latin typeface="Andalus" panose="02020603050405020304" pitchFamily="18" charset="-78"/>
                <a:ea typeface="+mn-ea"/>
                <a:cs typeface="Andalus" panose="02020603050405020304" pitchFamily="18" charset="-78"/>
              </a:rPr>
              <a:t>, care, </a:t>
            </a:r>
            <a:r>
              <a:rPr lang="en-US" sz="400" kern="1200" baseline="0" dirty="0" err="1">
                <a:solidFill>
                  <a:schemeClr val="tx1"/>
                </a:solidFill>
                <a:latin typeface="Andalus" panose="02020603050405020304" pitchFamily="18" charset="-78"/>
                <a:ea typeface="+mn-ea"/>
                <a:cs typeface="Andalus" panose="02020603050405020304" pitchFamily="18" charset="-78"/>
              </a:rPr>
              <a:t>insa</a:t>
            </a:r>
            <a:r>
              <a:rPr lang="en-US" sz="400" kern="1200" baseline="0" dirty="0">
                <a:solidFill>
                  <a:schemeClr val="tx1"/>
                </a:solidFill>
                <a:latin typeface="Andalus" panose="02020603050405020304" pitchFamily="18" charset="-78"/>
                <a:ea typeface="+mn-ea"/>
                <a:cs typeface="Andalus" panose="02020603050405020304" pitchFamily="18" charset="-78"/>
              </a:rPr>
              <a:t> pot fi </a:t>
            </a:r>
            <a:r>
              <a:rPr lang="en-US" sz="400" kern="1200" baseline="0" dirty="0" err="1">
                <a:solidFill>
                  <a:schemeClr val="tx1"/>
                </a:solidFill>
                <a:latin typeface="Andalus" panose="02020603050405020304" pitchFamily="18" charset="-78"/>
                <a:ea typeface="+mn-ea"/>
                <a:cs typeface="Andalus" panose="02020603050405020304" pitchFamily="18" charset="-78"/>
              </a:rPr>
              <a:t>usor</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desfiintate</a:t>
            </a:r>
            <a:r>
              <a:rPr lang="en-US" sz="400" kern="1200" baseline="0" dirty="0">
                <a:solidFill>
                  <a:schemeClr val="tx1"/>
                </a:solidFill>
                <a:latin typeface="Andalus" panose="02020603050405020304" pitchFamily="18" charset="-78"/>
                <a:ea typeface="+mn-ea"/>
                <a:cs typeface="Andalus" panose="02020603050405020304" pitchFamily="18" charset="-78"/>
              </a:rPr>
              <a:t> de </a:t>
            </a:r>
            <a:r>
              <a:rPr lang="en-US" sz="400" kern="1200" baseline="0" dirty="0" err="1">
                <a:solidFill>
                  <a:schemeClr val="tx1"/>
                </a:solidFill>
                <a:latin typeface="Andalus" panose="02020603050405020304" pitchFamily="18" charset="-78"/>
                <a:ea typeface="+mn-ea"/>
                <a:cs typeface="Andalus" panose="02020603050405020304" pitchFamily="18" charset="-78"/>
              </a:rPr>
              <a:t>Contractori</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intrucat</a:t>
            </a:r>
            <a:r>
              <a:rPr lang="en-US" sz="400" kern="1200" baseline="0" dirty="0">
                <a:solidFill>
                  <a:schemeClr val="tx1"/>
                </a:solidFill>
                <a:latin typeface="Andalus" panose="02020603050405020304" pitchFamily="18" charset="-78"/>
                <a:ea typeface="+mn-ea"/>
                <a:cs typeface="Andalus" panose="02020603050405020304" pitchFamily="18" charset="-78"/>
              </a:rPr>
              <a:t> nu </a:t>
            </a:r>
            <a:r>
              <a:rPr lang="en-US" sz="400" kern="1200" baseline="0" dirty="0" err="1">
                <a:solidFill>
                  <a:schemeClr val="tx1"/>
                </a:solidFill>
                <a:latin typeface="Andalus" panose="02020603050405020304" pitchFamily="18" charset="-78"/>
                <a:ea typeface="+mn-ea"/>
                <a:cs typeface="Andalus" panose="02020603050405020304" pitchFamily="18" charset="-78"/>
              </a:rPr>
              <a:t>sunt</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obligatorii</a:t>
            </a:r>
            <a:r>
              <a:rPr lang="en-US" sz="400" kern="1200" baseline="0" dirty="0">
                <a:solidFill>
                  <a:schemeClr val="tx1"/>
                </a:solidFill>
                <a:latin typeface="Andalus" panose="02020603050405020304" pitchFamily="18" charset="-78"/>
                <a:ea typeface="+mn-ea"/>
                <a:cs typeface="Andalus" panose="02020603050405020304" pitchFamily="18" charset="-78"/>
              </a:rPr>
              <a:t>…</a:t>
            </a:r>
            <a:r>
              <a:rPr lang="en-US" sz="400" kern="1200" baseline="0" dirty="0" err="1">
                <a:solidFill>
                  <a:schemeClr val="tx1"/>
                </a:solidFill>
                <a:latin typeface="Andalus" panose="02020603050405020304" pitchFamily="18" charset="-78"/>
                <a:ea typeface="+mn-ea"/>
                <a:cs typeface="Andalus" panose="02020603050405020304" pitchFamily="18" charset="-78"/>
              </a:rPr>
              <a:t>iar</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presiunea</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pe</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pret</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exista</a:t>
            </a:r>
            <a:r>
              <a:rPr lang="en-US" sz="400" kern="1200" baseline="0" dirty="0">
                <a:solidFill>
                  <a:schemeClr val="tx1"/>
                </a:solidFill>
                <a:latin typeface="Andalus" panose="02020603050405020304" pitchFamily="18" charset="-78"/>
                <a:ea typeface="+mn-ea"/>
                <a:cs typeface="Andalus" panose="02020603050405020304" pitchFamily="18" charset="-78"/>
              </a:rPr>
              <a:t> </a:t>
            </a:r>
            <a:r>
              <a:rPr lang="en-US" sz="400" kern="1200" baseline="0" dirty="0" err="1">
                <a:solidFill>
                  <a:schemeClr val="tx1"/>
                </a:solidFill>
                <a:latin typeface="Andalus" panose="02020603050405020304" pitchFamily="18" charset="-78"/>
                <a:ea typeface="+mn-ea"/>
                <a:cs typeface="Andalus" panose="02020603050405020304" pitchFamily="18" charset="-78"/>
              </a:rPr>
              <a:t>totdeauna</a:t>
            </a:r>
            <a:endParaRPr lang="en-US" sz="400" dirty="0">
              <a:latin typeface="Andalus" panose="02020603050405020304" pitchFamily="18" charset="-78"/>
              <a:cs typeface="Andalus" panose="02020603050405020304" pitchFamily="18" charset="-78"/>
            </a:endParaRPr>
          </a:p>
        </p:txBody>
      </p:sp>
      <p:sp>
        <p:nvSpPr>
          <p:cNvPr id="4" name="Slide Number Placeholder 3"/>
          <p:cNvSpPr>
            <a:spLocks noGrp="1"/>
          </p:cNvSpPr>
          <p:nvPr>
            <p:ph type="sldNum" sz="quarter" idx="10"/>
          </p:nvPr>
        </p:nvSpPr>
        <p:spPr/>
        <p:txBody>
          <a:bodyPr/>
          <a:lstStyle/>
          <a:p>
            <a:fld id="{E7F34D1A-B7E5-DE48-8EA9-859D9DE63652}" type="slidenum">
              <a:rPr lang="en-US" smtClean="0"/>
              <a:pPr/>
              <a:t>5</a:t>
            </a:fld>
            <a:endParaRPr lang="en-US" dirty="0"/>
          </a:p>
        </p:txBody>
      </p:sp>
    </p:spTree>
    <p:extLst>
      <p:ext uri="{BB962C8B-B14F-4D97-AF65-F5344CB8AC3E}">
        <p14:creationId xmlns:p14="http://schemas.microsoft.com/office/powerpoint/2010/main" val="2746793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dirty="0">
                <a:solidFill>
                  <a:srgbClr val="FFC000"/>
                </a:solidFill>
              </a:rPr>
              <a:t>In </a:t>
            </a:r>
            <a:r>
              <a:rPr lang="fr-FR" sz="1200" dirty="0" err="1">
                <a:solidFill>
                  <a:srgbClr val="FFC000"/>
                </a:solidFill>
              </a:rPr>
              <a:t>conditiile</a:t>
            </a:r>
            <a:r>
              <a:rPr lang="fr-FR" sz="1200" dirty="0">
                <a:solidFill>
                  <a:srgbClr val="FFC000"/>
                </a:solidFill>
              </a:rPr>
              <a:t> in care in </a:t>
            </a:r>
            <a:r>
              <a:rPr lang="fr-FR" sz="1200" dirty="0" err="1">
                <a:solidFill>
                  <a:srgbClr val="FFC000"/>
                </a:solidFill>
              </a:rPr>
              <a:t>cladire</a:t>
            </a:r>
            <a:r>
              <a:rPr lang="fr-FR" sz="1200" dirty="0">
                <a:solidFill>
                  <a:srgbClr val="FFC000"/>
                </a:solidFill>
              </a:rPr>
              <a:t> nu exista un </a:t>
            </a:r>
            <a:r>
              <a:rPr lang="fr-FR" sz="1200" dirty="0" err="1">
                <a:solidFill>
                  <a:srgbClr val="FFC000"/>
                </a:solidFill>
              </a:rPr>
              <a:t>sistem</a:t>
            </a:r>
            <a:r>
              <a:rPr lang="fr-FR" sz="1200" dirty="0">
                <a:solidFill>
                  <a:srgbClr val="FFC000"/>
                </a:solidFill>
              </a:rPr>
              <a:t> de </a:t>
            </a:r>
            <a:r>
              <a:rPr lang="fr-FR" sz="1200" dirty="0" err="1">
                <a:solidFill>
                  <a:srgbClr val="FFC000"/>
                </a:solidFill>
              </a:rPr>
              <a:t>monitorizare</a:t>
            </a:r>
            <a:r>
              <a:rPr lang="fr-FR" sz="1200" dirty="0">
                <a:solidFill>
                  <a:srgbClr val="FFC000"/>
                </a:solidFill>
              </a:rPr>
              <a:t> si control al </a:t>
            </a:r>
            <a:r>
              <a:rPr lang="fr-FR" sz="1200" dirty="0" err="1">
                <a:solidFill>
                  <a:srgbClr val="FFC000"/>
                </a:solidFill>
              </a:rPr>
              <a:t>instalatiei</a:t>
            </a:r>
            <a:r>
              <a:rPr lang="fr-FR" sz="1200" baseline="0" dirty="0">
                <a:solidFill>
                  <a:srgbClr val="FFC000"/>
                </a:solidFill>
              </a:rPr>
              <a:t> </a:t>
            </a:r>
            <a:r>
              <a:rPr lang="fr-FR" sz="1200" baseline="0" dirty="0" err="1">
                <a:solidFill>
                  <a:srgbClr val="FFC000"/>
                </a:solidFill>
              </a:rPr>
              <a:t>electrice</a:t>
            </a:r>
            <a:r>
              <a:rPr lang="fr-FR" sz="1200" baseline="0" dirty="0">
                <a:solidFill>
                  <a:srgbClr val="FFC000"/>
                </a:solidFill>
              </a:rPr>
              <a:t>, </a:t>
            </a:r>
            <a:r>
              <a:rPr lang="fr-FR" sz="1200" baseline="0" dirty="0" err="1">
                <a:solidFill>
                  <a:srgbClr val="FFC000"/>
                </a:solidFill>
              </a:rPr>
              <a:t>colectarea</a:t>
            </a:r>
            <a:r>
              <a:rPr lang="fr-FR" sz="1200" baseline="0" dirty="0">
                <a:solidFill>
                  <a:srgbClr val="FFC000"/>
                </a:solidFill>
              </a:rPr>
              <a:t> de date de la </a:t>
            </a:r>
            <a:r>
              <a:rPr lang="fr-FR" sz="1200" baseline="0" dirty="0" err="1">
                <a:solidFill>
                  <a:srgbClr val="FFC000"/>
                </a:solidFill>
              </a:rPr>
              <a:t>tablouri</a:t>
            </a:r>
            <a:r>
              <a:rPr lang="fr-FR" sz="1200" baseline="0" dirty="0">
                <a:solidFill>
                  <a:srgbClr val="FFC000"/>
                </a:solidFill>
              </a:rPr>
              <a:t>, </a:t>
            </a:r>
            <a:r>
              <a:rPr lang="fr-FR" sz="1200" dirty="0">
                <a:solidFill>
                  <a:srgbClr val="FFC000"/>
                </a:solidFill>
              </a:rPr>
              <a:t> </a:t>
            </a:r>
            <a:r>
              <a:rPr lang="fr-FR" sz="1200" dirty="0" err="1">
                <a:solidFill>
                  <a:srgbClr val="FFC000"/>
                </a:solidFill>
              </a:rPr>
              <a:t>eventuale</a:t>
            </a:r>
            <a:r>
              <a:rPr lang="fr-FR" sz="1200" dirty="0">
                <a:solidFill>
                  <a:srgbClr val="FFC000"/>
                </a:solidFill>
              </a:rPr>
              <a:t> </a:t>
            </a:r>
            <a:r>
              <a:rPr lang="fr-FR" sz="1200" dirty="0" err="1">
                <a:solidFill>
                  <a:srgbClr val="FFC000"/>
                </a:solidFill>
              </a:rPr>
              <a:t>disfunctionalitati</a:t>
            </a:r>
            <a:r>
              <a:rPr lang="fr-FR" sz="1200" baseline="0" dirty="0">
                <a:solidFill>
                  <a:srgbClr val="FFC000"/>
                </a:solidFill>
              </a:rPr>
              <a:t> in </a:t>
            </a:r>
            <a:r>
              <a:rPr lang="fr-FR" sz="1200" baseline="0" dirty="0" err="1">
                <a:solidFill>
                  <a:srgbClr val="FFC000"/>
                </a:solidFill>
              </a:rPr>
              <a:t>functionare</a:t>
            </a:r>
            <a:r>
              <a:rPr lang="fr-FR" sz="1200" baseline="0" dirty="0">
                <a:solidFill>
                  <a:srgbClr val="FFC000"/>
                </a:solidFill>
              </a:rPr>
              <a:t> se </a:t>
            </a:r>
            <a:r>
              <a:rPr lang="fr-FR" sz="1200" baseline="0" dirty="0" err="1">
                <a:solidFill>
                  <a:srgbClr val="FFC000"/>
                </a:solidFill>
              </a:rPr>
              <a:t>obtin</a:t>
            </a:r>
            <a:r>
              <a:rPr lang="fr-FR" sz="1200" baseline="0" dirty="0">
                <a:solidFill>
                  <a:srgbClr val="FFC000"/>
                </a:solidFill>
              </a:rPr>
              <a:t> </a:t>
            </a:r>
            <a:r>
              <a:rPr lang="fr-FR" sz="1200" baseline="0" dirty="0" err="1">
                <a:solidFill>
                  <a:srgbClr val="FFC000"/>
                </a:solidFill>
              </a:rPr>
              <a:t>prin</a:t>
            </a:r>
            <a:r>
              <a:rPr lang="fr-FR" sz="1200" baseline="0" dirty="0">
                <a:solidFill>
                  <a:srgbClr val="FFC000"/>
                </a:solidFill>
              </a:rPr>
              <a:t> </a:t>
            </a:r>
            <a:r>
              <a:rPr lang="fr-FR" sz="1200" baseline="0" dirty="0" err="1">
                <a:solidFill>
                  <a:srgbClr val="FFC000"/>
                </a:solidFill>
              </a:rPr>
              <a:t>deplasare</a:t>
            </a:r>
            <a:r>
              <a:rPr lang="fr-FR" sz="1200" baseline="0" dirty="0">
                <a:solidFill>
                  <a:srgbClr val="FFC000"/>
                </a:solidFill>
              </a:rPr>
              <a:t> in situ, in </a:t>
            </a:r>
            <a:r>
              <a:rPr lang="fr-FR" sz="1200" baseline="0" dirty="0" err="1">
                <a:solidFill>
                  <a:srgbClr val="FFC000"/>
                </a:solidFill>
              </a:rPr>
              <a:t>general</a:t>
            </a:r>
            <a:r>
              <a:rPr lang="fr-FR" sz="1200" baseline="0" dirty="0">
                <a:solidFill>
                  <a:srgbClr val="FFC000"/>
                </a:solidFill>
              </a:rPr>
              <a:t>, </a:t>
            </a:r>
            <a:r>
              <a:rPr lang="fr-FR" sz="1200" baseline="0" dirty="0" err="1">
                <a:solidFill>
                  <a:srgbClr val="FFC000"/>
                </a:solidFill>
              </a:rPr>
              <a:t>ulterior</a:t>
            </a:r>
            <a:r>
              <a:rPr lang="fr-FR" sz="1200" baseline="0" dirty="0">
                <a:solidFill>
                  <a:srgbClr val="FFC000"/>
                </a:solidFill>
              </a:rPr>
              <a:t> </a:t>
            </a:r>
            <a:r>
              <a:rPr lang="fr-FR" sz="1200" baseline="0" dirty="0" err="1">
                <a:solidFill>
                  <a:srgbClr val="FFC000"/>
                </a:solidFill>
              </a:rPr>
              <a:t>aparitie</a:t>
            </a:r>
            <a:r>
              <a:rPr lang="fr-FR" sz="1200" baseline="0" dirty="0">
                <a:solidFill>
                  <a:srgbClr val="FFC000"/>
                </a:solidFill>
              </a:rPr>
              <a:t> </a:t>
            </a:r>
            <a:r>
              <a:rPr lang="fr-FR" sz="1200" baseline="0" dirty="0" err="1">
                <a:solidFill>
                  <a:srgbClr val="FFC000"/>
                </a:solidFill>
              </a:rPr>
              <a:t>defectelor</a:t>
            </a:r>
            <a:r>
              <a:rPr lang="fr-FR" sz="1200" baseline="0" dirty="0">
                <a:solidFill>
                  <a:srgbClr val="FFC000"/>
                </a:solidFill>
              </a:rPr>
              <a:t>.</a:t>
            </a:r>
          </a:p>
          <a:p>
            <a:endParaRPr lang="fr-FR" sz="1200" baseline="0" dirty="0">
              <a:solidFill>
                <a:srgbClr val="FFC000"/>
              </a:solidFill>
            </a:endParaRPr>
          </a:p>
          <a:p>
            <a:r>
              <a:rPr lang="fr-FR" sz="1200" baseline="0" dirty="0">
                <a:solidFill>
                  <a:srgbClr val="FFC000"/>
                </a:solidFill>
              </a:rPr>
              <a:t>Nu </a:t>
            </a:r>
            <a:r>
              <a:rPr lang="fr-FR" sz="1200" baseline="0" dirty="0" err="1">
                <a:solidFill>
                  <a:srgbClr val="FFC000"/>
                </a:solidFill>
              </a:rPr>
              <a:t>avem</a:t>
            </a:r>
            <a:r>
              <a:rPr lang="fr-FR" sz="1200" baseline="0" dirty="0">
                <a:solidFill>
                  <a:srgbClr val="FFC000"/>
                </a:solidFill>
              </a:rPr>
              <a:t> </a:t>
            </a:r>
            <a:r>
              <a:rPr lang="fr-FR" sz="1200" baseline="0" dirty="0" err="1">
                <a:solidFill>
                  <a:srgbClr val="FFC000"/>
                </a:solidFill>
              </a:rPr>
              <a:t>rasunsuri</a:t>
            </a:r>
            <a:r>
              <a:rPr lang="fr-FR" sz="1200" baseline="0" dirty="0">
                <a:solidFill>
                  <a:srgbClr val="FFC000"/>
                </a:solidFill>
              </a:rPr>
              <a:t> la </a:t>
            </a:r>
            <a:r>
              <a:rPr lang="fr-FR" sz="1200" baseline="0" dirty="0" err="1">
                <a:solidFill>
                  <a:srgbClr val="FFC000"/>
                </a:solidFill>
              </a:rPr>
              <a:t>intrebari</a:t>
            </a:r>
            <a:r>
              <a:rPr lang="fr-FR" sz="1200" baseline="0" dirty="0">
                <a:solidFill>
                  <a:srgbClr val="FFC000"/>
                </a:solidFill>
              </a:rPr>
              <a:t> </a:t>
            </a:r>
            <a:r>
              <a:rPr lang="fr-FR" sz="1200" baseline="0" dirty="0" err="1">
                <a:solidFill>
                  <a:srgbClr val="FFC000"/>
                </a:solidFill>
              </a:rPr>
              <a:t>precum</a:t>
            </a:r>
            <a:r>
              <a:rPr lang="fr-FR" sz="1200" baseline="0" dirty="0">
                <a:solidFill>
                  <a:srgbClr val="FFC000"/>
                </a:solidFill>
              </a:rPr>
              <a:t>:</a:t>
            </a:r>
          </a:p>
          <a:p>
            <a:endParaRPr lang="fr-FR" sz="1200" baseline="0" dirty="0">
              <a:solidFill>
                <a:srgbClr val="FFC000"/>
              </a:solidFill>
            </a:endParaRPr>
          </a:p>
          <a:p>
            <a:pPr marL="171450" indent="-171450">
              <a:buFontTx/>
              <a:buChar char="-"/>
            </a:pPr>
            <a:r>
              <a:rPr lang="fr-FR" sz="1200" baseline="0" dirty="0">
                <a:solidFill>
                  <a:srgbClr val="FFC000"/>
                </a:solidFill>
              </a:rPr>
              <a:t>Cum pot </a:t>
            </a:r>
            <a:r>
              <a:rPr lang="fr-FR" sz="1200" baseline="0" dirty="0" err="1">
                <a:solidFill>
                  <a:srgbClr val="FFC000"/>
                </a:solidFill>
              </a:rPr>
              <a:t>avea</a:t>
            </a:r>
            <a:r>
              <a:rPr lang="fr-FR" sz="1200" baseline="0" dirty="0">
                <a:solidFill>
                  <a:srgbClr val="FFC000"/>
                </a:solidFill>
              </a:rPr>
              <a:t> </a:t>
            </a:r>
            <a:r>
              <a:rPr lang="fr-FR" sz="1200" baseline="0" dirty="0" err="1">
                <a:solidFill>
                  <a:srgbClr val="FFC000"/>
                </a:solidFill>
              </a:rPr>
              <a:t>informatii</a:t>
            </a:r>
            <a:r>
              <a:rPr lang="fr-FR" sz="1200" baseline="0" dirty="0">
                <a:solidFill>
                  <a:srgbClr val="FFC000"/>
                </a:solidFill>
              </a:rPr>
              <a:t> de la </a:t>
            </a:r>
            <a:r>
              <a:rPr lang="fr-FR" sz="1200" baseline="0" dirty="0" err="1">
                <a:solidFill>
                  <a:srgbClr val="FFC000"/>
                </a:solidFill>
              </a:rPr>
              <a:t>tablourile</a:t>
            </a:r>
            <a:r>
              <a:rPr lang="fr-FR" sz="1200" baseline="0" dirty="0">
                <a:solidFill>
                  <a:srgbClr val="FFC000"/>
                </a:solidFill>
              </a:rPr>
              <a:t> </a:t>
            </a:r>
            <a:r>
              <a:rPr lang="fr-FR" sz="1200" baseline="0" dirty="0" err="1">
                <a:solidFill>
                  <a:srgbClr val="FFC000"/>
                </a:solidFill>
              </a:rPr>
              <a:t>electrice</a:t>
            </a:r>
            <a:endParaRPr lang="fr-FR" sz="1200" baseline="0" dirty="0">
              <a:solidFill>
                <a:srgbClr val="FFC000"/>
              </a:solidFill>
            </a:endParaRPr>
          </a:p>
          <a:p>
            <a:pPr marL="171450" indent="-171450">
              <a:buFontTx/>
              <a:buChar char="-"/>
            </a:pPr>
            <a:r>
              <a:rPr lang="fr-FR" sz="1200" baseline="0" dirty="0">
                <a:solidFill>
                  <a:srgbClr val="FFC000"/>
                </a:solidFill>
              </a:rPr>
              <a:t>Cum </a:t>
            </a:r>
            <a:r>
              <a:rPr lang="fr-FR" sz="1200" baseline="0" dirty="0" err="1">
                <a:solidFill>
                  <a:srgbClr val="FFC000"/>
                </a:solidFill>
              </a:rPr>
              <a:t>aflu</a:t>
            </a:r>
            <a:r>
              <a:rPr lang="fr-FR" sz="1200" baseline="0" dirty="0">
                <a:solidFill>
                  <a:srgbClr val="FFC000"/>
                </a:solidFill>
              </a:rPr>
              <a:t> ca </a:t>
            </a:r>
            <a:r>
              <a:rPr lang="fr-FR" sz="1200" baseline="0" dirty="0" err="1">
                <a:solidFill>
                  <a:srgbClr val="FFC000"/>
                </a:solidFill>
              </a:rPr>
              <a:t>am</a:t>
            </a:r>
            <a:r>
              <a:rPr lang="fr-FR" sz="1200" baseline="0" dirty="0">
                <a:solidFill>
                  <a:srgbClr val="FFC000"/>
                </a:solidFill>
              </a:rPr>
              <a:t> un </a:t>
            </a:r>
            <a:r>
              <a:rPr lang="fr-FR" sz="1200" baseline="0" dirty="0" err="1">
                <a:solidFill>
                  <a:srgbClr val="FFC000"/>
                </a:solidFill>
              </a:rPr>
              <a:t>defect</a:t>
            </a:r>
            <a:r>
              <a:rPr lang="fr-FR" sz="1200" baseline="0" dirty="0">
                <a:solidFill>
                  <a:srgbClr val="FFC000"/>
                </a:solidFill>
              </a:rPr>
              <a:t> in </a:t>
            </a:r>
            <a:r>
              <a:rPr lang="fr-FR" sz="1200" baseline="0" dirty="0" err="1">
                <a:solidFill>
                  <a:srgbClr val="FFC000"/>
                </a:solidFill>
              </a:rPr>
              <a:t>instalatie</a:t>
            </a:r>
            <a:r>
              <a:rPr lang="fr-FR" sz="1200" baseline="0" dirty="0">
                <a:solidFill>
                  <a:srgbClr val="FFC000"/>
                </a:solidFill>
              </a:rPr>
              <a:t> </a:t>
            </a:r>
            <a:r>
              <a:rPr lang="fr-FR" sz="1200" baseline="0" dirty="0" err="1">
                <a:solidFill>
                  <a:srgbClr val="FFC000"/>
                </a:solidFill>
              </a:rPr>
              <a:t>daca</a:t>
            </a:r>
            <a:r>
              <a:rPr lang="fr-FR" sz="1200" baseline="0" dirty="0">
                <a:solidFill>
                  <a:srgbClr val="FFC000"/>
                </a:solidFill>
              </a:rPr>
              <a:t> nu </a:t>
            </a:r>
            <a:r>
              <a:rPr lang="fr-FR" sz="1200" baseline="0" dirty="0" err="1">
                <a:solidFill>
                  <a:srgbClr val="FFC000"/>
                </a:solidFill>
              </a:rPr>
              <a:t>sunt</a:t>
            </a:r>
            <a:r>
              <a:rPr lang="fr-FR" sz="1200" baseline="0" dirty="0">
                <a:solidFill>
                  <a:srgbClr val="FFC000"/>
                </a:solidFill>
              </a:rPr>
              <a:t> </a:t>
            </a:r>
            <a:r>
              <a:rPr lang="fr-FR" sz="1200" baseline="0" dirty="0" err="1">
                <a:solidFill>
                  <a:srgbClr val="FFC000"/>
                </a:solidFill>
              </a:rPr>
              <a:t>acolo</a:t>
            </a:r>
            <a:r>
              <a:rPr lang="fr-FR" sz="1200" baseline="0" dirty="0">
                <a:solidFill>
                  <a:srgbClr val="FFC000"/>
                </a:solidFill>
              </a:rPr>
              <a:t>? Pot </a:t>
            </a:r>
            <a:r>
              <a:rPr lang="fr-FR" sz="1200" baseline="0" dirty="0" err="1">
                <a:solidFill>
                  <a:srgbClr val="FFC000"/>
                </a:solidFill>
              </a:rPr>
              <a:t>primi</a:t>
            </a:r>
            <a:r>
              <a:rPr lang="fr-FR" sz="1200" baseline="0" dirty="0">
                <a:solidFill>
                  <a:srgbClr val="FFC000"/>
                </a:solidFill>
              </a:rPr>
              <a:t> </a:t>
            </a:r>
            <a:r>
              <a:rPr lang="fr-FR" sz="1200" baseline="0" dirty="0" err="1">
                <a:solidFill>
                  <a:srgbClr val="FFC000"/>
                </a:solidFill>
              </a:rPr>
              <a:t>notificari</a:t>
            </a:r>
            <a:r>
              <a:rPr lang="fr-FR" sz="1200" baseline="0" dirty="0">
                <a:solidFill>
                  <a:srgbClr val="FFC000"/>
                </a:solidFill>
              </a:rPr>
              <a:t> in </a:t>
            </a:r>
            <a:r>
              <a:rPr lang="fr-FR" sz="1200" baseline="0" dirty="0" err="1">
                <a:solidFill>
                  <a:srgbClr val="FFC000"/>
                </a:solidFill>
              </a:rPr>
              <a:t>acest</a:t>
            </a:r>
            <a:r>
              <a:rPr lang="fr-FR" sz="1200" baseline="0" dirty="0">
                <a:solidFill>
                  <a:srgbClr val="FFC000"/>
                </a:solidFill>
              </a:rPr>
              <a:t> sens? Cum pot </a:t>
            </a:r>
            <a:r>
              <a:rPr lang="fr-FR" sz="1200" baseline="0" dirty="0" err="1">
                <a:solidFill>
                  <a:srgbClr val="FFC000"/>
                </a:solidFill>
              </a:rPr>
              <a:t>remedia</a:t>
            </a:r>
            <a:r>
              <a:rPr lang="fr-FR" sz="1200" baseline="0" dirty="0">
                <a:solidFill>
                  <a:srgbClr val="FFC000"/>
                </a:solidFill>
              </a:rPr>
              <a:t> mai </a:t>
            </a:r>
            <a:r>
              <a:rPr lang="fr-FR" sz="1200" baseline="0" dirty="0" err="1">
                <a:solidFill>
                  <a:srgbClr val="FFC000"/>
                </a:solidFill>
              </a:rPr>
              <a:t>repede</a:t>
            </a:r>
            <a:endParaRPr lang="fr-FR" sz="1200" baseline="0" dirty="0">
              <a:solidFill>
                <a:srgbClr val="FFC000"/>
              </a:solidFill>
            </a:endParaRPr>
          </a:p>
          <a:p>
            <a:pPr marL="171450" indent="-171450">
              <a:buFontTx/>
              <a:buChar char="-"/>
            </a:pPr>
            <a:r>
              <a:rPr lang="fr-FR" sz="1200" baseline="0" dirty="0" err="1">
                <a:solidFill>
                  <a:srgbClr val="FFC000"/>
                </a:solidFill>
              </a:rPr>
              <a:t>Observ</a:t>
            </a:r>
            <a:r>
              <a:rPr lang="fr-FR" sz="1200" baseline="0" dirty="0">
                <a:solidFill>
                  <a:srgbClr val="FFC000"/>
                </a:solidFill>
              </a:rPr>
              <a:t> ca a </a:t>
            </a:r>
            <a:r>
              <a:rPr lang="fr-FR" sz="1200" baseline="0" dirty="0" err="1">
                <a:solidFill>
                  <a:srgbClr val="FFC000"/>
                </a:solidFill>
              </a:rPr>
              <a:t>crescut</a:t>
            </a:r>
            <a:r>
              <a:rPr lang="fr-FR" sz="1200" baseline="0" dirty="0">
                <a:solidFill>
                  <a:srgbClr val="FFC000"/>
                </a:solidFill>
              </a:rPr>
              <a:t> factura de </a:t>
            </a:r>
            <a:r>
              <a:rPr lang="fr-FR" sz="1200" baseline="0" dirty="0" err="1">
                <a:solidFill>
                  <a:srgbClr val="FFC000"/>
                </a:solidFill>
              </a:rPr>
              <a:t>electricitate</a:t>
            </a:r>
            <a:r>
              <a:rPr lang="fr-FR" sz="1200" baseline="0" dirty="0">
                <a:solidFill>
                  <a:srgbClr val="FFC000"/>
                </a:solidFill>
              </a:rPr>
              <a:t>: de ce? Ce </a:t>
            </a:r>
            <a:r>
              <a:rPr lang="fr-FR" sz="1200" baseline="0" dirty="0" err="1">
                <a:solidFill>
                  <a:srgbClr val="FFC000"/>
                </a:solidFill>
              </a:rPr>
              <a:t>masuri</a:t>
            </a:r>
            <a:r>
              <a:rPr lang="fr-FR" sz="1200" baseline="0" dirty="0">
                <a:solidFill>
                  <a:srgbClr val="FFC000"/>
                </a:solidFill>
              </a:rPr>
              <a:t> pot sa </a:t>
            </a:r>
            <a:r>
              <a:rPr lang="fr-FR" sz="1200" baseline="0" dirty="0" err="1">
                <a:solidFill>
                  <a:srgbClr val="FFC000"/>
                </a:solidFill>
              </a:rPr>
              <a:t>iau</a:t>
            </a:r>
            <a:r>
              <a:rPr lang="fr-FR" sz="1200" baseline="0" dirty="0">
                <a:solidFill>
                  <a:srgbClr val="FFC000"/>
                </a:solidFill>
              </a:rPr>
              <a:t>?</a:t>
            </a:r>
          </a:p>
          <a:p>
            <a:pPr marL="171450" indent="-171450">
              <a:buFontTx/>
              <a:buChar char="-"/>
            </a:pPr>
            <a:endParaRPr lang="fr-FR" sz="1200" baseline="0" dirty="0">
              <a:solidFill>
                <a:srgbClr val="FFC000"/>
              </a:solidFill>
            </a:endParaRPr>
          </a:p>
          <a:p>
            <a:pPr marL="0" indent="0">
              <a:buFontTx/>
              <a:buNone/>
            </a:pPr>
            <a:r>
              <a:rPr lang="fr-FR" sz="1200" baseline="0" dirty="0" err="1">
                <a:solidFill>
                  <a:srgbClr val="FFC000"/>
                </a:solidFill>
              </a:rPr>
              <a:t>Monitorizarea</a:t>
            </a:r>
            <a:r>
              <a:rPr lang="fr-FR" sz="1200" baseline="0" dirty="0">
                <a:solidFill>
                  <a:srgbClr val="FFC000"/>
                </a:solidFill>
              </a:rPr>
              <a:t> </a:t>
            </a:r>
            <a:r>
              <a:rPr lang="fr-FR" sz="1200" baseline="0" dirty="0" err="1">
                <a:solidFill>
                  <a:srgbClr val="FFC000"/>
                </a:solidFill>
              </a:rPr>
              <a:t>consumurilor</a:t>
            </a:r>
            <a:r>
              <a:rPr lang="fr-FR" sz="1200" baseline="0" dirty="0">
                <a:solidFill>
                  <a:srgbClr val="FFC000"/>
                </a:solidFill>
              </a:rPr>
              <a:t> si </a:t>
            </a:r>
            <a:r>
              <a:rPr lang="fr-FR" sz="1200" baseline="0" dirty="0" err="1">
                <a:solidFill>
                  <a:srgbClr val="FFC000"/>
                </a:solidFill>
              </a:rPr>
              <a:t>analiza</a:t>
            </a:r>
            <a:r>
              <a:rPr lang="fr-FR" sz="1200" baseline="0" dirty="0">
                <a:solidFill>
                  <a:srgbClr val="FFC000"/>
                </a:solidFill>
              </a:rPr>
              <a:t> </a:t>
            </a:r>
            <a:r>
              <a:rPr lang="fr-FR" sz="1200" baseline="0" dirty="0" err="1">
                <a:solidFill>
                  <a:srgbClr val="FFC000"/>
                </a:solidFill>
              </a:rPr>
              <a:t>trendurilor</a:t>
            </a:r>
            <a:r>
              <a:rPr lang="fr-FR" sz="1200" baseline="0" dirty="0">
                <a:solidFill>
                  <a:srgbClr val="FFC000"/>
                </a:solidFill>
              </a:rPr>
              <a:t> </a:t>
            </a:r>
            <a:r>
              <a:rPr lang="fr-FR" sz="1200" baseline="0" dirty="0" err="1">
                <a:solidFill>
                  <a:srgbClr val="FFC000"/>
                </a:solidFill>
              </a:rPr>
              <a:t>acestora</a:t>
            </a:r>
            <a:r>
              <a:rPr lang="fr-FR" sz="1200" baseline="0" dirty="0">
                <a:solidFill>
                  <a:srgbClr val="FFC000"/>
                </a:solidFill>
              </a:rPr>
              <a:t> este </a:t>
            </a:r>
            <a:r>
              <a:rPr lang="fr-FR" sz="1200" baseline="0" dirty="0" err="1">
                <a:solidFill>
                  <a:srgbClr val="FFC000"/>
                </a:solidFill>
              </a:rPr>
              <a:t>dificil</a:t>
            </a:r>
            <a:r>
              <a:rPr lang="fr-FR" sz="1200" baseline="0" dirty="0">
                <a:solidFill>
                  <a:srgbClr val="FFC000"/>
                </a:solidFill>
              </a:rPr>
              <a:t> de </a:t>
            </a:r>
            <a:r>
              <a:rPr lang="fr-FR" sz="1200" baseline="0" dirty="0" err="1">
                <a:solidFill>
                  <a:srgbClr val="FFC000"/>
                </a:solidFill>
              </a:rPr>
              <a:t>realizat</a:t>
            </a:r>
            <a:r>
              <a:rPr lang="fr-FR" sz="1200" baseline="0" dirty="0">
                <a:solidFill>
                  <a:srgbClr val="FFC000"/>
                </a:solidFill>
              </a:rPr>
              <a:t> in, </a:t>
            </a:r>
            <a:r>
              <a:rPr lang="fr-FR" sz="1200" baseline="0" dirty="0" err="1">
                <a:solidFill>
                  <a:srgbClr val="FFC000"/>
                </a:solidFill>
              </a:rPr>
              <a:t>lipsa</a:t>
            </a:r>
            <a:r>
              <a:rPr lang="fr-FR" sz="1200" baseline="0" dirty="0">
                <a:solidFill>
                  <a:srgbClr val="FFC000"/>
                </a:solidFill>
              </a:rPr>
              <a:t> </a:t>
            </a:r>
            <a:r>
              <a:rPr lang="fr-FR" sz="1200" baseline="0" dirty="0" err="1">
                <a:solidFill>
                  <a:srgbClr val="FFC000"/>
                </a:solidFill>
              </a:rPr>
              <a:t>unor</a:t>
            </a:r>
            <a:r>
              <a:rPr lang="fr-FR" sz="1200" baseline="0" dirty="0">
                <a:solidFill>
                  <a:srgbClr val="FFC000"/>
                </a:solidFill>
              </a:rPr>
              <a:t> </a:t>
            </a:r>
            <a:r>
              <a:rPr lang="fr-FR" sz="1200" baseline="0" dirty="0" err="1">
                <a:solidFill>
                  <a:srgbClr val="FFC000"/>
                </a:solidFill>
              </a:rPr>
              <a:t>solutii</a:t>
            </a:r>
            <a:r>
              <a:rPr lang="fr-FR" sz="1200" baseline="0" dirty="0">
                <a:solidFill>
                  <a:srgbClr val="FFC000"/>
                </a:solidFill>
              </a:rPr>
              <a:t> </a:t>
            </a:r>
            <a:r>
              <a:rPr lang="fr-FR" sz="1200" baseline="0" dirty="0" err="1">
                <a:solidFill>
                  <a:srgbClr val="FFC000"/>
                </a:solidFill>
              </a:rPr>
              <a:t>specifice</a:t>
            </a:r>
            <a:r>
              <a:rPr lang="fr-FR" sz="1200" baseline="0" dirty="0">
                <a:solidFill>
                  <a:srgbClr val="FFC000"/>
                </a:solidFill>
              </a:rPr>
              <a:t> de </a:t>
            </a:r>
            <a:r>
              <a:rPr lang="fr-FR" sz="1200" baseline="0" dirty="0" err="1">
                <a:solidFill>
                  <a:srgbClr val="FFC000"/>
                </a:solidFill>
              </a:rPr>
              <a:t>monitorizare</a:t>
            </a:r>
            <a:endParaRPr lang="fr-FR" sz="1200" baseline="0" dirty="0">
              <a:solidFill>
                <a:srgbClr val="FFC000"/>
              </a:solidFill>
            </a:endParaRPr>
          </a:p>
          <a:p>
            <a:endParaRPr lang="fr-FR" sz="1200" dirty="0">
              <a:solidFill>
                <a:schemeClr val="tx1"/>
              </a:solidFill>
            </a:endParaRPr>
          </a:p>
          <a:p>
            <a:endParaRPr lang="fr-FR" sz="1200" dirty="0">
              <a:solidFill>
                <a:srgbClr val="FFC000"/>
              </a:solidFill>
            </a:endParaRP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EAC983-54EE-4F70-BDD0-102B71A5E8E3}"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87170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lecand</a:t>
            </a:r>
            <a:r>
              <a:rPr lang="en-US" dirty="0"/>
              <a:t> de la </a:t>
            </a:r>
            <a:r>
              <a:rPr lang="en-US" dirty="0" err="1"/>
              <a:t>faptul</a:t>
            </a:r>
            <a:r>
              <a:rPr lang="en-US" dirty="0"/>
              <a:t> ca: “</a:t>
            </a:r>
            <a:r>
              <a:rPr lang="en-US" dirty="0">
                <a:solidFill>
                  <a:srgbClr val="000000"/>
                </a:solidFill>
              </a:rPr>
              <a:t>Ce nu </a:t>
            </a:r>
            <a:r>
              <a:rPr lang="en-US" dirty="0" err="1">
                <a:solidFill>
                  <a:srgbClr val="000000"/>
                </a:solidFill>
              </a:rPr>
              <a:t>masuram</a:t>
            </a:r>
            <a:r>
              <a:rPr lang="en-US" dirty="0">
                <a:solidFill>
                  <a:srgbClr val="000000"/>
                </a:solidFill>
              </a:rPr>
              <a:t> nu </a:t>
            </a:r>
            <a:r>
              <a:rPr lang="en-US" dirty="0" err="1">
                <a:solidFill>
                  <a:srgbClr val="000000"/>
                </a:solidFill>
              </a:rPr>
              <a:t>putem</a:t>
            </a:r>
            <a:r>
              <a:rPr lang="en-US" dirty="0">
                <a:solidFill>
                  <a:srgbClr val="000000"/>
                </a:solidFill>
              </a:rPr>
              <a:t> </a:t>
            </a:r>
            <a:r>
              <a:rPr lang="en-US" dirty="0" err="1">
                <a:solidFill>
                  <a:srgbClr val="000000"/>
                </a:solidFill>
              </a:rPr>
              <a:t>optimiza</a:t>
            </a:r>
            <a:r>
              <a:rPr lang="en-US" dirty="0">
                <a:solidFill>
                  <a:srgbClr val="000000"/>
                </a:solidFill>
              </a:rPr>
              <a:t>”, </a:t>
            </a:r>
            <a:r>
              <a:rPr lang="en-US" dirty="0" err="1">
                <a:solidFill>
                  <a:srgbClr val="000000"/>
                </a:solidFill>
              </a:rPr>
              <a:t>propunem</a:t>
            </a:r>
            <a:r>
              <a:rPr lang="en-US" baseline="0" dirty="0">
                <a:solidFill>
                  <a:srgbClr val="000000"/>
                </a:solidFill>
              </a:rPr>
              <a:t> </a:t>
            </a:r>
            <a:r>
              <a:rPr lang="en-US" baseline="0" dirty="0" err="1">
                <a:solidFill>
                  <a:srgbClr val="000000"/>
                </a:solidFill>
              </a:rPr>
              <a:t>implementarea</a:t>
            </a:r>
            <a:r>
              <a:rPr lang="en-US" baseline="0" dirty="0">
                <a:solidFill>
                  <a:srgbClr val="000000"/>
                </a:solidFill>
              </a:rPr>
              <a:t> de </a:t>
            </a:r>
            <a:r>
              <a:rPr lang="en-US" baseline="0" dirty="0" err="1">
                <a:solidFill>
                  <a:srgbClr val="000000"/>
                </a:solidFill>
              </a:rPr>
              <a:t>solutii</a:t>
            </a:r>
            <a:r>
              <a:rPr lang="en-US" baseline="0" dirty="0">
                <a:solidFill>
                  <a:srgbClr val="000000"/>
                </a:solidFill>
              </a:rPr>
              <a:t> care </a:t>
            </a:r>
            <a:r>
              <a:rPr lang="en-US" baseline="0" dirty="0" err="1">
                <a:solidFill>
                  <a:srgbClr val="000000"/>
                </a:solidFill>
              </a:rPr>
              <a:t>sa</a:t>
            </a:r>
            <a:r>
              <a:rPr lang="en-US" baseline="0" dirty="0">
                <a:solidFill>
                  <a:srgbClr val="000000"/>
                </a:solidFill>
              </a:rPr>
              <a:t> </a:t>
            </a:r>
            <a:r>
              <a:rPr lang="en-US" baseline="0" dirty="0" err="1">
                <a:solidFill>
                  <a:srgbClr val="000000"/>
                </a:solidFill>
              </a:rPr>
              <a:t>conduca</a:t>
            </a:r>
            <a:r>
              <a:rPr lang="en-US" baseline="0" dirty="0">
                <a:solidFill>
                  <a:srgbClr val="000000"/>
                </a:solidFill>
              </a:rPr>
              <a:t> la:</a:t>
            </a:r>
          </a:p>
          <a:p>
            <a:pPr marL="171450" indent="-171450">
              <a:buFontTx/>
              <a:buChar char="-"/>
            </a:pPr>
            <a:r>
              <a:rPr lang="en-US" baseline="0" dirty="0" err="1">
                <a:solidFill>
                  <a:srgbClr val="000000"/>
                </a:solidFill>
              </a:rPr>
              <a:t>Constientizarea</a:t>
            </a:r>
            <a:r>
              <a:rPr lang="en-US" baseline="0" dirty="0">
                <a:solidFill>
                  <a:srgbClr val="000000"/>
                </a:solidFill>
              </a:rPr>
              <a:t> </a:t>
            </a:r>
            <a:r>
              <a:rPr lang="en-US" baseline="0" dirty="0" err="1">
                <a:solidFill>
                  <a:srgbClr val="000000"/>
                </a:solidFill>
              </a:rPr>
              <a:t>utilizatorului</a:t>
            </a:r>
            <a:endParaRPr lang="en-US" baseline="0" dirty="0">
              <a:solidFill>
                <a:srgbClr val="000000"/>
              </a:solidFill>
            </a:endParaRPr>
          </a:p>
          <a:p>
            <a:pPr marL="171450" indent="-171450">
              <a:buFontTx/>
              <a:buChar char="-"/>
            </a:pPr>
            <a:r>
              <a:rPr lang="en-US" baseline="0" dirty="0" err="1">
                <a:solidFill>
                  <a:srgbClr val="000000"/>
                </a:solidFill>
              </a:rPr>
              <a:t>Intelegerea</a:t>
            </a:r>
            <a:r>
              <a:rPr lang="en-US" baseline="0" dirty="0">
                <a:solidFill>
                  <a:srgbClr val="000000"/>
                </a:solidFill>
              </a:rPr>
              <a:t> </a:t>
            </a:r>
            <a:r>
              <a:rPr lang="en-US" baseline="0" dirty="0" err="1">
                <a:solidFill>
                  <a:srgbClr val="000000"/>
                </a:solidFill>
              </a:rPr>
              <a:t>situatiei</a:t>
            </a:r>
            <a:r>
              <a:rPr lang="en-US" baseline="0" dirty="0">
                <a:solidFill>
                  <a:srgbClr val="000000"/>
                </a:solidFill>
              </a:rPr>
              <a:t> de </a:t>
            </a:r>
            <a:r>
              <a:rPr lang="en-US" baseline="0" dirty="0" err="1">
                <a:solidFill>
                  <a:srgbClr val="000000"/>
                </a:solidFill>
              </a:rPr>
              <a:t>fapt</a:t>
            </a:r>
            <a:endParaRPr lang="en-US" baseline="0" dirty="0">
              <a:solidFill>
                <a:srgbClr val="000000"/>
              </a:solidFill>
            </a:endParaRPr>
          </a:p>
          <a:p>
            <a:pPr marL="171450" indent="-171450">
              <a:buFontTx/>
              <a:buChar char="-"/>
            </a:pPr>
            <a:r>
              <a:rPr lang="en-US" baseline="0" dirty="0" err="1">
                <a:solidFill>
                  <a:srgbClr val="000000"/>
                </a:solidFill>
              </a:rPr>
              <a:t>Posibilitatea</a:t>
            </a:r>
            <a:r>
              <a:rPr lang="en-US" baseline="0" dirty="0">
                <a:solidFill>
                  <a:srgbClr val="000000"/>
                </a:solidFill>
              </a:rPr>
              <a:t> de a fi proactive </a:t>
            </a:r>
            <a:r>
              <a:rPr lang="en-US" baseline="0" dirty="0" err="1">
                <a:solidFill>
                  <a:srgbClr val="000000"/>
                </a:solidFill>
              </a:rPr>
              <a:t>si</a:t>
            </a:r>
            <a:r>
              <a:rPr lang="en-US" baseline="0" dirty="0">
                <a:solidFill>
                  <a:srgbClr val="000000"/>
                </a:solidFill>
              </a:rPr>
              <a:t> de a </a:t>
            </a:r>
            <a:r>
              <a:rPr lang="en-US" baseline="0" dirty="0" err="1">
                <a:solidFill>
                  <a:srgbClr val="000000"/>
                </a:solidFill>
              </a:rPr>
              <a:t>anticipa</a:t>
            </a:r>
            <a:r>
              <a:rPr lang="en-US" baseline="0" dirty="0">
                <a:solidFill>
                  <a:srgbClr val="000000"/>
                </a:solidFill>
              </a:rPr>
              <a:t> </a:t>
            </a:r>
            <a:r>
              <a:rPr lang="en-US" baseline="0" dirty="0" err="1">
                <a:solidFill>
                  <a:srgbClr val="000000"/>
                </a:solidFill>
              </a:rPr>
              <a:t>eventualele</a:t>
            </a:r>
            <a:r>
              <a:rPr lang="en-US" baseline="0" dirty="0">
                <a:solidFill>
                  <a:srgbClr val="000000"/>
                </a:solidFill>
              </a:rPr>
              <a:t> </a:t>
            </a:r>
            <a:r>
              <a:rPr lang="en-US" baseline="0" dirty="0" err="1">
                <a:solidFill>
                  <a:srgbClr val="000000"/>
                </a:solidFill>
              </a:rPr>
              <a:t>lacune</a:t>
            </a:r>
            <a:r>
              <a:rPr lang="en-US" baseline="0" dirty="0">
                <a:solidFill>
                  <a:srgbClr val="000000"/>
                </a:solidFill>
              </a:rPr>
              <a:t> in </a:t>
            </a:r>
            <a:r>
              <a:rPr lang="en-US" baseline="0" dirty="0" err="1">
                <a:solidFill>
                  <a:srgbClr val="000000"/>
                </a:solidFill>
              </a:rPr>
              <a:t>functionare</a:t>
            </a:r>
            <a:endParaRPr lang="en-US" baseline="0" dirty="0">
              <a:solidFill>
                <a:srgbClr val="000000"/>
              </a:solidFill>
            </a:endParaRP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1CEAC983-54EE-4F70-BDD0-102B71A5E8E3}" type="slidenum">
              <a:rPr lang="en-US" smtClean="0"/>
              <a:pPr/>
              <a:t>7</a:t>
            </a:fld>
            <a:endParaRPr lang="en-US"/>
          </a:p>
        </p:txBody>
      </p:sp>
    </p:spTree>
    <p:extLst>
      <p:ext uri="{BB962C8B-B14F-4D97-AF65-F5344CB8AC3E}">
        <p14:creationId xmlns:p14="http://schemas.microsoft.com/office/powerpoint/2010/main" val="42760666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768" y="4715153"/>
            <a:ext cx="5438140" cy="5519460"/>
          </a:xfrm>
        </p:spPr>
        <p:txBody>
          <a:bodyPr/>
          <a:lstStyle/>
          <a:p>
            <a:r>
              <a:rPr lang="en-US" sz="1400" baseline="0" dirty="0" err="1"/>
              <a:t>Propunem</a:t>
            </a:r>
            <a:r>
              <a:rPr lang="en-US" sz="1400" baseline="0" dirty="0"/>
              <a:t> “</a:t>
            </a:r>
            <a:r>
              <a:rPr lang="en-US" sz="1400" baseline="0" dirty="0" err="1"/>
              <a:t>Ecostructure</a:t>
            </a:r>
            <a:r>
              <a:rPr lang="en-US" sz="1400" baseline="0" dirty="0"/>
              <a:t> Power” – </a:t>
            </a:r>
            <a:r>
              <a:rPr lang="en-US" sz="1400" b="1" baseline="0" dirty="0" err="1"/>
              <a:t>Solutii</a:t>
            </a:r>
            <a:r>
              <a:rPr lang="en-US" sz="1400" b="1" baseline="0" dirty="0"/>
              <a:t> de </a:t>
            </a:r>
            <a:r>
              <a:rPr lang="en-US" sz="1400" b="1" baseline="0" dirty="0" err="1"/>
              <a:t>Excelenta</a:t>
            </a:r>
            <a:r>
              <a:rPr lang="en-US" sz="1400" b="1" baseline="0" dirty="0"/>
              <a:t> </a:t>
            </a:r>
            <a:r>
              <a:rPr lang="en-US" sz="1400" b="1" baseline="0" dirty="0" err="1"/>
              <a:t>Operationala</a:t>
            </a:r>
            <a:r>
              <a:rPr lang="en-US" sz="1400" b="1" baseline="0" dirty="0"/>
              <a:t> </a:t>
            </a:r>
            <a:r>
              <a:rPr lang="en-US" sz="1400" baseline="0" dirty="0"/>
              <a:t>care </a:t>
            </a:r>
            <a:r>
              <a:rPr lang="en-US" sz="1400" baseline="0" dirty="0" err="1"/>
              <a:t>reprezinta</a:t>
            </a:r>
            <a:r>
              <a:rPr lang="en-US" sz="1400" baseline="0" dirty="0"/>
              <a:t> de </a:t>
            </a:r>
            <a:r>
              <a:rPr lang="en-US" sz="1400" baseline="0" dirty="0" err="1"/>
              <a:t>fapt</a:t>
            </a:r>
            <a:r>
              <a:rPr lang="en-US" sz="1400" baseline="0" dirty="0"/>
              <a:t> </a:t>
            </a:r>
            <a:r>
              <a:rPr lang="en-US" sz="1400" baseline="0" dirty="0" err="1"/>
              <a:t>calea</a:t>
            </a:r>
            <a:r>
              <a:rPr lang="en-US" sz="1400" baseline="0" dirty="0"/>
              <a:t> de la </a:t>
            </a:r>
            <a:r>
              <a:rPr lang="en-US" sz="1400" b="1" baseline="0" dirty="0"/>
              <a:t>Date </a:t>
            </a:r>
            <a:r>
              <a:rPr lang="en-US" sz="1400" b="1" baseline="0" dirty="0" err="1"/>
              <a:t>colectate</a:t>
            </a:r>
            <a:r>
              <a:rPr lang="en-US" sz="1400" b="1" baseline="0" dirty="0"/>
              <a:t> </a:t>
            </a:r>
            <a:r>
              <a:rPr lang="en-US" sz="1400" b="1" baseline="0" dirty="0" err="1"/>
              <a:t>catre</a:t>
            </a:r>
            <a:r>
              <a:rPr lang="en-US" sz="1400" b="1" baseline="0" dirty="0"/>
              <a:t> </a:t>
            </a:r>
            <a:r>
              <a:rPr lang="en-US" sz="1400" b="1" baseline="0" dirty="0" err="1"/>
              <a:t>Decizii</a:t>
            </a:r>
            <a:r>
              <a:rPr lang="en-US" sz="1400" b="1" baseline="0" dirty="0"/>
              <a:t> </a:t>
            </a:r>
            <a:r>
              <a:rPr lang="en-US" sz="1400" b="1" baseline="0" dirty="0" err="1"/>
              <a:t>inteligente</a:t>
            </a:r>
            <a:r>
              <a:rPr lang="en-US" sz="1400" b="1" baseline="0" dirty="0"/>
              <a:t>. </a:t>
            </a:r>
            <a:r>
              <a:rPr lang="en-US" sz="1400" b="1" baseline="0" dirty="0" err="1"/>
              <a:t>Vorbim</a:t>
            </a:r>
            <a:r>
              <a:rPr lang="en-US" sz="1400" b="1" baseline="0" dirty="0"/>
              <a:t> de </a:t>
            </a:r>
            <a:r>
              <a:rPr lang="en-US" sz="1400" b="1" baseline="0" dirty="0" err="1"/>
              <a:t>fapt</a:t>
            </a:r>
            <a:r>
              <a:rPr lang="en-US" sz="1400" b="1" baseline="0" dirty="0"/>
              <a:t> </a:t>
            </a:r>
            <a:r>
              <a:rPr lang="en-US" sz="1400" b="1" baseline="0" dirty="0" err="1"/>
              <a:t>despre</a:t>
            </a:r>
            <a:r>
              <a:rPr lang="en-US" sz="1400" b="1" baseline="0" dirty="0"/>
              <a:t> </a:t>
            </a:r>
            <a:r>
              <a:rPr lang="en-US" sz="1400" b="1" baseline="0" dirty="0" err="1"/>
              <a:t>arhitecturi</a:t>
            </a:r>
            <a:r>
              <a:rPr lang="en-US" sz="1400" b="1" baseline="0" dirty="0"/>
              <a:t> </a:t>
            </a:r>
            <a:r>
              <a:rPr lang="en-US" sz="1400" b="1" baseline="0" dirty="0" err="1"/>
              <a:t>deschise</a:t>
            </a:r>
            <a:r>
              <a:rPr lang="en-US" sz="1400" b="1" baseline="0" dirty="0"/>
              <a:t> care </a:t>
            </a:r>
            <a:r>
              <a:rPr lang="en-US" sz="1400" b="1" baseline="0" dirty="0" err="1"/>
              <a:t>asigura</a:t>
            </a:r>
            <a:r>
              <a:rPr lang="en-US" sz="1400" b="1" baseline="0" dirty="0"/>
              <a:t> un management </a:t>
            </a:r>
            <a:r>
              <a:rPr lang="en-US" sz="1400" b="1" baseline="0" dirty="0" err="1"/>
              <a:t>inteligent</a:t>
            </a:r>
            <a:r>
              <a:rPr lang="en-US" sz="1400" b="1" baseline="0" dirty="0"/>
              <a:t> </a:t>
            </a:r>
            <a:r>
              <a:rPr lang="en-US" sz="1400" b="1" baseline="0" dirty="0" err="1"/>
              <a:t>si</a:t>
            </a:r>
            <a:r>
              <a:rPr lang="en-US" sz="1400" b="1" baseline="0" dirty="0"/>
              <a:t> </a:t>
            </a:r>
            <a:r>
              <a:rPr lang="en-US" sz="1400" b="1" baseline="0" dirty="0" err="1"/>
              <a:t>util</a:t>
            </a:r>
            <a:r>
              <a:rPr lang="en-US" sz="1400" b="1" baseline="0" dirty="0"/>
              <a:t> al </a:t>
            </a:r>
            <a:r>
              <a:rPr lang="en-US" sz="1400" b="1" baseline="0" dirty="0" err="1"/>
              <a:t>energie</a:t>
            </a:r>
            <a:r>
              <a:rPr lang="en-US" sz="1400" b="1" baseline="0" dirty="0"/>
              <a:t>.</a:t>
            </a:r>
          </a:p>
          <a:p>
            <a:endParaRPr lang="en-US" sz="1400" b="1" baseline="0" dirty="0"/>
          </a:p>
          <a:p>
            <a:r>
              <a:rPr lang="en-US" sz="1400" b="1" baseline="0" dirty="0"/>
              <a:t>CONECTAND </a:t>
            </a:r>
            <a:r>
              <a:rPr lang="en-US" sz="1400" b="1" baseline="0" dirty="0" err="1"/>
              <a:t>aparate</a:t>
            </a:r>
            <a:r>
              <a:rPr lang="en-US" sz="1400" b="1" baseline="0" dirty="0"/>
              <a:t>/</a:t>
            </a:r>
            <a:r>
              <a:rPr lang="en-US" sz="1400" b="1" baseline="0" dirty="0" err="1"/>
              <a:t>echipamente</a:t>
            </a:r>
            <a:r>
              <a:rPr lang="en-US" sz="1400" b="1" baseline="0" dirty="0"/>
              <a:t>, COLECTAM DATE </a:t>
            </a:r>
            <a:r>
              <a:rPr lang="en-US" sz="1400" b="1" baseline="0" dirty="0" err="1"/>
              <a:t>pe</a:t>
            </a:r>
            <a:r>
              <a:rPr lang="en-US" sz="1400" b="1" baseline="0" dirty="0"/>
              <a:t> care la </a:t>
            </a:r>
            <a:r>
              <a:rPr lang="en-US" sz="1400" b="1" baseline="0" dirty="0" err="1"/>
              <a:t>analizam</a:t>
            </a:r>
            <a:r>
              <a:rPr lang="en-US" sz="1400" b="1" baseline="0" dirty="0"/>
              <a:t>, eventual </a:t>
            </a:r>
            <a:r>
              <a:rPr lang="en-US" sz="1400" b="1" baseline="0" dirty="0" err="1"/>
              <a:t>utilizand</a:t>
            </a:r>
            <a:r>
              <a:rPr lang="en-US" sz="1400" b="1" baseline="0" dirty="0"/>
              <a:t> </a:t>
            </a:r>
            <a:r>
              <a:rPr lang="en-US" sz="1400" b="1" baseline="0" dirty="0" err="1"/>
              <a:t>softuri</a:t>
            </a:r>
            <a:r>
              <a:rPr lang="en-US" sz="1400" b="1" baseline="0" dirty="0"/>
              <a:t> </a:t>
            </a:r>
            <a:r>
              <a:rPr lang="en-US" sz="1400" b="1" baseline="0" dirty="0" err="1"/>
              <a:t>adecvate</a:t>
            </a:r>
            <a:r>
              <a:rPr lang="en-US" sz="1400" b="1" baseline="0" dirty="0"/>
              <a:t> </a:t>
            </a:r>
            <a:r>
              <a:rPr lang="en-US" sz="1400" b="1" baseline="0" dirty="0" err="1"/>
              <a:t>si</a:t>
            </a:r>
            <a:r>
              <a:rPr lang="en-US" sz="1400" b="1" baseline="0" dirty="0"/>
              <a:t> </a:t>
            </a:r>
            <a:r>
              <a:rPr lang="en-US" sz="1400" b="1" baseline="0" dirty="0" err="1"/>
              <a:t>apoi</a:t>
            </a:r>
            <a:r>
              <a:rPr lang="en-US" sz="1400" b="1" baseline="0" dirty="0"/>
              <a:t> </a:t>
            </a:r>
            <a:r>
              <a:rPr lang="en-US" sz="1400" b="1" baseline="0" dirty="0" err="1"/>
              <a:t>putem</a:t>
            </a:r>
            <a:r>
              <a:rPr lang="en-US" sz="1400" b="1" baseline="0" dirty="0"/>
              <a:t> ACTIONA </a:t>
            </a:r>
            <a:r>
              <a:rPr lang="en-US" sz="1400" b="1" baseline="0" dirty="0" err="1"/>
              <a:t>luand</a:t>
            </a:r>
            <a:r>
              <a:rPr lang="en-US" sz="1400" b="1" baseline="0" dirty="0"/>
              <a:t> </a:t>
            </a:r>
            <a:r>
              <a:rPr lang="en-US" sz="1400" b="1" baseline="0" dirty="0" err="1"/>
              <a:t>decizii</a:t>
            </a:r>
            <a:r>
              <a:rPr lang="en-US" sz="1400" b="1" baseline="0" dirty="0"/>
              <a:t> </a:t>
            </a:r>
            <a:r>
              <a:rPr lang="en-US" sz="1400" b="1" baseline="0" dirty="0" err="1"/>
              <a:t>corecte</a:t>
            </a:r>
            <a:r>
              <a:rPr lang="en-US" sz="1400" b="1" baseline="0" dirty="0"/>
              <a:t>.</a:t>
            </a:r>
          </a:p>
          <a:p>
            <a:r>
              <a:rPr lang="en-US" sz="1400" b="1" baseline="0" dirty="0"/>
              <a:t> </a:t>
            </a:r>
          </a:p>
          <a:p>
            <a:endParaRPr lang="en-US" sz="1400" baseline="0" dirty="0"/>
          </a:p>
          <a:p>
            <a:endParaRPr lang="en-US" sz="1400" baseline="0" dirty="0"/>
          </a:p>
          <a:p>
            <a:r>
              <a:rPr lang="en-US" sz="1400" baseline="0" dirty="0"/>
              <a:t> in thinks important to call out the common thread across the technology capabilities – which revolves around translating data in actionable intelligence and better business decisions. </a:t>
            </a:r>
          </a:p>
          <a:p>
            <a:endParaRPr lang="en-US" sz="1400" baseline="0" dirty="0"/>
          </a:p>
          <a:p>
            <a:r>
              <a:rPr lang="en-US" sz="1400" baseline="0" dirty="0"/>
              <a:t>In order to do this you need to have a secure and scalable capability to </a:t>
            </a:r>
          </a:p>
          <a:p>
            <a:r>
              <a:rPr lang="en-US" sz="1400" b="1" baseline="0" dirty="0"/>
              <a:t>CONNECT</a:t>
            </a:r>
            <a:r>
              <a:rPr lang="en-US" sz="1400" b="1" dirty="0"/>
              <a:t> </a:t>
            </a:r>
            <a:r>
              <a:rPr lang="en-US" sz="1400" baseline="0" dirty="0"/>
              <a:t> everything</a:t>
            </a:r>
          </a:p>
          <a:p>
            <a:r>
              <a:rPr lang="en-US" sz="1400" b="1" baseline="0" dirty="0"/>
              <a:t>COLLECT</a:t>
            </a:r>
            <a:r>
              <a:rPr lang="en-US" sz="1400" baseline="0" dirty="0"/>
              <a:t> across the electrical distribution system: MV to Final Distribution &gt; 24/7, end to end, situational awareness</a:t>
            </a:r>
          </a:p>
          <a:p>
            <a:r>
              <a:rPr lang="en-US" sz="1400" b="1" baseline="0" dirty="0"/>
              <a:t>ANALYZE</a:t>
            </a:r>
            <a:r>
              <a:rPr lang="en-US" sz="1400" baseline="0" dirty="0"/>
              <a:t> data and convert to actionable information</a:t>
            </a:r>
          </a:p>
          <a:p>
            <a:r>
              <a:rPr lang="en-US" sz="1400" b="1" baseline="0" dirty="0"/>
              <a:t>ACT</a:t>
            </a:r>
            <a:r>
              <a:rPr lang="en-US" sz="1400" baseline="0" dirty="0"/>
              <a:t> to prevent future and solve existing problems</a:t>
            </a:r>
          </a:p>
        </p:txBody>
      </p:sp>
      <p:sp>
        <p:nvSpPr>
          <p:cNvPr id="4" name="Slide Number Placeholder 3"/>
          <p:cNvSpPr>
            <a:spLocks noGrp="1"/>
          </p:cNvSpPr>
          <p:nvPr>
            <p:ph type="sldNum" sz="quarter" idx="10"/>
          </p:nvPr>
        </p:nvSpPr>
        <p:spPr/>
        <p:txBody>
          <a:bodyPr/>
          <a:lstStyle/>
          <a:p>
            <a:pPr marL="0" marR="0" lvl="0" indent="0" algn="r" defTabSz="608446"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08446"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809121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b="1" dirty="0" err="1"/>
              <a:t>Scopul</a:t>
            </a:r>
            <a:r>
              <a:rPr lang="en-US" b="1" dirty="0"/>
              <a:t> </a:t>
            </a:r>
            <a:r>
              <a:rPr lang="en-US" b="1" dirty="0" err="1"/>
              <a:t>este</a:t>
            </a:r>
            <a:r>
              <a:rPr lang="en-US" b="1" dirty="0"/>
              <a:t> </a:t>
            </a:r>
            <a:r>
              <a:rPr lang="en-US" b="1" dirty="0" err="1"/>
              <a:t>sa</a:t>
            </a:r>
            <a:r>
              <a:rPr lang="en-US" b="1" dirty="0"/>
              <a:t> </a:t>
            </a:r>
            <a:r>
              <a:rPr lang="en-US" b="1" dirty="0" err="1"/>
              <a:t>oferim</a:t>
            </a:r>
            <a:r>
              <a:rPr lang="en-US" b="1" dirty="0"/>
              <a:t> </a:t>
            </a:r>
            <a:r>
              <a:rPr lang="en-US" b="1" dirty="0" err="1"/>
              <a:t>Siguranta</a:t>
            </a:r>
            <a:r>
              <a:rPr lang="en-US" b="1" dirty="0"/>
              <a:t> </a:t>
            </a:r>
            <a:r>
              <a:rPr lang="en-US" b="1" dirty="0" err="1"/>
              <a:t>sporita</a:t>
            </a:r>
            <a:r>
              <a:rPr lang="en-US" b="1" dirty="0"/>
              <a:t>, </a:t>
            </a:r>
            <a:r>
              <a:rPr lang="en-US" b="1" dirty="0" err="1"/>
              <a:t>Disponibilitate</a:t>
            </a:r>
            <a:r>
              <a:rPr lang="en-US" b="1" dirty="0"/>
              <a:t> </a:t>
            </a:r>
            <a:r>
              <a:rPr lang="en-US" b="1" dirty="0" err="1"/>
              <a:t>si</a:t>
            </a:r>
            <a:r>
              <a:rPr lang="en-US" b="1" dirty="0"/>
              <a:t> </a:t>
            </a:r>
            <a:r>
              <a:rPr lang="en-US" b="1" dirty="0" err="1"/>
              <a:t>Eficienta</a:t>
            </a:r>
            <a:r>
              <a:rPr lang="en-US" b="1" dirty="0"/>
              <a:t> </a:t>
            </a:r>
            <a:r>
              <a:rPr lang="en-US" b="1" dirty="0" err="1"/>
              <a:t>Energetica</a:t>
            </a:r>
            <a:r>
              <a:rPr lang="en-US" dirty="0"/>
              <a:t>.</a:t>
            </a:r>
          </a:p>
          <a:p>
            <a:endParaRPr lang="en-US" dirty="0"/>
          </a:p>
          <a:p>
            <a:r>
              <a:rPr lang="en-US" b="1" dirty="0"/>
              <a:t>Mai </a:t>
            </a:r>
            <a:r>
              <a:rPr lang="en-US" b="1" dirty="0" err="1"/>
              <a:t>concret</a:t>
            </a:r>
            <a:r>
              <a:rPr lang="en-US" b="1" dirty="0"/>
              <a:t>…cum?  </a:t>
            </a:r>
            <a:r>
              <a:rPr lang="en-US" dirty="0" err="1"/>
              <a:t>Conectand</a:t>
            </a:r>
            <a:r>
              <a:rPr lang="en-US" dirty="0"/>
              <a:t> </a:t>
            </a:r>
            <a:r>
              <a:rPr lang="en-US" dirty="0" err="1"/>
              <a:t>aparatele</a:t>
            </a:r>
            <a:r>
              <a:rPr lang="en-US" dirty="0"/>
              <a:t> din </a:t>
            </a:r>
            <a:r>
              <a:rPr lang="en-US" dirty="0" err="1"/>
              <a:t>tablourile</a:t>
            </a:r>
            <a:r>
              <a:rPr lang="en-US" dirty="0"/>
              <a:t> </a:t>
            </a:r>
            <a:r>
              <a:rPr lang="en-US" dirty="0" err="1"/>
              <a:t>electrice</a:t>
            </a:r>
            <a:r>
              <a:rPr lang="en-US" dirty="0"/>
              <a:t> la </a:t>
            </a:r>
            <a:r>
              <a:rPr lang="en-US" dirty="0" err="1"/>
              <a:t>retele</a:t>
            </a:r>
            <a:r>
              <a:rPr lang="en-US" dirty="0"/>
              <a:t> Ethernet</a:t>
            </a:r>
            <a:r>
              <a:rPr lang="en-US" baseline="0" dirty="0"/>
              <a:t> al </a:t>
            </a:r>
            <a:r>
              <a:rPr lang="en-US" baseline="0" dirty="0" err="1"/>
              <a:t>cladirilor</a:t>
            </a:r>
            <a:r>
              <a:rPr lang="en-US" baseline="0" dirty="0"/>
              <a:t> </a:t>
            </a:r>
            <a:r>
              <a:rPr lang="en-US" baseline="0" dirty="0" err="1"/>
              <a:t>si</a:t>
            </a:r>
            <a:r>
              <a:rPr lang="en-US" baseline="0" dirty="0"/>
              <a:t> eventual, la internet </a:t>
            </a:r>
            <a:r>
              <a:rPr lang="en-US" dirty="0" err="1"/>
              <a:t>realizam</a:t>
            </a:r>
            <a:r>
              <a:rPr lang="en-US" baseline="0" dirty="0"/>
              <a:t> </a:t>
            </a:r>
            <a:r>
              <a:rPr lang="en-US" baseline="0" dirty="0" err="1"/>
              <a:t>arhitecturi</a:t>
            </a:r>
            <a:r>
              <a:rPr lang="en-US" baseline="0" dirty="0"/>
              <a:t> de </a:t>
            </a:r>
            <a:r>
              <a:rPr lang="en-US" baseline="0" dirty="0" err="1"/>
              <a:t>comunicatie</a:t>
            </a:r>
            <a:r>
              <a:rPr lang="en-US" baseline="0" dirty="0"/>
              <a:t> </a:t>
            </a:r>
            <a:r>
              <a:rPr lang="en-US" baseline="0" dirty="0" err="1"/>
              <a:t>prin</a:t>
            </a:r>
            <a:r>
              <a:rPr lang="en-US" baseline="0" dirty="0"/>
              <a:t> care </a:t>
            </a:r>
            <a:r>
              <a:rPr lang="en-US" baseline="0" dirty="0" err="1"/>
              <a:t>comunicam</a:t>
            </a:r>
            <a:r>
              <a:rPr lang="en-US" baseline="0" dirty="0"/>
              <a:t> in </a:t>
            </a:r>
            <a:r>
              <a:rPr lang="en-US" baseline="0" dirty="0" err="1"/>
              <a:t>timp</a:t>
            </a:r>
            <a:r>
              <a:rPr lang="en-US" baseline="0" dirty="0"/>
              <a:t> real </a:t>
            </a:r>
            <a:r>
              <a:rPr lang="en-US" baseline="0" dirty="0" err="1"/>
              <a:t>oriunde</a:t>
            </a:r>
            <a:r>
              <a:rPr lang="en-US" baseline="0" dirty="0"/>
              <a:t>, </a:t>
            </a:r>
            <a:r>
              <a:rPr lang="en-US" baseline="0" dirty="0" err="1"/>
              <a:t>oricand</a:t>
            </a:r>
            <a:r>
              <a:rPr lang="en-US" baseline="0" dirty="0"/>
              <a:t> </a:t>
            </a:r>
            <a:r>
              <a:rPr lang="en-US" baseline="0" dirty="0" err="1"/>
              <a:t>si</a:t>
            </a:r>
            <a:r>
              <a:rPr lang="en-US" baseline="0" dirty="0"/>
              <a:t> </a:t>
            </a:r>
            <a:r>
              <a:rPr lang="en-US" baseline="0" dirty="0" err="1"/>
              <a:t>catre</a:t>
            </a:r>
            <a:r>
              <a:rPr lang="en-US" baseline="0" dirty="0"/>
              <a:t> </a:t>
            </a:r>
            <a:r>
              <a:rPr lang="en-US" baseline="0" dirty="0" err="1"/>
              <a:t>persoana</a:t>
            </a:r>
            <a:r>
              <a:rPr lang="en-US" baseline="0" dirty="0"/>
              <a:t> </a:t>
            </a:r>
            <a:r>
              <a:rPr lang="en-US" baseline="0" dirty="0" err="1"/>
              <a:t>potrivita</a:t>
            </a:r>
            <a:r>
              <a:rPr lang="en-US" baseline="0" dirty="0"/>
              <a:t> </a:t>
            </a:r>
            <a:r>
              <a:rPr lang="en-US" b="1" baseline="0" dirty="0" err="1"/>
              <a:t>prin</a:t>
            </a:r>
            <a:r>
              <a:rPr lang="en-US" b="1" baseline="0" dirty="0"/>
              <a:t> </a:t>
            </a:r>
            <a:r>
              <a:rPr lang="en-US" b="1" baseline="0" dirty="0" err="1"/>
              <a:t>notificari</a:t>
            </a:r>
            <a:r>
              <a:rPr lang="en-US" b="1" baseline="0" dirty="0"/>
              <a:t> </a:t>
            </a:r>
            <a:r>
              <a:rPr lang="en-US" b="1" baseline="0" dirty="0" err="1"/>
              <a:t>pe</a:t>
            </a:r>
            <a:r>
              <a:rPr lang="en-US" b="1" baseline="0" dirty="0"/>
              <a:t> email </a:t>
            </a:r>
            <a:r>
              <a:rPr lang="en-US" baseline="0" dirty="0" err="1"/>
              <a:t>eventualele</a:t>
            </a:r>
            <a:r>
              <a:rPr lang="en-US" baseline="0" dirty="0"/>
              <a:t> </a:t>
            </a:r>
            <a:r>
              <a:rPr lang="en-US" baseline="0" dirty="0" err="1"/>
              <a:t>defecte</a:t>
            </a:r>
            <a:r>
              <a:rPr lang="en-US" baseline="0" dirty="0"/>
              <a:t> </a:t>
            </a:r>
            <a:r>
              <a:rPr lang="en-US" baseline="0" dirty="0" err="1"/>
              <a:t>sau</a:t>
            </a:r>
            <a:r>
              <a:rPr lang="en-US" baseline="0" dirty="0"/>
              <a:t> </a:t>
            </a:r>
            <a:r>
              <a:rPr lang="en-US" baseline="0" dirty="0" err="1"/>
              <a:t>disfunctionalitati</a:t>
            </a:r>
            <a:r>
              <a:rPr lang="en-US" baseline="0" dirty="0"/>
              <a:t> care </a:t>
            </a:r>
            <a:r>
              <a:rPr lang="en-US" baseline="0" dirty="0" err="1"/>
              <a:t>apar</a:t>
            </a:r>
            <a:r>
              <a:rPr lang="en-US" baseline="0" dirty="0"/>
              <a:t> in </a:t>
            </a:r>
            <a:r>
              <a:rPr lang="en-US" baseline="0" dirty="0" err="1"/>
              <a:t>functionarea</a:t>
            </a:r>
            <a:r>
              <a:rPr lang="en-US" baseline="0" dirty="0"/>
              <a:t> </a:t>
            </a:r>
            <a:r>
              <a:rPr lang="en-US" baseline="0" dirty="0" err="1"/>
              <a:t>instalatile</a:t>
            </a:r>
            <a:r>
              <a:rPr lang="en-US" baseline="0" dirty="0"/>
              <a:t> </a:t>
            </a:r>
            <a:r>
              <a:rPr lang="en-US" baseline="0" dirty="0" err="1"/>
              <a:t>electrice</a:t>
            </a:r>
            <a:r>
              <a:rPr lang="en-US" baseline="0" dirty="0"/>
              <a:t> </a:t>
            </a:r>
            <a:r>
              <a:rPr lang="en-US" baseline="0" dirty="0" err="1"/>
              <a:t>oferind</a:t>
            </a:r>
            <a:r>
              <a:rPr lang="en-US" baseline="0" dirty="0"/>
              <a:t> </a:t>
            </a:r>
            <a:r>
              <a:rPr lang="en-US" baseline="0" dirty="0" err="1"/>
              <a:t>proactivitate</a:t>
            </a:r>
            <a:r>
              <a:rPr lang="en-US" baseline="0" dirty="0"/>
              <a:t> </a:t>
            </a:r>
            <a:r>
              <a:rPr lang="en-US" baseline="0" dirty="0" err="1"/>
              <a:t>si</a:t>
            </a:r>
            <a:r>
              <a:rPr lang="en-US" baseline="0" dirty="0"/>
              <a:t> </a:t>
            </a:r>
            <a:r>
              <a:rPr lang="en-US" baseline="0" dirty="0" err="1"/>
              <a:t>eficienta</a:t>
            </a:r>
            <a:r>
              <a:rPr lang="en-US" baseline="0" dirty="0"/>
              <a:t> </a:t>
            </a:r>
            <a:r>
              <a:rPr lang="en-US" baseline="0" dirty="0" err="1"/>
              <a:t>activitatii</a:t>
            </a:r>
            <a:r>
              <a:rPr lang="en-US" baseline="0" dirty="0"/>
              <a:t> de </a:t>
            </a:r>
            <a:r>
              <a:rPr lang="en-US" baseline="0" dirty="0" err="1"/>
              <a:t>mentenanta</a:t>
            </a:r>
            <a:r>
              <a:rPr lang="en-US" baseline="0" dirty="0"/>
              <a:t>. De </a:t>
            </a:r>
            <a:r>
              <a:rPr lang="en-US" baseline="0" dirty="0" err="1"/>
              <a:t>asemenea</a:t>
            </a:r>
            <a:r>
              <a:rPr lang="en-US" baseline="0" dirty="0"/>
              <a:t>, </a:t>
            </a:r>
            <a:r>
              <a:rPr lang="en-US" baseline="0" dirty="0" err="1"/>
              <a:t>prin</a:t>
            </a:r>
            <a:r>
              <a:rPr lang="en-US" baseline="0" dirty="0"/>
              <a:t> </a:t>
            </a:r>
            <a:r>
              <a:rPr lang="en-US" baseline="0" dirty="0" err="1"/>
              <a:t>solutii</a:t>
            </a:r>
            <a:r>
              <a:rPr lang="en-US" baseline="0" dirty="0"/>
              <a:t> </a:t>
            </a:r>
            <a:r>
              <a:rPr lang="en-US" baseline="0" dirty="0" err="1"/>
              <a:t>inteligente</a:t>
            </a:r>
            <a:r>
              <a:rPr lang="en-US" baseline="0" dirty="0"/>
              <a:t> </a:t>
            </a:r>
            <a:r>
              <a:rPr lang="en-US" baseline="0" dirty="0" err="1"/>
              <a:t>si</a:t>
            </a:r>
            <a:r>
              <a:rPr lang="en-US" baseline="0" dirty="0"/>
              <a:t> </a:t>
            </a:r>
            <a:r>
              <a:rPr lang="en-US" baseline="0" dirty="0" err="1"/>
              <a:t>conectate</a:t>
            </a:r>
            <a:r>
              <a:rPr lang="en-US" baseline="0" dirty="0"/>
              <a:t> de </a:t>
            </a:r>
            <a:r>
              <a:rPr lang="en-US" baseline="0" dirty="0" err="1"/>
              <a:t>contorizare</a:t>
            </a:r>
            <a:r>
              <a:rPr lang="en-US" baseline="0" dirty="0"/>
              <a:t> </a:t>
            </a:r>
            <a:r>
              <a:rPr lang="en-US" baseline="0" dirty="0" err="1"/>
              <a:t>urmarim</a:t>
            </a:r>
            <a:r>
              <a:rPr lang="en-US" baseline="0" dirty="0"/>
              <a:t> </a:t>
            </a:r>
            <a:r>
              <a:rPr lang="en-US" baseline="0" dirty="0" err="1"/>
              <a:t>consumurile</a:t>
            </a:r>
            <a:r>
              <a:rPr lang="en-US" baseline="0" dirty="0"/>
              <a:t>, </a:t>
            </a:r>
            <a:r>
              <a:rPr lang="en-US" baseline="0" dirty="0" err="1"/>
              <a:t>analizam</a:t>
            </a:r>
            <a:r>
              <a:rPr lang="en-US" baseline="0" dirty="0"/>
              <a:t> </a:t>
            </a:r>
            <a:r>
              <a:rPr lang="en-US" baseline="0" dirty="0" err="1"/>
              <a:t>trendurile</a:t>
            </a:r>
            <a:r>
              <a:rPr lang="en-US" baseline="0" dirty="0"/>
              <a:t> </a:t>
            </a:r>
            <a:r>
              <a:rPr lang="en-US" baseline="0" dirty="0" err="1"/>
              <a:t>si</a:t>
            </a:r>
            <a:r>
              <a:rPr lang="en-US" baseline="0" dirty="0"/>
              <a:t> </a:t>
            </a:r>
            <a:r>
              <a:rPr lang="en-US" baseline="0" dirty="0" err="1"/>
              <a:t>vedem</a:t>
            </a:r>
            <a:r>
              <a:rPr lang="en-US" baseline="0" dirty="0"/>
              <a:t> </a:t>
            </a:r>
            <a:r>
              <a:rPr lang="en-US" baseline="0" dirty="0" err="1"/>
              <a:t>unde</a:t>
            </a:r>
            <a:r>
              <a:rPr lang="en-US" baseline="0" dirty="0"/>
              <a:t> se pot face </a:t>
            </a:r>
            <a:r>
              <a:rPr lang="en-US" baseline="0" dirty="0" err="1"/>
              <a:t>economii</a:t>
            </a:r>
            <a:endParaRPr lang="en-US" dirty="0"/>
          </a:p>
          <a:p>
            <a:endParaRPr lang="en-US" dirty="0"/>
          </a:p>
          <a:p>
            <a:endParaRPr lang="en-US" dirty="0"/>
          </a:p>
          <a:p>
            <a:endParaRPr lang="en-US" dirty="0"/>
          </a:p>
          <a:p>
            <a:endParaRPr lang="en-US" dirty="0"/>
          </a:p>
          <a:p>
            <a:r>
              <a:rPr lang="en-US" dirty="0"/>
              <a:t>For</a:t>
            </a:r>
            <a:r>
              <a:rPr lang="en-US" baseline="0" dirty="0"/>
              <a:t> this purpose we are providing tailored solutions for large and critical </a:t>
            </a:r>
            <a:r>
              <a:rPr lang="en-US" baseline="0" dirty="0" err="1"/>
              <a:t>builings</a:t>
            </a:r>
            <a:r>
              <a:rPr lang="en-US" baseline="0" dirty="0"/>
              <a:t> on one side and for small &amp; medium </a:t>
            </a:r>
            <a:r>
              <a:rPr lang="en-US" baseline="0" dirty="0" err="1"/>
              <a:t>buidings</a:t>
            </a:r>
            <a:r>
              <a:rPr lang="en-US" baseline="0" dirty="0"/>
              <a:t> on the other side </a:t>
            </a:r>
          </a:p>
          <a:p>
            <a:endParaRPr lang="en-US" baseline="0" dirty="0"/>
          </a:p>
          <a:p>
            <a:r>
              <a:rPr lang="en-US" baseline="0" dirty="0"/>
              <a:t>In continuation to the products and solutions offered to large buildings, we also cater to the needs of Small &amp; Mid size buildings. We provide Ethernet ready Smart  panels which can be connected to our Facility Expert cloud platform for viewing energy dashboards and  obtaining operation and maintenance log. The cloud platform </a:t>
            </a:r>
            <a:r>
              <a:rPr lang="en-US" sz="1200" b="0" i="0" kern="1200" baseline="0" dirty="0">
                <a:solidFill>
                  <a:schemeClr val="tx1"/>
                </a:solidFill>
                <a:effectLst/>
                <a:latin typeface="+mn-lt"/>
                <a:ea typeface="+mn-ea"/>
                <a:cs typeface="+mn-cs"/>
              </a:rPr>
              <a:t>is</a:t>
            </a:r>
            <a:r>
              <a:rPr lang="en-US" sz="1200" b="0" i="0" kern="1200" dirty="0">
                <a:solidFill>
                  <a:schemeClr val="tx1"/>
                </a:solidFill>
                <a:effectLst/>
                <a:latin typeface="+mn-lt"/>
                <a:ea typeface="+mn-ea"/>
                <a:cs typeface="+mn-cs"/>
              </a:rPr>
              <a:t> targeted at facility managers or business managers in</a:t>
            </a:r>
            <a:r>
              <a:rPr lang="en-US" sz="1200" b="0" i="0" kern="1200" baseline="0" dirty="0">
                <a:solidFill>
                  <a:schemeClr val="tx1"/>
                </a:solidFill>
                <a:effectLst/>
                <a:latin typeface="+mn-lt"/>
                <a:ea typeface="+mn-ea"/>
                <a:cs typeface="+mn-cs"/>
              </a:rPr>
              <a:t> small and mid size buildings, where they have limited workforce</a:t>
            </a:r>
            <a:r>
              <a:rPr lang="en-US" sz="1200" b="0" i="0" kern="1200" dirty="0">
                <a:solidFill>
                  <a:schemeClr val="tx1"/>
                </a:solidFill>
                <a:effectLst/>
                <a:latin typeface="+mn-lt"/>
                <a:ea typeface="+mn-ea"/>
                <a:cs typeface="+mn-cs"/>
              </a:rPr>
              <a:t> to be more efficient in operating and maintaining their building or industrial facility.</a:t>
            </a:r>
          </a:p>
          <a:p>
            <a:endParaRPr lang="en-US" sz="1200" b="0" i="0" kern="1200" baseline="0" dirty="0">
              <a:solidFill>
                <a:schemeClr val="tx1"/>
              </a:solidFill>
              <a:effectLst/>
              <a:latin typeface="+mn-lt"/>
              <a:ea typeface="+mn-ea"/>
              <a:cs typeface="+mn-cs"/>
            </a:endParaRPr>
          </a:p>
          <a:p>
            <a:r>
              <a:rPr lang="en-US" sz="1200" b="0" i="0" kern="1200" baseline="0" dirty="0">
                <a:solidFill>
                  <a:schemeClr val="tx1"/>
                </a:solidFill>
                <a:effectLst/>
                <a:latin typeface="+mn-lt"/>
                <a:ea typeface="+mn-ea"/>
                <a:cs typeface="+mn-cs"/>
              </a:rPr>
              <a:t>We offer Ethernet ready </a:t>
            </a:r>
            <a:r>
              <a:rPr lang="en-US" sz="1200" b="0" i="0" kern="1200" dirty="0">
                <a:solidFill>
                  <a:schemeClr val="tx1"/>
                </a:solidFill>
                <a:effectLst/>
                <a:latin typeface="+mn-lt"/>
                <a:ea typeface="+mn-ea"/>
                <a:cs typeface="+mn-cs"/>
              </a:rPr>
              <a:t>Smart Panels combined with Facility Expert as the 1st step to connect to a building and improve its performance, ensure business continuity while optimizing OPEX. </a:t>
            </a:r>
          </a:p>
          <a:p>
            <a:r>
              <a:rPr lang="en-US" sz="1200" b="0" i="0" kern="1200" dirty="0">
                <a:solidFill>
                  <a:schemeClr val="tx1"/>
                </a:solidFill>
                <a:effectLst/>
                <a:latin typeface="+mn-lt"/>
                <a:ea typeface="+mn-ea"/>
                <a:cs typeface="+mn-cs"/>
              </a:rPr>
              <a:t>This collectively</a:t>
            </a:r>
            <a:r>
              <a:rPr lang="en-US" sz="1200" b="0" i="0" kern="1200" baseline="0" dirty="0">
                <a:solidFill>
                  <a:schemeClr val="tx1"/>
                </a:solidFill>
                <a:effectLst/>
                <a:latin typeface="+mn-lt"/>
                <a:ea typeface="+mn-ea"/>
                <a:cs typeface="+mn-cs"/>
              </a:rPr>
              <a:t> provides :  1. safety by protecting people and equipment while </a:t>
            </a:r>
            <a:r>
              <a:rPr lang="en-US" sz="1200" b="0" i="0" kern="1200" baseline="0" dirty="0" err="1">
                <a:solidFill>
                  <a:schemeClr val="tx1"/>
                </a:solidFill>
                <a:effectLst/>
                <a:latin typeface="+mn-lt"/>
                <a:ea typeface="+mn-ea"/>
                <a:cs typeface="+mn-cs"/>
              </a:rPr>
              <a:t>compliying</a:t>
            </a:r>
            <a:r>
              <a:rPr lang="en-US" sz="1200" b="0" i="0" kern="1200" baseline="0" dirty="0">
                <a:solidFill>
                  <a:schemeClr val="tx1"/>
                </a:solidFill>
                <a:effectLst/>
                <a:latin typeface="+mn-lt"/>
                <a:ea typeface="+mn-ea"/>
                <a:cs typeface="+mn-cs"/>
              </a:rPr>
              <a:t> with the regulatory guidelines</a:t>
            </a:r>
          </a:p>
          <a:p>
            <a:r>
              <a:rPr lang="en-US" sz="1200" b="0" i="0" kern="1200" baseline="0" dirty="0">
                <a:solidFill>
                  <a:schemeClr val="tx1"/>
                </a:solidFill>
                <a:effectLst/>
                <a:latin typeface="+mn-lt"/>
                <a:ea typeface="+mn-ea"/>
                <a:cs typeface="+mn-cs"/>
              </a:rPr>
              <a:t>2. Availability in terms of power required to keep the loads up and running and recovery of the power in case of electrical events which can lead to temporary downtime.</a:t>
            </a:r>
          </a:p>
          <a:p>
            <a:r>
              <a:rPr lang="en-US" sz="1200" b="0" i="0" kern="1200" baseline="0" dirty="0">
                <a:solidFill>
                  <a:schemeClr val="tx1"/>
                </a:solidFill>
                <a:effectLst/>
                <a:latin typeface="+mn-lt"/>
                <a:ea typeface="+mn-ea"/>
                <a:cs typeface="+mn-cs"/>
              </a:rPr>
              <a:t>3. Efficiency through continuous maintenance logs at your fingertips and reports to save on the energy consumption and implement strategies to be energy efficient. </a:t>
            </a:r>
            <a:endParaRPr lang="en-US" baseline="0" dirty="0"/>
          </a:p>
        </p:txBody>
      </p:sp>
      <p:sp>
        <p:nvSpPr>
          <p:cNvPr id="4" name="Slide Number Placeholder 3"/>
          <p:cNvSpPr>
            <a:spLocks noGrp="1"/>
          </p:cNvSpPr>
          <p:nvPr>
            <p:ph type="sldNum" sz="quarter" idx="10"/>
          </p:nvPr>
        </p:nvSpPr>
        <p:spPr/>
        <p:txBody>
          <a:bodyPr/>
          <a:lstStyle/>
          <a:p>
            <a:pPr defTabSz="306649">
              <a:defRPr/>
            </a:pPr>
            <a:fld id="{F8598994-38E8-4C7F-B78D-4FC598D6F91C}" type="slidenum">
              <a:rPr lang="en-US" sz="900">
                <a:solidFill>
                  <a:prstClr val="black"/>
                </a:solidFill>
                <a:latin typeface="Calibri"/>
              </a:rPr>
              <a:pPr defTabSz="306649">
                <a:defRPr/>
              </a:pPr>
              <a:t>9</a:t>
            </a:fld>
            <a:endParaRPr lang="en-US" sz="900" dirty="0">
              <a:solidFill>
                <a:prstClr val="black"/>
              </a:solidFill>
              <a:latin typeface="Calibri"/>
            </a:endParaRPr>
          </a:p>
        </p:txBody>
      </p:sp>
    </p:spTree>
    <p:extLst>
      <p:ext uri="{BB962C8B-B14F-4D97-AF65-F5344CB8AC3E}">
        <p14:creationId xmlns:p14="http://schemas.microsoft.com/office/powerpoint/2010/main" val="29301571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19.emf"/><Relationship Id="rId4" Type="http://schemas.openxmlformats.org/officeDocument/2006/relationships/oleObject" Target="../embeddings/oleObject2.bin"/></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 Id="rId4" Type="http://schemas.microsoft.com/office/2007/relationships/hdphoto" Target="../media/hdphoto1.wdp"/></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6" name="Rectangle 5"/>
          <p:cNvSpPr/>
          <p:nvPr userDrawn="1"/>
        </p:nvSpPr>
        <p:spPr>
          <a:xfrm>
            <a:off x="11215283" y="5983095"/>
            <a:ext cx="619933" cy="5245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p>
        </p:txBody>
      </p:sp>
      <p:sp>
        <p:nvSpPr>
          <p:cNvPr id="2" name="Title 1"/>
          <p:cNvSpPr>
            <a:spLocks noGrp="1"/>
          </p:cNvSpPr>
          <p:nvPr>
            <p:ph type="ctrTitle" hasCustomPrompt="1"/>
          </p:nvPr>
        </p:nvSpPr>
        <p:spPr>
          <a:xfrm>
            <a:off x="608013" y="2130442"/>
            <a:ext cx="10971212" cy="1470025"/>
          </a:xfrm>
        </p:spPr>
        <p:txBody>
          <a:bodyPr lIns="0" anchor="b" anchorCtr="0">
            <a:noAutofit/>
          </a:bodyPr>
          <a:lstStyle>
            <a:lvl1pPr algn="l">
              <a:defRPr sz="3600" b="1">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609440" y="3644659"/>
            <a:ext cx="10971212" cy="1099871"/>
          </a:xfrm>
        </p:spPr>
        <p:txBody>
          <a:bodyPr lIns="0">
            <a:noAutofit/>
          </a:bodyPr>
          <a:lstStyle>
            <a:lvl1pPr marL="0" indent="0" algn="l">
              <a:buNone/>
              <a:defRPr sz="2300">
                <a:solidFill>
                  <a:srgbClr val="626469"/>
                </a:solidFill>
                <a:latin typeface="Arial" pitchFamily="34" charset="0"/>
                <a:cs typeface="Arial" pitchFamily="34" charset="0"/>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5" indent="0" algn="ctr">
              <a:buNone/>
              <a:defRPr>
                <a:solidFill>
                  <a:schemeClr val="tx1">
                    <a:tint val="75000"/>
                  </a:schemeClr>
                </a:solidFill>
              </a:defRPr>
            </a:lvl4pPr>
            <a:lvl5pPr marL="1828648" indent="0" algn="ctr">
              <a:buNone/>
              <a:defRPr>
                <a:solidFill>
                  <a:schemeClr val="tx1">
                    <a:tint val="75000"/>
                  </a:schemeClr>
                </a:solidFill>
              </a:defRPr>
            </a:lvl5pPr>
            <a:lvl6pPr marL="2285809" indent="0" algn="ctr">
              <a:buNone/>
              <a:defRPr>
                <a:solidFill>
                  <a:schemeClr val="tx1">
                    <a:tint val="75000"/>
                  </a:schemeClr>
                </a:solidFill>
              </a:defRPr>
            </a:lvl6pPr>
            <a:lvl7pPr marL="2742971"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609606" y="5124587"/>
            <a:ext cx="8586159" cy="1120775"/>
          </a:xfrm>
        </p:spPr>
        <p:txBody>
          <a:bodyPr>
            <a:normAutofit/>
          </a:bodyPr>
          <a:lstStyle>
            <a:lvl1pPr marL="0" indent="0">
              <a:buNone/>
              <a:defRPr sz="1600">
                <a:solidFill>
                  <a:srgbClr val="898989"/>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9689214" y="5904395"/>
            <a:ext cx="1891445" cy="564671"/>
          </a:xfrm>
          <a:prstGeom prst="rect">
            <a:avLst/>
          </a:prstGeom>
          <a:noFill/>
        </p:spPr>
      </p:pic>
    </p:spTree>
    <p:extLst>
      <p:ext uri="{BB962C8B-B14F-4D97-AF65-F5344CB8AC3E}">
        <p14:creationId xmlns:p14="http://schemas.microsoft.com/office/powerpoint/2010/main" val="12688631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White">
    <p:spTree>
      <p:nvGrpSpPr>
        <p:cNvPr id="1" name=""/>
        <p:cNvGrpSpPr/>
        <p:nvPr/>
      </p:nvGrpSpPr>
      <p:grpSpPr>
        <a:xfrm>
          <a:off x="0" y="0"/>
          <a:ext cx="0" cy="0"/>
          <a:chOff x="0" y="0"/>
          <a:chExt cx="0" cy="0"/>
        </a:xfrm>
      </p:grpSpPr>
      <p:sp>
        <p:nvSpPr>
          <p:cNvPr id="2" name="Title 1"/>
          <p:cNvSpPr>
            <a:spLocks noGrp="1"/>
          </p:cNvSpPr>
          <p:nvPr>
            <p:ph type="title"/>
          </p:nvPr>
        </p:nvSpPr>
        <p:spPr>
          <a:xfrm>
            <a:off x="609446" y="271474"/>
            <a:ext cx="10969784" cy="1095375"/>
          </a:xfrm>
        </p:spPr>
        <p:txBody>
          <a:bodyPr/>
          <a:lstStyle>
            <a:lvl1pPr>
              <a:defRPr>
                <a:solidFill>
                  <a:srgbClr val="009530"/>
                </a:solidFill>
              </a:defRPr>
            </a:lvl1pPr>
          </a:lstStyle>
          <a:p>
            <a:r>
              <a:rPr lang="en-US" dirty="0"/>
              <a:t>Click to edit Master title style</a:t>
            </a:r>
          </a:p>
        </p:txBody>
      </p:sp>
      <p:sp>
        <p:nvSpPr>
          <p:cNvPr id="3" name="Text Placeholder 2"/>
          <p:cNvSpPr>
            <a:spLocks noGrp="1"/>
          </p:cNvSpPr>
          <p:nvPr>
            <p:ph type="body" idx="1"/>
          </p:nvPr>
        </p:nvSpPr>
        <p:spPr>
          <a:xfrm>
            <a:off x="609443" y="1509713"/>
            <a:ext cx="5184933" cy="517525"/>
          </a:xfrm>
        </p:spPr>
        <p:txBody>
          <a:bodyPr rIns="0" anchor="t" anchorCtr="0"/>
          <a:lstStyle>
            <a:lvl1pPr marL="0" indent="0" algn="l">
              <a:buNone/>
              <a:defRPr sz="2300" b="1">
                <a:solidFill>
                  <a:srgbClr val="009530"/>
                </a:solidFill>
                <a:latin typeface="Arial" pitchFamily="34" charset="0"/>
                <a:cs typeface="Arial" pitchFamily="34" charset="0"/>
              </a:defRPr>
            </a:lvl1pPr>
            <a:lvl2pPr marL="457161" indent="0">
              <a:buNone/>
              <a:defRPr sz="2000" b="1"/>
            </a:lvl2pPr>
            <a:lvl3pPr marL="914323" indent="0">
              <a:buNone/>
              <a:defRPr sz="1900" b="1"/>
            </a:lvl3pPr>
            <a:lvl4pPr marL="1371485" indent="0">
              <a:buNone/>
              <a:defRPr sz="1600" b="1"/>
            </a:lvl4pPr>
            <a:lvl5pPr marL="1828648" indent="0">
              <a:buNone/>
              <a:defRPr sz="1600" b="1"/>
            </a:lvl5pPr>
            <a:lvl6pPr marL="2285809" indent="0">
              <a:buNone/>
              <a:defRPr sz="1600" b="1"/>
            </a:lvl6pPr>
            <a:lvl7pPr marL="2742971" indent="0">
              <a:buNone/>
              <a:defRPr sz="1600" b="1"/>
            </a:lvl7pPr>
            <a:lvl8pPr marL="3200133" indent="0">
              <a:buNone/>
              <a:defRPr sz="1600" b="1"/>
            </a:lvl8pPr>
            <a:lvl9pPr marL="3657296" indent="0">
              <a:buNone/>
              <a:defRPr sz="1600" b="1"/>
            </a:lvl9pPr>
          </a:lstStyle>
          <a:p>
            <a:pPr lvl="0"/>
            <a:r>
              <a:rPr lang="en-US" dirty="0"/>
              <a:t>Click to edit Master text styles</a:t>
            </a:r>
          </a:p>
        </p:txBody>
      </p:sp>
      <p:sp>
        <p:nvSpPr>
          <p:cNvPr id="5" name="Text Placeholder 4"/>
          <p:cNvSpPr>
            <a:spLocks noGrp="1"/>
          </p:cNvSpPr>
          <p:nvPr>
            <p:ph type="body" sz="quarter" idx="3"/>
          </p:nvPr>
        </p:nvSpPr>
        <p:spPr>
          <a:xfrm>
            <a:off x="6191757" y="1509713"/>
            <a:ext cx="5387470" cy="517525"/>
          </a:xfrm>
        </p:spPr>
        <p:txBody>
          <a:bodyPr rIns="0" anchor="t" anchorCtr="0"/>
          <a:lstStyle>
            <a:lvl1pPr marL="0" indent="0" algn="l">
              <a:buNone/>
              <a:defRPr sz="2300" b="1">
                <a:solidFill>
                  <a:srgbClr val="009530"/>
                </a:solidFill>
                <a:latin typeface="Arial" pitchFamily="34" charset="0"/>
                <a:cs typeface="Arial" pitchFamily="34" charset="0"/>
              </a:defRPr>
            </a:lvl1pPr>
            <a:lvl2pPr marL="457161" indent="0">
              <a:buNone/>
              <a:defRPr sz="2000" b="1"/>
            </a:lvl2pPr>
            <a:lvl3pPr marL="914323" indent="0">
              <a:buNone/>
              <a:defRPr sz="1900" b="1"/>
            </a:lvl3pPr>
            <a:lvl4pPr marL="1371485" indent="0">
              <a:buNone/>
              <a:defRPr sz="1600" b="1"/>
            </a:lvl4pPr>
            <a:lvl5pPr marL="1828648" indent="0">
              <a:buNone/>
              <a:defRPr sz="1600" b="1"/>
            </a:lvl5pPr>
            <a:lvl6pPr marL="2285809" indent="0">
              <a:buNone/>
              <a:defRPr sz="1600" b="1"/>
            </a:lvl6pPr>
            <a:lvl7pPr marL="2742971" indent="0">
              <a:buNone/>
              <a:defRPr sz="1600" b="1"/>
            </a:lvl7pPr>
            <a:lvl8pPr marL="3200133" indent="0">
              <a:buNone/>
              <a:defRPr sz="1600" b="1"/>
            </a:lvl8pPr>
            <a:lvl9pPr marL="3657296" indent="0">
              <a:buNone/>
              <a:defRPr sz="1600" b="1"/>
            </a:lvl9pPr>
          </a:lstStyle>
          <a:p>
            <a:pPr lvl="0"/>
            <a:r>
              <a:rPr lang="en-US" dirty="0"/>
              <a:t>Click to edit Master text styles</a:t>
            </a:r>
          </a:p>
        </p:txBody>
      </p:sp>
      <p:sp>
        <p:nvSpPr>
          <p:cNvPr id="8" name="Text Placeholder 7"/>
          <p:cNvSpPr>
            <a:spLocks noGrp="1"/>
          </p:cNvSpPr>
          <p:nvPr>
            <p:ph type="body" sz="quarter" idx="10"/>
          </p:nvPr>
        </p:nvSpPr>
        <p:spPr>
          <a:xfrm>
            <a:off x="609605" y="2144721"/>
            <a:ext cx="5184775" cy="4127499"/>
          </a:xfrm>
        </p:spPr>
        <p:txBody>
          <a:bodyPr/>
          <a:lstStyle>
            <a:lvl1pPr>
              <a:defRPr sz="2000"/>
            </a:lvl1pPr>
            <a:lvl2pPr>
              <a:defRPr sz="1900"/>
            </a:lvl2pPr>
            <a:lvl3pPr>
              <a:defRPr sz="1600"/>
            </a:lvl3pPr>
            <a:lvl4pPr>
              <a:defRPr sz="15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1"/>
          </p:nvPr>
        </p:nvSpPr>
        <p:spPr>
          <a:xfrm>
            <a:off x="6191250" y="2144721"/>
            <a:ext cx="5387975" cy="4127499"/>
          </a:xfrm>
        </p:spPr>
        <p:txBody>
          <a:bodyPr/>
          <a:lstStyle>
            <a:lvl1pPr>
              <a:defRPr sz="2000"/>
            </a:lvl1pPr>
            <a:lvl2pPr>
              <a:defRPr sz="1900"/>
            </a:lvl2pPr>
            <a:lvl3pPr>
              <a:defRPr sz="1600"/>
            </a:lvl3pPr>
            <a:lvl4pPr>
              <a:defRPr sz="15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222035139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36469" y="2284745"/>
            <a:ext cx="11434116" cy="1641475"/>
          </a:xfrm>
          <a:prstGeom prst="rect">
            <a:avLst/>
          </a:prstGeom>
        </p:spPr>
        <p:txBody>
          <a:bodyPr lIns="0" tIns="0" rIns="0" bIns="0" anchor="t">
            <a:spAutoFit/>
          </a:bodyPr>
          <a:lstStyle>
            <a:lvl1pPr marL="0" indent="0" algn="ctr">
              <a:buFont typeface="Arial"/>
              <a:buNone/>
              <a:defRPr sz="5300">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336464" y="3940605"/>
            <a:ext cx="11434115" cy="415499"/>
          </a:xfrm>
          <a:prstGeom prst="rect">
            <a:avLst/>
          </a:prstGeom>
        </p:spPr>
        <p:txBody>
          <a:bodyPr lIns="0" tIns="0" rIns="0" bIns="0">
            <a:spAutoFit/>
          </a:bodyPr>
          <a:lstStyle>
            <a:lvl1pPr marL="0" indent="0" algn="ctr">
              <a:buNone/>
              <a:defRPr sz="2700">
                <a:solidFill>
                  <a:schemeClr val="bg1"/>
                </a:solidFill>
              </a:defRPr>
            </a:lvl1pPr>
            <a:lvl2pPr marL="609356" indent="0" algn="ctr">
              <a:buNone/>
              <a:defRPr>
                <a:solidFill>
                  <a:schemeClr val="tx1">
                    <a:tint val="75000"/>
                  </a:schemeClr>
                </a:solidFill>
              </a:defRPr>
            </a:lvl2pPr>
            <a:lvl3pPr marL="1218715" indent="0" algn="ctr">
              <a:buNone/>
              <a:defRPr>
                <a:solidFill>
                  <a:schemeClr val="tx1">
                    <a:tint val="75000"/>
                  </a:schemeClr>
                </a:solidFill>
              </a:defRPr>
            </a:lvl3pPr>
            <a:lvl4pPr marL="1828071" indent="0" algn="ctr">
              <a:buNone/>
              <a:defRPr>
                <a:solidFill>
                  <a:schemeClr val="tx1">
                    <a:tint val="75000"/>
                  </a:schemeClr>
                </a:solidFill>
              </a:defRPr>
            </a:lvl4pPr>
            <a:lvl5pPr marL="2437428" indent="0" algn="ctr">
              <a:buNone/>
              <a:defRPr>
                <a:solidFill>
                  <a:schemeClr val="tx1">
                    <a:tint val="75000"/>
                  </a:schemeClr>
                </a:solidFill>
              </a:defRPr>
            </a:lvl5pPr>
            <a:lvl6pPr marL="3046781" indent="0" algn="ctr">
              <a:buNone/>
              <a:defRPr>
                <a:solidFill>
                  <a:schemeClr val="tx1">
                    <a:tint val="75000"/>
                  </a:schemeClr>
                </a:solidFill>
              </a:defRPr>
            </a:lvl6pPr>
            <a:lvl7pPr marL="3656139" indent="0" algn="ctr">
              <a:buNone/>
              <a:defRPr>
                <a:solidFill>
                  <a:schemeClr val="tx1">
                    <a:tint val="75000"/>
                  </a:schemeClr>
                </a:solidFill>
              </a:defRPr>
            </a:lvl7pPr>
            <a:lvl8pPr marL="4265493" indent="0" algn="ctr">
              <a:buNone/>
              <a:defRPr>
                <a:solidFill>
                  <a:schemeClr val="tx1">
                    <a:tint val="75000"/>
                  </a:schemeClr>
                </a:solidFill>
              </a:defRPr>
            </a:lvl8pPr>
            <a:lvl9pPr marL="4874849" indent="0" algn="ctr">
              <a:buNone/>
              <a:defRPr>
                <a:solidFill>
                  <a:schemeClr val="tx1">
                    <a:tint val="75000"/>
                  </a:schemeClr>
                </a:solidFill>
              </a:defRPr>
            </a:lvl9pPr>
          </a:lstStyle>
          <a:p>
            <a:r>
              <a:rPr lang="en-US" dirty="0"/>
              <a:t>Click To Edit Optional Subtitle</a:t>
            </a:r>
          </a:p>
        </p:txBody>
      </p:sp>
      <p:pic>
        <p:nvPicPr>
          <p:cNvPr id="8" name="Picture 7" descr="schneider_LIO_White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72139" y="6028184"/>
            <a:ext cx="2542011" cy="675885"/>
          </a:xfrm>
          <a:prstGeom prst="rect">
            <a:avLst/>
          </a:prstGeom>
        </p:spPr>
      </p:pic>
      <p:sp>
        <p:nvSpPr>
          <p:cNvPr id="14" name="Slide Number Placeholder 5"/>
          <p:cNvSpPr>
            <a:spLocks noGrp="1"/>
          </p:cNvSpPr>
          <p:nvPr>
            <p:ph type="sldNum" sz="quarter" idx="4"/>
          </p:nvPr>
        </p:nvSpPr>
        <p:spPr>
          <a:xfrm>
            <a:off x="2329916" y="647621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56"/>
            <a:r>
              <a:rPr lang="en-US" dirty="0"/>
              <a:t>Page </a:t>
            </a:r>
            <a:fld id="{5A9C12DC-491F-9444-86A2-13AC5C62A2FC}" type="slidenum">
              <a:rPr lang="en-US" smtClean="0"/>
              <a:pPr defTabSz="609356"/>
              <a:t>‹#›</a:t>
            </a:fld>
            <a:endParaRPr lang="en-US" dirty="0"/>
          </a:p>
        </p:txBody>
      </p:sp>
      <p:sp>
        <p:nvSpPr>
          <p:cNvPr id="15" name="Footer Placeholder 4"/>
          <p:cNvSpPr>
            <a:spLocks noGrp="1"/>
          </p:cNvSpPr>
          <p:nvPr>
            <p:ph type="ftr" sz="quarter" idx="3"/>
          </p:nvPr>
        </p:nvSpPr>
        <p:spPr>
          <a:xfrm>
            <a:off x="336469" y="6476215"/>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56"/>
            <a:r>
              <a:rPr lang="en-US" dirty="0"/>
              <a:t>Confidential Property of Schneider Electric |</a:t>
            </a:r>
          </a:p>
        </p:txBody>
      </p:sp>
    </p:spTree>
    <p:extLst>
      <p:ext uri="{BB962C8B-B14F-4D97-AF65-F5344CB8AC3E}">
        <p14:creationId xmlns:p14="http://schemas.microsoft.com/office/powerpoint/2010/main" val="24510897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eave Image 1">
    <p:spTree>
      <p:nvGrpSpPr>
        <p:cNvPr id="1" name=""/>
        <p:cNvGrpSpPr/>
        <p:nvPr/>
      </p:nvGrpSpPr>
      <p:grpSpPr>
        <a:xfrm>
          <a:off x="0" y="0"/>
          <a:ext cx="0" cy="0"/>
          <a:chOff x="0" y="0"/>
          <a:chExt cx="0" cy="0"/>
        </a:xfrm>
      </p:grpSpPr>
      <p:pic>
        <p:nvPicPr>
          <p:cNvPr id="2" name="Picture 1" descr="Weave_175139600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8825" cy="6858000"/>
          </a:xfrm>
          <a:prstGeom prst="rect">
            <a:avLst/>
          </a:prstGeom>
        </p:spPr>
      </p:pic>
      <p:sp>
        <p:nvSpPr>
          <p:cNvPr id="14" name="Rectangle 13"/>
          <p:cNvSpPr/>
          <p:nvPr userDrawn="1"/>
        </p:nvSpPr>
        <p:spPr>
          <a:xfrm>
            <a:off x="0" y="4826964"/>
            <a:ext cx="12188825"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72" tIns="60936" rIns="121872" bIns="60936" rtlCol="0" anchor="ctr"/>
          <a:lstStyle/>
          <a:p>
            <a:pPr algn="ctr" defTabSz="609356"/>
            <a:endParaRPr lang="en-US" sz="2400" dirty="0">
              <a:solidFill>
                <a:prstClr val="white"/>
              </a:solidFill>
            </a:endParaRPr>
          </a:p>
        </p:txBody>
      </p:sp>
      <p:pic>
        <p:nvPicPr>
          <p:cNvPr id="13" name="Picture 12"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72139" y="6028184"/>
            <a:ext cx="2542011" cy="675885"/>
          </a:xfrm>
          <a:prstGeom prst="rect">
            <a:avLst/>
          </a:prstGeom>
        </p:spPr>
      </p:pic>
      <p:sp>
        <p:nvSpPr>
          <p:cNvPr id="8" name="Slide Number Placeholder 5"/>
          <p:cNvSpPr>
            <a:spLocks noGrp="1"/>
          </p:cNvSpPr>
          <p:nvPr>
            <p:ph type="sldNum" sz="quarter" idx="4"/>
          </p:nvPr>
        </p:nvSpPr>
        <p:spPr>
          <a:xfrm>
            <a:off x="2329916" y="647621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56"/>
            <a:r>
              <a:rPr lang="en-US" dirty="0"/>
              <a:t>Page </a:t>
            </a:r>
            <a:fld id="{5A9C12DC-491F-9444-86A2-13AC5C62A2FC}" type="slidenum">
              <a:rPr lang="en-US" smtClean="0"/>
              <a:pPr defTabSz="609356"/>
              <a:t>‹#›</a:t>
            </a:fld>
            <a:endParaRPr lang="en-US" dirty="0"/>
          </a:p>
        </p:txBody>
      </p:sp>
      <p:sp>
        <p:nvSpPr>
          <p:cNvPr id="9" name="Footer Placeholder 4"/>
          <p:cNvSpPr>
            <a:spLocks noGrp="1"/>
          </p:cNvSpPr>
          <p:nvPr>
            <p:ph type="ftr" sz="quarter" idx="3"/>
          </p:nvPr>
        </p:nvSpPr>
        <p:spPr>
          <a:xfrm>
            <a:off x="336469" y="6476215"/>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56"/>
            <a:r>
              <a:rPr lang="en-US" dirty="0"/>
              <a:t>Confidential Property of Schneider Electric |</a:t>
            </a:r>
          </a:p>
        </p:txBody>
      </p:sp>
    </p:spTree>
    <p:extLst>
      <p:ext uri="{BB962C8B-B14F-4D97-AF65-F5344CB8AC3E}">
        <p14:creationId xmlns:p14="http://schemas.microsoft.com/office/powerpoint/2010/main" val="252831822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eave Image 2">
    <p:spTree>
      <p:nvGrpSpPr>
        <p:cNvPr id="1" name=""/>
        <p:cNvGrpSpPr/>
        <p:nvPr/>
      </p:nvGrpSpPr>
      <p:grpSpPr>
        <a:xfrm>
          <a:off x="0" y="0"/>
          <a:ext cx="0" cy="0"/>
          <a:chOff x="0" y="0"/>
          <a:chExt cx="0" cy="0"/>
        </a:xfrm>
      </p:grpSpPr>
      <p:pic>
        <p:nvPicPr>
          <p:cNvPr id="10" name="Picture 9" descr="Weave_463028807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8825" cy="6858000"/>
          </a:xfrm>
          <a:prstGeom prst="rect">
            <a:avLst/>
          </a:prstGeom>
        </p:spPr>
      </p:pic>
      <p:sp>
        <p:nvSpPr>
          <p:cNvPr id="4" name="Rectangle 3"/>
          <p:cNvSpPr/>
          <p:nvPr userDrawn="1"/>
        </p:nvSpPr>
        <p:spPr>
          <a:xfrm>
            <a:off x="0" y="4826964"/>
            <a:ext cx="12188825"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72" tIns="60936" rIns="121872" bIns="60936" rtlCol="0" anchor="ctr"/>
          <a:lstStyle/>
          <a:p>
            <a:pPr algn="ctr" defTabSz="609356"/>
            <a:endParaRPr lang="en-US" sz="2400" dirty="0">
              <a:solidFill>
                <a:prstClr val="white"/>
              </a:solidFill>
            </a:endParaRPr>
          </a:p>
        </p:txBody>
      </p:sp>
      <p:pic>
        <p:nvPicPr>
          <p:cNvPr id="9" name="Picture 8"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72139" y="6028184"/>
            <a:ext cx="2542011" cy="675885"/>
          </a:xfrm>
          <a:prstGeom prst="rect">
            <a:avLst/>
          </a:prstGeom>
        </p:spPr>
      </p:pic>
      <p:sp>
        <p:nvSpPr>
          <p:cNvPr id="8" name="Slide Number Placeholder 5"/>
          <p:cNvSpPr>
            <a:spLocks noGrp="1"/>
          </p:cNvSpPr>
          <p:nvPr>
            <p:ph type="sldNum" sz="quarter" idx="4"/>
          </p:nvPr>
        </p:nvSpPr>
        <p:spPr>
          <a:xfrm>
            <a:off x="2329916" y="647621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56"/>
            <a:r>
              <a:rPr lang="en-US" dirty="0"/>
              <a:t>Page </a:t>
            </a:r>
            <a:fld id="{5A9C12DC-491F-9444-86A2-13AC5C62A2FC}" type="slidenum">
              <a:rPr lang="en-US" smtClean="0"/>
              <a:pPr defTabSz="609356"/>
              <a:t>‹#›</a:t>
            </a:fld>
            <a:endParaRPr lang="en-US" dirty="0"/>
          </a:p>
        </p:txBody>
      </p:sp>
      <p:sp>
        <p:nvSpPr>
          <p:cNvPr id="11" name="Footer Placeholder 4"/>
          <p:cNvSpPr>
            <a:spLocks noGrp="1"/>
          </p:cNvSpPr>
          <p:nvPr>
            <p:ph type="ftr" sz="quarter" idx="3"/>
          </p:nvPr>
        </p:nvSpPr>
        <p:spPr>
          <a:xfrm>
            <a:off x="336469" y="6476215"/>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56"/>
            <a:r>
              <a:rPr lang="en-US" dirty="0"/>
              <a:t>Confidential Property of Schneider Electric |</a:t>
            </a:r>
          </a:p>
        </p:txBody>
      </p:sp>
    </p:spTree>
    <p:extLst>
      <p:ext uri="{BB962C8B-B14F-4D97-AF65-F5344CB8AC3E}">
        <p14:creationId xmlns:p14="http://schemas.microsoft.com/office/powerpoint/2010/main" val="392768679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eave Image 3">
    <p:spTree>
      <p:nvGrpSpPr>
        <p:cNvPr id="1" name=""/>
        <p:cNvGrpSpPr/>
        <p:nvPr/>
      </p:nvGrpSpPr>
      <p:grpSpPr>
        <a:xfrm>
          <a:off x="0" y="0"/>
          <a:ext cx="0" cy="0"/>
          <a:chOff x="0" y="0"/>
          <a:chExt cx="0" cy="0"/>
        </a:xfrm>
      </p:grpSpPr>
      <p:sp>
        <p:nvSpPr>
          <p:cNvPr id="4" name="Rectangle 3"/>
          <p:cNvSpPr/>
          <p:nvPr userDrawn="1"/>
        </p:nvSpPr>
        <p:spPr>
          <a:xfrm>
            <a:off x="0" y="4826964"/>
            <a:ext cx="12188825"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72" tIns="60936" rIns="121872" bIns="60936" rtlCol="0" anchor="ctr"/>
          <a:lstStyle/>
          <a:p>
            <a:pPr algn="ctr" defTabSz="609356"/>
            <a:endParaRPr lang="en-US" sz="2400" dirty="0">
              <a:solidFill>
                <a:prstClr val="white"/>
              </a:solidFill>
            </a:endParaRPr>
          </a:p>
        </p:txBody>
      </p:sp>
      <p:sp>
        <p:nvSpPr>
          <p:cNvPr id="5" name="Slide Number Placeholder 5"/>
          <p:cNvSpPr>
            <a:spLocks noGrp="1"/>
          </p:cNvSpPr>
          <p:nvPr>
            <p:ph type="sldNum" sz="quarter" idx="4"/>
          </p:nvPr>
        </p:nvSpPr>
        <p:spPr>
          <a:xfrm>
            <a:off x="2348963" y="647621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56"/>
            <a:r>
              <a:rPr lang="en-US" dirty="0"/>
              <a:t>Page </a:t>
            </a:r>
            <a:fld id="{5A9C12DC-491F-9444-86A2-13AC5C62A2FC}" type="slidenum">
              <a:rPr lang="en-US" smtClean="0"/>
              <a:pPr defTabSz="609356"/>
              <a:t>‹#›</a:t>
            </a:fld>
            <a:endParaRPr lang="en-US" dirty="0"/>
          </a:p>
        </p:txBody>
      </p:sp>
      <p:sp>
        <p:nvSpPr>
          <p:cNvPr id="6" name="TextBox 5"/>
          <p:cNvSpPr txBox="1"/>
          <p:nvPr userDrawn="1"/>
        </p:nvSpPr>
        <p:spPr>
          <a:xfrm>
            <a:off x="2232000" y="6468341"/>
            <a:ext cx="111318" cy="123111"/>
          </a:xfrm>
          <a:prstGeom prst="rect">
            <a:avLst/>
          </a:prstGeom>
          <a:noFill/>
        </p:spPr>
        <p:txBody>
          <a:bodyPr wrap="square" lIns="0" tIns="0" rIns="0" bIns="0" rtlCol="0">
            <a:spAutoFit/>
          </a:bodyPr>
          <a:lstStyle/>
          <a:p>
            <a:pPr algn="ctr" defTabSz="609356"/>
            <a:r>
              <a:rPr lang="en-US" sz="800" dirty="0">
                <a:solidFill>
                  <a:srgbClr val="FFFFFF"/>
                </a:solidFill>
                <a:cs typeface="Arial"/>
              </a:rPr>
              <a:t>|</a:t>
            </a:r>
          </a:p>
        </p:txBody>
      </p:sp>
      <p:sp>
        <p:nvSpPr>
          <p:cNvPr id="7" name="Footer Placeholder 4"/>
          <p:cNvSpPr>
            <a:spLocks noGrp="1"/>
          </p:cNvSpPr>
          <p:nvPr>
            <p:ph type="ftr" sz="quarter" idx="3"/>
          </p:nvPr>
        </p:nvSpPr>
        <p:spPr>
          <a:xfrm>
            <a:off x="336470" y="6476215"/>
            <a:ext cx="2006852"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56"/>
            <a:r>
              <a:rPr lang="en-US" dirty="0"/>
              <a:t>Confidential Property of Schneider Electric |</a:t>
            </a:r>
          </a:p>
        </p:txBody>
      </p:sp>
      <p:pic>
        <p:nvPicPr>
          <p:cNvPr id="10" name="Picture 9" descr="Weave_486603441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8825" cy="6858000"/>
          </a:xfrm>
          <a:prstGeom prst="rect">
            <a:avLst/>
          </a:prstGeom>
        </p:spPr>
      </p:pic>
      <p:pic>
        <p:nvPicPr>
          <p:cNvPr id="9" name="Picture 8"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72139" y="6028184"/>
            <a:ext cx="2542011" cy="675885"/>
          </a:xfrm>
          <a:prstGeom prst="rect">
            <a:avLst/>
          </a:prstGeom>
        </p:spPr>
      </p:pic>
      <p:sp>
        <p:nvSpPr>
          <p:cNvPr id="8" name="Slide Number Placeholder 5"/>
          <p:cNvSpPr txBox="1">
            <a:spLocks/>
          </p:cNvSpPr>
          <p:nvPr userDrawn="1"/>
        </p:nvSpPr>
        <p:spPr>
          <a:xfrm>
            <a:off x="2329916" y="6491610"/>
            <a:ext cx="700737" cy="92333"/>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Page </a:t>
            </a:r>
            <a:fld id="{5A9C12DC-491F-9444-86A2-13AC5C62A2FC}" type="slidenum">
              <a:rPr lang="en-US" smtClean="0"/>
              <a:pPr/>
              <a:t>‹#›</a:t>
            </a:fld>
            <a:endParaRPr lang="en-US" dirty="0"/>
          </a:p>
        </p:txBody>
      </p:sp>
      <p:sp>
        <p:nvSpPr>
          <p:cNvPr id="11" name="Footer Placeholder 4"/>
          <p:cNvSpPr txBox="1">
            <a:spLocks/>
          </p:cNvSpPr>
          <p:nvPr userDrawn="1"/>
        </p:nvSpPr>
        <p:spPr>
          <a:xfrm>
            <a:off x="336469" y="6491610"/>
            <a:ext cx="2012498" cy="92333"/>
          </a:xfrm>
          <a:prstGeom prst="rect">
            <a:avLst/>
          </a:prstGeom>
        </p:spPr>
        <p:txBody>
          <a:bodyPr vert="horz" wrap="square"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Confidential Property of Schneider Electric |</a:t>
            </a:r>
          </a:p>
        </p:txBody>
      </p:sp>
    </p:spTree>
    <p:extLst>
      <p:ext uri="{BB962C8B-B14F-4D97-AF65-F5344CB8AC3E}">
        <p14:creationId xmlns:p14="http://schemas.microsoft.com/office/powerpoint/2010/main" val="153318346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eave Image 4">
    <p:spTree>
      <p:nvGrpSpPr>
        <p:cNvPr id="1" name=""/>
        <p:cNvGrpSpPr/>
        <p:nvPr/>
      </p:nvGrpSpPr>
      <p:grpSpPr>
        <a:xfrm>
          <a:off x="0" y="0"/>
          <a:ext cx="0" cy="0"/>
          <a:chOff x="0" y="0"/>
          <a:chExt cx="0" cy="0"/>
        </a:xfrm>
      </p:grpSpPr>
      <p:pic>
        <p:nvPicPr>
          <p:cNvPr id="10" name="Picture 9" descr="Weave_522513175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8825" cy="6858000"/>
          </a:xfrm>
          <a:prstGeom prst="rect">
            <a:avLst/>
          </a:prstGeom>
        </p:spPr>
      </p:pic>
      <p:sp>
        <p:nvSpPr>
          <p:cNvPr id="4" name="Rectangle 3"/>
          <p:cNvSpPr/>
          <p:nvPr userDrawn="1"/>
        </p:nvSpPr>
        <p:spPr>
          <a:xfrm>
            <a:off x="0" y="4826964"/>
            <a:ext cx="12188825"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72" tIns="60936" rIns="121872" bIns="60936" rtlCol="0" anchor="ctr"/>
          <a:lstStyle/>
          <a:p>
            <a:pPr algn="ctr" defTabSz="609356"/>
            <a:endParaRPr lang="en-US" sz="2400" dirty="0">
              <a:solidFill>
                <a:prstClr val="white"/>
              </a:solidFill>
            </a:endParaRPr>
          </a:p>
        </p:txBody>
      </p:sp>
      <p:pic>
        <p:nvPicPr>
          <p:cNvPr id="9" name="Picture 8"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72139" y="6028184"/>
            <a:ext cx="2542011" cy="675885"/>
          </a:xfrm>
          <a:prstGeom prst="rect">
            <a:avLst/>
          </a:prstGeom>
        </p:spPr>
      </p:pic>
      <p:sp>
        <p:nvSpPr>
          <p:cNvPr id="8" name="Slide Number Placeholder 5"/>
          <p:cNvSpPr>
            <a:spLocks noGrp="1"/>
          </p:cNvSpPr>
          <p:nvPr>
            <p:ph type="sldNum" sz="quarter" idx="4"/>
          </p:nvPr>
        </p:nvSpPr>
        <p:spPr>
          <a:xfrm>
            <a:off x="2329916" y="647621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56"/>
            <a:r>
              <a:rPr lang="en-US" dirty="0"/>
              <a:t>Page </a:t>
            </a:r>
            <a:fld id="{5A9C12DC-491F-9444-86A2-13AC5C62A2FC}" type="slidenum">
              <a:rPr lang="en-US" smtClean="0"/>
              <a:pPr defTabSz="609356"/>
              <a:t>‹#›</a:t>
            </a:fld>
            <a:endParaRPr lang="en-US" dirty="0"/>
          </a:p>
        </p:txBody>
      </p:sp>
      <p:sp>
        <p:nvSpPr>
          <p:cNvPr id="11" name="Footer Placeholder 4"/>
          <p:cNvSpPr>
            <a:spLocks noGrp="1"/>
          </p:cNvSpPr>
          <p:nvPr>
            <p:ph type="ftr" sz="quarter" idx="3"/>
          </p:nvPr>
        </p:nvSpPr>
        <p:spPr>
          <a:xfrm>
            <a:off x="336469" y="6476215"/>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56"/>
            <a:r>
              <a:rPr lang="en-US" dirty="0"/>
              <a:t>Confidential Property of Schneider Electric |</a:t>
            </a:r>
          </a:p>
        </p:txBody>
      </p:sp>
    </p:spTree>
    <p:extLst>
      <p:ext uri="{BB962C8B-B14F-4D97-AF65-F5344CB8AC3E}">
        <p14:creationId xmlns:p14="http://schemas.microsoft.com/office/powerpoint/2010/main" val="201569051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Weave Image 5">
    <p:spTree>
      <p:nvGrpSpPr>
        <p:cNvPr id="1" name=""/>
        <p:cNvGrpSpPr/>
        <p:nvPr/>
      </p:nvGrpSpPr>
      <p:grpSpPr>
        <a:xfrm>
          <a:off x="0" y="0"/>
          <a:ext cx="0" cy="0"/>
          <a:chOff x="0" y="0"/>
          <a:chExt cx="0" cy="0"/>
        </a:xfrm>
      </p:grpSpPr>
      <p:pic>
        <p:nvPicPr>
          <p:cNvPr id="10" name="Picture 9" descr="Weave_522794209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8825" cy="6858000"/>
          </a:xfrm>
          <a:prstGeom prst="rect">
            <a:avLst/>
          </a:prstGeom>
        </p:spPr>
      </p:pic>
      <p:sp>
        <p:nvSpPr>
          <p:cNvPr id="4" name="Rectangle 3"/>
          <p:cNvSpPr/>
          <p:nvPr userDrawn="1"/>
        </p:nvSpPr>
        <p:spPr>
          <a:xfrm>
            <a:off x="0" y="4826964"/>
            <a:ext cx="12188825"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72" tIns="60936" rIns="121872" bIns="60936" rtlCol="0" anchor="ctr"/>
          <a:lstStyle/>
          <a:p>
            <a:pPr algn="ctr" defTabSz="609356"/>
            <a:endParaRPr lang="en-US" sz="2400" dirty="0">
              <a:solidFill>
                <a:prstClr val="white"/>
              </a:solidFill>
            </a:endParaRPr>
          </a:p>
        </p:txBody>
      </p:sp>
      <p:pic>
        <p:nvPicPr>
          <p:cNvPr id="9" name="Picture 8"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72139" y="6028184"/>
            <a:ext cx="2542011" cy="675885"/>
          </a:xfrm>
          <a:prstGeom prst="rect">
            <a:avLst/>
          </a:prstGeom>
        </p:spPr>
      </p:pic>
      <p:sp>
        <p:nvSpPr>
          <p:cNvPr id="8" name="Slide Number Placeholder 5"/>
          <p:cNvSpPr>
            <a:spLocks noGrp="1"/>
          </p:cNvSpPr>
          <p:nvPr>
            <p:ph type="sldNum" sz="quarter" idx="4"/>
          </p:nvPr>
        </p:nvSpPr>
        <p:spPr>
          <a:xfrm>
            <a:off x="2329916" y="647621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56"/>
            <a:r>
              <a:rPr lang="en-US" dirty="0"/>
              <a:t>Page </a:t>
            </a:r>
            <a:fld id="{5A9C12DC-491F-9444-86A2-13AC5C62A2FC}" type="slidenum">
              <a:rPr lang="en-US" smtClean="0"/>
              <a:pPr defTabSz="609356"/>
              <a:t>‹#›</a:t>
            </a:fld>
            <a:endParaRPr lang="en-US" dirty="0"/>
          </a:p>
        </p:txBody>
      </p:sp>
      <p:sp>
        <p:nvSpPr>
          <p:cNvPr id="11" name="Footer Placeholder 4"/>
          <p:cNvSpPr>
            <a:spLocks noGrp="1"/>
          </p:cNvSpPr>
          <p:nvPr>
            <p:ph type="ftr" sz="quarter" idx="3"/>
          </p:nvPr>
        </p:nvSpPr>
        <p:spPr>
          <a:xfrm>
            <a:off x="336469" y="6476215"/>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56"/>
            <a:r>
              <a:rPr lang="en-US" dirty="0"/>
              <a:t>Confidential Property of Schneider Electric |</a:t>
            </a:r>
          </a:p>
        </p:txBody>
      </p:sp>
    </p:spTree>
    <p:extLst>
      <p:ext uri="{BB962C8B-B14F-4D97-AF65-F5344CB8AC3E}">
        <p14:creationId xmlns:p14="http://schemas.microsoft.com/office/powerpoint/2010/main" val="153651148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eave Image 6">
    <p:spTree>
      <p:nvGrpSpPr>
        <p:cNvPr id="1" name=""/>
        <p:cNvGrpSpPr/>
        <p:nvPr/>
      </p:nvGrpSpPr>
      <p:grpSpPr>
        <a:xfrm>
          <a:off x="0" y="0"/>
          <a:ext cx="0" cy="0"/>
          <a:chOff x="0" y="0"/>
          <a:chExt cx="0" cy="0"/>
        </a:xfrm>
      </p:grpSpPr>
      <p:pic>
        <p:nvPicPr>
          <p:cNvPr id="10" name="Picture 9" descr="Weave_528351183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8825" cy="6858000"/>
          </a:xfrm>
          <a:prstGeom prst="rect">
            <a:avLst/>
          </a:prstGeom>
        </p:spPr>
      </p:pic>
      <p:sp>
        <p:nvSpPr>
          <p:cNvPr id="4" name="Rectangle 3"/>
          <p:cNvSpPr/>
          <p:nvPr userDrawn="1"/>
        </p:nvSpPr>
        <p:spPr>
          <a:xfrm>
            <a:off x="0" y="4826964"/>
            <a:ext cx="12188825"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72" tIns="60936" rIns="121872" bIns="60936" rtlCol="0" anchor="ctr"/>
          <a:lstStyle/>
          <a:p>
            <a:pPr algn="ctr" defTabSz="609356"/>
            <a:endParaRPr lang="en-US" sz="2400" dirty="0">
              <a:solidFill>
                <a:prstClr val="white"/>
              </a:solidFill>
            </a:endParaRPr>
          </a:p>
        </p:txBody>
      </p:sp>
      <p:pic>
        <p:nvPicPr>
          <p:cNvPr id="9" name="Picture 8"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72139" y="6028184"/>
            <a:ext cx="2542011" cy="675885"/>
          </a:xfrm>
          <a:prstGeom prst="rect">
            <a:avLst/>
          </a:prstGeom>
        </p:spPr>
      </p:pic>
      <p:sp>
        <p:nvSpPr>
          <p:cNvPr id="8" name="Slide Number Placeholder 5"/>
          <p:cNvSpPr>
            <a:spLocks noGrp="1"/>
          </p:cNvSpPr>
          <p:nvPr>
            <p:ph type="sldNum" sz="quarter" idx="4"/>
          </p:nvPr>
        </p:nvSpPr>
        <p:spPr>
          <a:xfrm>
            <a:off x="2329916" y="647621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56"/>
            <a:r>
              <a:rPr lang="en-US" dirty="0"/>
              <a:t>Page </a:t>
            </a:r>
            <a:fld id="{5A9C12DC-491F-9444-86A2-13AC5C62A2FC}" type="slidenum">
              <a:rPr lang="en-US" smtClean="0"/>
              <a:pPr defTabSz="609356"/>
              <a:t>‹#›</a:t>
            </a:fld>
            <a:endParaRPr lang="en-US" dirty="0"/>
          </a:p>
        </p:txBody>
      </p:sp>
      <p:sp>
        <p:nvSpPr>
          <p:cNvPr id="11" name="Footer Placeholder 4"/>
          <p:cNvSpPr>
            <a:spLocks noGrp="1"/>
          </p:cNvSpPr>
          <p:nvPr>
            <p:ph type="ftr" sz="quarter" idx="3"/>
          </p:nvPr>
        </p:nvSpPr>
        <p:spPr>
          <a:xfrm>
            <a:off x="336469" y="6476215"/>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56"/>
            <a:r>
              <a:rPr lang="en-US" dirty="0"/>
              <a:t>Confidential Property of Schneider Electric |</a:t>
            </a:r>
          </a:p>
        </p:txBody>
      </p:sp>
    </p:spTree>
    <p:extLst>
      <p:ext uri="{BB962C8B-B14F-4D97-AF65-F5344CB8AC3E}">
        <p14:creationId xmlns:p14="http://schemas.microsoft.com/office/powerpoint/2010/main" val="229750915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3" name="Picture 2" descr="schneider_LIO_White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42454" y="2752785"/>
            <a:ext cx="4903927" cy="1352435"/>
          </a:xfrm>
          <a:prstGeom prst="rect">
            <a:avLst/>
          </a:prstGeom>
        </p:spPr>
      </p:pic>
    </p:spTree>
    <p:extLst>
      <p:ext uri="{BB962C8B-B14F-4D97-AF65-F5344CB8AC3E}">
        <p14:creationId xmlns:p14="http://schemas.microsoft.com/office/powerpoint/2010/main" val="303704787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12188825" cy="5774392"/>
          </a:xfrm>
          <a:prstGeom prst="rect">
            <a:avLst/>
          </a:prstGeom>
          <a:solidFill>
            <a:schemeClr val="bg1">
              <a:lumMod val="95000"/>
            </a:schemeClr>
          </a:solidFill>
        </p:spPr>
        <p:txBody>
          <a:bodyPr lIns="91437" tIns="45718" rIns="91437" bIns="45718"/>
          <a:lstStyle>
            <a:lvl1pPr>
              <a:buNone/>
              <a:defRPr sz="1866">
                <a:solidFill>
                  <a:schemeClr val="bg1">
                    <a:lumMod val="85000"/>
                  </a:schemeClr>
                </a:solidFill>
              </a:defRPr>
            </a:lvl1pPr>
          </a:lstStyle>
          <a:p>
            <a:r>
              <a:rPr lang="fr-FR"/>
              <a:t>Cliquez sur l'icône pour ajouter une image</a:t>
            </a:r>
            <a:endParaRPr lang="en-US" dirty="0"/>
          </a:p>
        </p:txBody>
      </p:sp>
      <p:sp>
        <p:nvSpPr>
          <p:cNvPr id="8" name="Title 1"/>
          <p:cNvSpPr>
            <a:spLocks noGrp="1"/>
          </p:cNvSpPr>
          <p:nvPr>
            <p:ph type="ctrTitle" hasCustomPrompt="1"/>
          </p:nvPr>
        </p:nvSpPr>
        <p:spPr>
          <a:xfrm>
            <a:off x="336466" y="3478965"/>
            <a:ext cx="11562151" cy="738664"/>
          </a:xfrm>
          <a:prstGeom prst="rect">
            <a:avLst/>
          </a:prstGeom>
        </p:spPr>
        <p:txBody>
          <a:bodyPr lIns="0" tIns="0" rIns="0" bIns="0" anchor="ctr" anchorCtr="0">
            <a:noAutofit/>
          </a:bodyPr>
          <a:lstStyle>
            <a:lvl1pPr marL="0" indent="0" algn="l">
              <a:buFont typeface="Arial"/>
              <a:buNone/>
              <a:defRPr sz="4799">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336466" y="4272329"/>
            <a:ext cx="11562151" cy="287259"/>
          </a:xfrm>
          <a:prstGeom prst="rect">
            <a:avLst/>
          </a:prstGeom>
        </p:spPr>
        <p:txBody>
          <a:bodyPr lIns="0" tIns="0" rIns="0" bIns="0">
            <a:noAutofit/>
          </a:bodyPr>
          <a:lstStyle>
            <a:lvl1pPr marL="0" indent="0" algn="l">
              <a:buNone/>
              <a:defRPr sz="1866" baseline="0">
                <a:solidFill>
                  <a:schemeClr val="bg1"/>
                </a:solidFill>
              </a:defRPr>
            </a:lvl1pPr>
            <a:lvl2pPr marL="609426" indent="0" algn="ctr">
              <a:buNone/>
              <a:defRPr>
                <a:solidFill>
                  <a:schemeClr val="tx1">
                    <a:tint val="75000"/>
                  </a:schemeClr>
                </a:solidFill>
              </a:defRPr>
            </a:lvl2pPr>
            <a:lvl3pPr marL="1218851" indent="0" algn="ctr">
              <a:buNone/>
              <a:defRPr>
                <a:solidFill>
                  <a:schemeClr val="tx1">
                    <a:tint val="75000"/>
                  </a:schemeClr>
                </a:solidFill>
              </a:defRPr>
            </a:lvl3pPr>
            <a:lvl4pPr marL="1828279" indent="0" algn="ctr">
              <a:buNone/>
              <a:defRPr>
                <a:solidFill>
                  <a:schemeClr val="tx1">
                    <a:tint val="75000"/>
                  </a:schemeClr>
                </a:solidFill>
              </a:defRPr>
            </a:lvl4pPr>
            <a:lvl5pPr marL="2437705" indent="0" algn="ctr">
              <a:buNone/>
              <a:defRPr>
                <a:solidFill>
                  <a:schemeClr val="tx1">
                    <a:tint val="75000"/>
                  </a:schemeClr>
                </a:solidFill>
              </a:defRPr>
            </a:lvl5pPr>
            <a:lvl6pPr marL="3047130" indent="0" algn="ctr">
              <a:buNone/>
              <a:defRPr>
                <a:solidFill>
                  <a:schemeClr val="tx1">
                    <a:tint val="75000"/>
                  </a:schemeClr>
                </a:solidFill>
              </a:defRPr>
            </a:lvl6pPr>
            <a:lvl7pPr marL="3656556" indent="0" algn="ctr">
              <a:buNone/>
              <a:defRPr>
                <a:solidFill>
                  <a:schemeClr val="tx1">
                    <a:tint val="75000"/>
                  </a:schemeClr>
                </a:solidFill>
              </a:defRPr>
            </a:lvl7pPr>
            <a:lvl8pPr marL="4265983" indent="0" algn="ctr">
              <a:buNone/>
              <a:defRPr>
                <a:solidFill>
                  <a:schemeClr val="tx1">
                    <a:tint val="75000"/>
                  </a:schemeClr>
                </a:solidFill>
              </a:defRPr>
            </a:lvl8pPr>
            <a:lvl9pPr marL="4875409"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9420258" y="5993330"/>
            <a:ext cx="2721688" cy="750604"/>
          </a:xfrm>
          <a:prstGeom prst="rect">
            <a:avLst/>
          </a:prstGeom>
        </p:spPr>
      </p:pic>
      <p:sp>
        <p:nvSpPr>
          <p:cNvPr id="14" name="Footer Placeholder 4"/>
          <p:cNvSpPr>
            <a:spLocks noGrp="1"/>
          </p:cNvSpPr>
          <p:nvPr>
            <p:ph type="ftr" sz="quarter" idx="3"/>
          </p:nvPr>
        </p:nvSpPr>
        <p:spPr>
          <a:xfrm>
            <a:off x="336466" y="6476207"/>
            <a:ext cx="2006852" cy="123111"/>
          </a:xfrm>
          <a:prstGeom prst="rect">
            <a:avLst/>
          </a:prstGeom>
        </p:spPr>
        <p:txBody>
          <a:bodyPr vert="horz" wrap="square" lIns="0" tIns="0" rIns="0" bIns="0" rtlCol="0" anchor="ctr">
            <a:spAutoFit/>
          </a:bodyPr>
          <a:lstStyle>
            <a:lvl1pPr algn="l">
              <a:defRPr sz="800">
                <a:solidFill>
                  <a:srgbClr val="4F5156"/>
                </a:solidFill>
                <a:latin typeface="Arial"/>
                <a:cs typeface="Arial"/>
              </a:defRPr>
            </a:lvl1pPr>
          </a:lstStyle>
          <a:p>
            <a:pPr defTabSz="609426"/>
            <a:r>
              <a:rPr lang="en-US"/>
              <a:t>Confidential Property of Schneider Electric  </a:t>
            </a:r>
            <a:endParaRPr lang="en-US" dirty="0"/>
          </a:p>
        </p:txBody>
      </p:sp>
      <p:sp>
        <p:nvSpPr>
          <p:cNvPr id="21" name="Espace réservé du texte 20"/>
          <p:cNvSpPr>
            <a:spLocks noGrp="1"/>
          </p:cNvSpPr>
          <p:nvPr>
            <p:ph type="body" sz="quarter" idx="15" hasCustomPrompt="1"/>
          </p:nvPr>
        </p:nvSpPr>
        <p:spPr>
          <a:xfrm>
            <a:off x="0" y="4764839"/>
            <a:ext cx="12188825" cy="1015853"/>
          </a:xfrm>
          <a:prstGeom prst="rect">
            <a:avLst/>
          </a:prstGeom>
          <a:solidFill>
            <a:schemeClr val="tx2">
              <a:alpha val="80000"/>
            </a:schemeClr>
          </a:solidFill>
        </p:spPr>
        <p:txBody>
          <a:bodyPr lIns="91437" tIns="45718" rIns="91437" bIns="45718"/>
          <a:lstStyle>
            <a:lvl1pPr marL="237673" indent="-3149">
              <a:buNone/>
              <a:defRPr sz="1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5682003"/>
            <a:ext cx="12188825" cy="2692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84" tIns="60941" rIns="121884" bIns="60941" rtlCol="0" anchor="ctr"/>
          <a:lstStyle/>
          <a:p>
            <a:pPr marL="0" marR="0" lvl="0" indent="0" algn="ctr" defTabSz="609426"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99970088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12188825" cy="3878280"/>
          </a:xfrm>
          <a:prstGeom prst="rect">
            <a:avLst/>
          </a:prstGeom>
          <a:solidFill>
            <a:schemeClr val="tx2">
              <a:alpha val="80000"/>
            </a:schemeClr>
          </a:solidFill>
        </p:spPr>
        <p:txBody>
          <a:bodyPr lIns="252000" tIns="0" rIns="0" bIns="252000" anchor="b" anchorCtr="0"/>
          <a:lstStyle>
            <a:lvl1pPr algn="l">
              <a:defRPr sz="3199"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3867182"/>
            <a:ext cx="12188825"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dirty="0"/>
              <a:t>Click To Edit Optional Subtitle</a:t>
            </a:r>
          </a:p>
        </p:txBody>
      </p:sp>
      <p:sp>
        <p:nvSpPr>
          <p:cNvPr id="9" name="Slide Number Placeholder 5"/>
          <p:cNvSpPr>
            <a:spLocks noGrp="1"/>
          </p:cNvSpPr>
          <p:nvPr>
            <p:ph type="sldNum" sz="quarter" idx="4"/>
          </p:nvPr>
        </p:nvSpPr>
        <p:spPr>
          <a:xfrm>
            <a:off x="2329915" y="6476207"/>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26"/>
            <a:r>
              <a:rPr lang="en-US">
                <a:solidFill>
                  <a:srgbClr val="3DCD58"/>
                </a:solidFill>
              </a:rPr>
              <a:t>Page </a:t>
            </a:r>
            <a:fld id="{5A9C12DC-491F-9444-86A2-13AC5C62A2FC}" type="slidenum">
              <a:rPr lang="en-US" smtClean="0">
                <a:solidFill>
                  <a:srgbClr val="3DCD58"/>
                </a:solidFill>
              </a:rPr>
              <a:pPr defTabSz="609426"/>
              <a:t>‹#›</a:t>
            </a:fld>
            <a:endParaRPr lang="en-US" dirty="0">
              <a:solidFill>
                <a:srgbClr val="3DCD58"/>
              </a:solidFill>
            </a:endParaRPr>
          </a:p>
        </p:txBody>
      </p:sp>
      <p:sp>
        <p:nvSpPr>
          <p:cNvPr id="10" name="Footer Placeholder 4"/>
          <p:cNvSpPr>
            <a:spLocks noGrp="1"/>
          </p:cNvSpPr>
          <p:nvPr>
            <p:ph type="ftr" sz="quarter" idx="3"/>
          </p:nvPr>
        </p:nvSpPr>
        <p:spPr>
          <a:xfrm>
            <a:off x="336464" y="6476206"/>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26"/>
            <a:r>
              <a:rPr lang="en-US">
                <a:solidFill>
                  <a:srgbClr val="626469"/>
                </a:solidFill>
              </a:rPr>
              <a:t>Confidential Property of Schneider Electric |</a:t>
            </a:r>
            <a:endParaRPr lang="en-US" dirty="0">
              <a:solidFill>
                <a:srgbClr val="626469"/>
              </a:solidFill>
            </a:endParaRPr>
          </a:p>
        </p:txBody>
      </p:sp>
      <p:pic>
        <p:nvPicPr>
          <p:cNvPr id="7" name="Picture 6" descr="schneider_LIO_Life-Green_RGB.png"/>
          <p:cNvPicPr>
            <a:picLocks noChangeAspect="1"/>
          </p:cNvPicPr>
          <p:nvPr userDrawn="1"/>
        </p:nvPicPr>
        <p:blipFill>
          <a:blip r:embed="rId2" cstate="print"/>
          <a:stretch>
            <a:fillRect/>
          </a:stretch>
        </p:blipFill>
        <p:spPr>
          <a:xfrm>
            <a:off x="9420258" y="5993329"/>
            <a:ext cx="2721688" cy="750604"/>
          </a:xfrm>
          <a:prstGeom prst="rect">
            <a:avLst/>
          </a:prstGeom>
        </p:spPr>
      </p:pic>
    </p:spTree>
    <p:extLst>
      <p:ext uri="{BB962C8B-B14F-4D97-AF65-F5344CB8AC3E}">
        <p14:creationId xmlns:p14="http://schemas.microsoft.com/office/powerpoint/2010/main" val="1821818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6" name="Rectangle 5"/>
          <p:cNvSpPr/>
          <p:nvPr/>
        </p:nvSpPr>
        <p:spPr>
          <a:xfrm>
            <a:off x="11086300" y="6206806"/>
            <a:ext cx="619933" cy="5245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9687788" y="5904395"/>
            <a:ext cx="1891445" cy="564671"/>
          </a:xfrm>
          <a:prstGeom prst="rect">
            <a:avLst/>
          </a:prstGeom>
          <a:noFill/>
        </p:spPr>
      </p:pic>
      <p:sp>
        <p:nvSpPr>
          <p:cNvPr id="5" name="TextBox 4"/>
          <p:cNvSpPr txBox="1"/>
          <p:nvPr userDrawn="1"/>
        </p:nvSpPr>
        <p:spPr>
          <a:xfrm>
            <a:off x="608015" y="6130519"/>
            <a:ext cx="9658279" cy="338555"/>
          </a:xfrm>
          <a:prstGeom prst="rect">
            <a:avLst/>
          </a:prstGeom>
          <a:noFill/>
        </p:spPr>
        <p:txBody>
          <a:bodyPr wrap="square" lIns="0" tIns="0" rIns="0" bIns="0" rtlCol="0" anchor="b" anchorCtr="0">
            <a:spAutoFit/>
          </a:bodyPr>
          <a:lstStyle/>
          <a:p>
            <a:pPr marL="0" algn="l" defTabSz="914323" rtl="0" eaLnBrk="1" latinLnBrk="0" hangingPunct="1"/>
            <a:r>
              <a:rPr kumimoji="0" lang="en-US" sz="1100" b="0" i="0" u="none" strike="noStrike" kern="1200" cap="none" spc="0" normalizeH="0" baseline="0" noProof="0" dirty="0">
                <a:ln>
                  <a:noFill/>
                </a:ln>
                <a:solidFill>
                  <a:srgbClr val="626469"/>
                </a:solidFill>
                <a:effectLst/>
                <a:uLnTx/>
                <a:uFillTx/>
                <a:latin typeface="Arial" pitchFamily="34" charset="0"/>
                <a:ea typeface="ＭＳ Ｐゴシック" pitchFamily="34" charset="-128"/>
                <a:cs typeface="Arial" pitchFamily="34" charset="0"/>
              </a:rPr>
              <a:t>©2014 Schneider Electric. All Rights Reserved.</a:t>
            </a:r>
            <a:br>
              <a:rPr kumimoji="0" lang="en-US" sz="1100" b="0" i="0" u="none" strike="noStrike" kern="1200" cap="none" spc="0" normalizeH="0" baseline="0" noProof="0" dirty="0">
                <a:ln>
                  <a:noFill/>
                </a:ln>
                <a:solidFill>
                  <a:srgbClr val="626469"/>
                </a:solidFill>
                <a:effectLst/>
                <a:uLnTx/>
                <a:uFillTx/>
                <a:latin typeface="Arial" pitchFamily="34" charset="0"/>
                <a:ea typeface="ＭＳ Ｐゴシック" pitchFamily="34" charset="-128"/>
                <a:cs typeface="Arial" pitchFamily="34" charset="0"/>
              </a:rPr>
            </a:br>
            <a:r>
              <a:rPr kumimoji="0" lang="en-US" sz="1100" b="0" i="0" u="none" strike="noStrike" kern="1200" cap="none" spc="0" normalizeH="0" baseline="0" noProof="0" dirty="0">
                <a:ln>
                  <a:noFill/>
                </a:ln>
                <a:solidFill>
                  <a:srgbClr val="626469"/>
                </a:solidFill>
                <a:effectLst/>
                <a:uLnTx/>
                <a:uFillTx/>
                <a:latin typeface="Arial" pitchFamily="34" charset="0"/>
                <a:ea typeface="ＭＳ Ｐゴシック" pitchFamily="34" charset="-128"/>
                <a:cs typeface="Arial" pitchFamily="34" charset="0"/>
              </a:rPr>
              <a:t>All trademarks are owned by Schneider Electric Industries SAS or its affiliated companies or their respective owners.</a:t>
            </a:r>
          </a:p>
        </p:txBody>
      </p:sp>
      <p:sp>
        <p:nvSpPr>
          <p:cNvPr id="7" name="Rectangle 6"/>
          <p:cNvSpPr/>
          <p:nvPr userDrawn="1"/>
        </p:nvSpPr>
        <p:spPr>
          <a:xfrm>
            <a:off x="518848" y="3002680"/>
            <a:ext cx="7142000" cy="646344"/>
          </a:xfrm>
          <a:prstGeom prst="rect">
            <a:avLst/>
          </a:prstGeom>
        </p:spPr>
        <p:txBody>
          <a:bodyPr wrap="none" lIns="91432" tIns="45717" rIns="91432" bIns="45717" anchor="b" anchorCtr="0">
            <a:spAutoFit/>
          </a:bodyPr>
          <a:lstStyle/>
          <a:p>
            <a:r>
              <a:rPr kumimoji="0" lang="en-US" sz="3600" b="1" i="0" u="none" strike="noStrike" kern="1200" cap="none" spc="0" normalizeH="0" baseline="0" noProof="0" dirty="0">
                <a:ln>
                  <a:noFill/>
                </a:ln>
                <a:solidFill>
                  <a:srgbClr val="009530"/>
                </a:solidFill>
                <a:effectLst/>
                <a:uLnTx/>
                <a:uFillTx/>
                <a:latin typeface="Arial" pitchFamily="34" charset="0"/>
                <a:ea typeface="+mj-ea"/>
                <a:cs typeface="Arial" pitchFamily="34" charset="0"/>
              </a:rPr>
              <a:t>Make the most of your energy</a:t>
            </a:r>
            <a:r>
              <a:rPr kumimoji="0" lang="en-US" sz="2000" b="1" i="0" u="none" strike="noStrike" kern="1200" cap="none" spc="0" normalizeH="0" baseline="70000" noProof="0" dirty="0">
                <a:ln>
                  <a:noFill/>
                </a:ln>
                <a:solidFill>
                  <a:srgbClr val="009530"/>
                </a:solidFill>
                <a:effectLst/>
                <a:uLnTx/>
                <a:uFillTx/>
                <a:latin typeface="Arial" pitchFamily="34" charset="0"/>
                <a:ea typeface="+mj-ea"/>
                <a:cs typeface="Arial" pitchFamily="34" charset="0"/>
              </a:rPr>
              <a:t>SM</a:t>
            </a:r>
            <a:r>
              <a:rPr kumimoji="0" lang="en-US" sz="2400" b="1" i="0" u="none" strike="noStrike" kern="1200" cap="none" spc="0" normalizeH="0" baseline="30000" noProof="0" dirty="0">
                <a:ln>
                  <a:noFill/>
                </a:ln>
                <a:solidFill>
                  <a:srgbClr val="009530"/>
                </a:solidFill>
                <a:effectLst/>
                <a:uLnTx/>
                <a:uFillTx/>
                <a:latin typeface="Arial" pitchFamily="34" charset="0"/>
                <a:ea typeface="+mj-ea"/>
                <a:cs typeface="Arial" pitchFamily="34" charset="0"/>
              </a:rPr>
              <a:t> </a:t>
            </a:r>
            <a:endParaRPr lang="en-US" dirty="0"/>
          </a:p>
        </p:txBody>
      </p:sp>
    </p:spTree>
    <p:extLst>
      <p:ext uri="{BB962C8B-B14F-4D97-AF65-F5344CB8AC3E}">
        <p14:creationId xmlns:p14="http://schemas.microsoft.com/office/powerpoint/2010/main" val="12688631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12188825" cy="6858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721428"/>
            <a:ext cx="12188825" cy="1156853"/>
          </a:xfrm>
          <a:prstGeom prst="rect">
            <a:avLst/>
          </a:prstGeom>
          <a:solidFill>
            <a:schemeClr val="tx2">
              <a:alpha val="80000"/>
            </a:schemeClr>
          </a:solidFill>
        </p:spPr>
        <p:txBody>
          <a:bodyPr lIns="252000" tIns="0" rIns="0" bIns="0" anchor="ctr" anchorCtr="0"/>
          <a:lstStyle>
            <a:lvl1pPr algn="l">
              <a:defRPr sz="3199"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3867182"/>
            <a:ext cx="12188825"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dirty="0"/>
              <a:t>Click To Edit Optional Subtitle</a:t>
            </a:r>
          </a:p>
        </p:txBody>
      </p:sp>
      <p:sp>
        <p:nvSpPr>
          <p:cNvPr id="10" name="Slide Number Placeholder 5"/>
          <p:cNvSpPr>
            <a:spLocks noGrp="1"/>
          </p:cNvSpPr>
          <p:nvPr>
            <p:ph type="sldNum" sz="quarter" idx="4"/>
          </p:nvPr>
        </p:nvSpPr>
        <p:spPr>
          <a:xfrm>
            <a:off x="2329915" y="647620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426"/>
            <a:r>
              <a:rPr lang="en-US"/>
              <a:t>Page </a:t>
            </a:r>
            <a:fld id="{5A9C12DC-491F-9444-86A2-13AC5C62A2FC}" type="slidenum">
              <a:rPr lang="en-US" smtClean="0"/>
              <a:pPr defTabSz="609426"/>
              <a:t>‹#›</a:t>
            </a:fld>
            <a:endParaRPr lang="en-US" dirty="0"/>
          </a:p>
        </p:txBody>
      </p:sp>
      <p:sp>
        <p:nvSpPr>
          <p:cNvPr id="12" name="Footer Placeholder 4"/>
          <p:cNvSpPr>
            <a:spLocks noGrp="1"/>
          </p:cNvSpPr>
          <p:nvPr>
            <p:ph type="ftr" sz="quarter" idx="3"/>
          </p:nvPr>
        </p:nvSpPr>
        <p:spPr>
          <a:xfrm>
            <a:off x="336464" y="6476206"/>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426"/>
            <a:r>
              <a:rPr lang="en-US"/>
              <a:t>Confidential Property of Schneider Electric |</a:t>
            </a:r>
            <a:endParaRPr lang="en-US" dirty="0"/>
          </a:p>
        </p:txBody>
      </p:sp>
      <p:pic>
        <p:nvPicPr>
          <p:cNvPr id="8" name="Picture 7" descr="schneider_LIO_Life-Green_RGB.png"/>
          <p:cNvPicPr>
            <a:picLocks noChangeAspect="1"/>
          </p:cNvPicPr>
          <p:nvPr userDrawn="1"/>
        </p:nvPicPr>
        <p:blipFill>
          <a:blip r:embed="rId2" cstate="print"/>
          <a:stretch>
            <a:fillRect/>
          </a:stretch>
        </p:blipFill>
        <p:spPr>
          <a:xfrm>
            <a:off x="9420258" y="5993329"/>
            <a:ext cx="2721688" cy="750604"/>
          </a:xfrm>
          <a:prstGeom prst="rect">
            <a:avLst/>
          </a:prstGeom>
        </p:spPr>
      </p:pic>
    </p:spTree>
    <p:extLst>
      <p:ext uri="{BB962C8B-B14F-4D97-AF65-F5344CB8AC3E}">
        <p14:creationId xmlns:p14="http://schemas.microsoft.com/office/powerpoint/2010/main" val="127513160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12188825" cy="2641744"/>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2641745"/>
            <a:ext cx="12188825" cy="4216255"/>
          </a:xfrm>
          <a:prstGeom prst="rect">
            <a:avLst/>
          </a:prstGeom>
          <a:solidFill>
            <a:schemeClr val="tx2"/>
          </a:solidFill>
        </p:spPr>
        <p:txBody>
          <a:bodyPr lIns="252000" tIns="252000" rIns="252000" bIns="252000" anchor="t" anchorCtr="0"/>
          <a:lstStyle>
            <a:lvl1pPr algn="l">
              <a:defRPr sz="3199"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2144328"/>
            <a:ext cx="12188825" cy="497417"/>
          </a:xfrm>
          <a:prstGeom prst="rect">
            <a:avLst/>
          </a:prstGeom>
          <a:solidFill>
            <a:schemeClr val="tx2">
              <a:alpha val="80000"/>
            </a:schemeClr>
          </a:solidFill>
        </p:spPr>
        <p:txBody>
          <a:bodyPr lIns="252000" tIns="0" rIns="252000" bIns="0" anchor="ctr" anchorCtr="0"/>
          <a:lstStyle>
            <a:lvl1pPr marL="0" indent="0">
              <a:buNone/>
              <a:defRPr sz="1600" baseline="0">
                <a:solidFill>
                  <a:schemeClr val="bg1"/>
                </a:solidFill>
              </a:defRPr>
            </a:lvl1pPr>
          </a:lstStyle>
          <a:p>
            <a:pPr lvl="0"/>
            <a:r>
              <a:rPr lang="en-US" dirty="0"/>
              <a:t>Click To Edit Optional Subtitle</a:t>
            </a:r>
          </a:p>
        </p:txBody>
      </p:sp>
      <p:sp>
        <p:nvSpPr>
          <p:cNvPr id="12" name="Slide Number Placeholder 5"/>
          <p:cNvSpPr>
            <a:spLocks noGrp="1"/>
          </p:cNvSpPr>
          <p:nvPr>
            <p:ph type="sldNum" sz="quarter" idx="4"/>
          </p:nvPr>
        </p:nvSpPr>
        <p:spPr>
          <a:xfrm>
            <a:off x="2329915" y="647620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426"/>
            <a:r>
              <a:rPr lang="en-US"/>
              <a:t>Page </a:t>
            </a:r>
            <a:fld id="{5A9C12DC-491F-9444-86A2-13AC5C62A2FC}" type="slidenum">
              <a:rPr lang="en-US" smtClean="0"/>
              <a:pPr defTabSz="609426"/>
              <a:t>‹#›</a:t>
            </a:fld>
            <a:endParaRPr lang="en-US" dirty="0"/>
          </a:p>
        </p:txBody>
      </p:sp>
      <p:sp>
        <p:nvSpPr>
          <p:cNvPr id="13" name="Footer Placeholder 4"/>
          <p:cNvSpPr>
            <a:spLocks noGrp="1"/>
          </p:cNvSpPr>
          <p:nvPr>
            <p:ph type="ftr" sz="quarter" idx="3"/>
          </p:nvPr>
        </p:nvSpPr>
        <p:spPr>
          <a:xfrm>
            <a:off x="336464" y="6476206"/>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426"/>
            <a:r>
              <a:rPr lang="en-US"/>
              <a:t>Confidential Property of Schneider Electric |</a:t>
            </a:r>
            <a:endParaRPr lang="en-US" dirty="0"/>
          </a:p>
        </p:txBody>
      </p:sp>
      <p:pic>
        <p:nvPicPr>
          <p:cNvPr id="9" name="Picture 8" descr="schneider_LIO_White_RGB.png"/>
          <p:cNvPicPr>
            <a:picLocks noChangeAspect="1"/>
          </p:cNvPicPr>
          <p:nvPr userDrawn="1"/>
        </p:nvPicPr>
        <p:blipFill>
          <a:blip r:embed="rId2" cstate="print"/>
          <a:stretch>
            <a:fillRect/>
          </a:stretch>
        </p:blipFill>
        <p:spPr>
          <a:xfrm>
            <a:off x="9430948" y="6011367"/>
            <a:ext cx="2690908" cy="742115"/>
          </a:xfrm>
          <a:prstGeom prst="rect">
            <a:avLst/>
          </a:prstGeom>
        </p:spPr>
      </p:pic>
    </p:spTree>
    <p:extLst>
      <p:ext uri="{BB962C8B-B14F-4D97-AF65-F5344CB8AC3E}">
        <p14:creationId xmlns:p14="http://schemas.microsoft.com/office/powerpoint/2010/main" val="213484395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6085949" y="-2"/>
            <a:ext cx="6102878"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2">
                    <a:lumMod val="60000"/>
                    <a:lumOff val="40000"/>
                  </a:schemeClr>
                </a:solidFill>
              </a:defRPr>
            </a:lvl1pPr>
            <a:lvl2pPr marL="590403" indent="-353396">
              <a:buFont typeface="Arial"/>
              <a:buChar char="•"/>
              <a:defRPr sz="2399">
                <a:solidFill>
                  <a:schemeClr val="accent1"/>
                </a:solidFill>
              </a:defRPr>
            </a:lvl2pPr>
            <a:lvl3pPr marL="943797" indent="-304724">
              <a:buFont typeface="Lucida Grande"/>
              <a:buChar char="–"/>
              <a:defRPr sz="2133">
                <a:solidFill>
                  <a:schemeClr val="accent1"/>
                </a:solidFill>
              </a:defRPr>
            </a:lvl3pPr>
            <a:lvl4pPr marL="1301425" indent="-304724">
              <a:buFont typeface="Lucida Grande"/>
              <a:buChar char="–"/>
              <a:defRPr sz="1866">
                <a:solidFill>
                  <a:schemeClr val="accent1"/>
                </a:solidFill>
              </a:defRPr>
            </a:lvl4pPr>
            <a:lvl5pPr marL="1678098" indent="-308956" defTabSz="418995">
              <a:buFont typeface="Lucida Grande"/>
              <a:buChar char="–"/>
              <a:defRPr sz="1866">
                <a:solidFill>
                  <a:schemeClr val="accent1"/>
                </a:solidFill>
              </a:defRPr>
            </a:lvl5pPr>
          </a:lstStyle>
          <a:p>
            <a:pPr lvl="0"/>
            <a:r>
              <a:rPr lang="en-US" dirty="0"/>
              <a:t>Insert Your Content Here</a:t>
            </a:r>
          </a:p>
        </p:txBody>
      </p:sp>
      <p:sp>
        <p:nvSpPr>
          <p:cNvPr id="15" name="Rectangle 14"/>
          <p:cNvSpPr/>
          <p:nvPr userDrawn="1"/>
        </p:nvSpPr>
        <p:spPr>
          <a:xfrm rot="5400000">
            <a:off x="-415134" y="356915"/>
            <a:ext cx="6857997" cy="61441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426"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Content Placeholder 12"/>
          <p:cNvSpPr>
            <a:spLocks noGrp="1"/>
          </p:cNvSpPr>
          <p:nvPr>
            <p:ph sz="quarter" idx="11"/>
          </p:nvPr>
        </p:nvSpPr>
        <p:spPr>
          <a:xfrm>
            <a:off x="-42520" y="-3"/>
            <a:ext cx="6506960" cy="6858003"/>
          </a:xfrm>
          <a:prstGeom prst="rect">
            <a:avLst/>
          </a:prstGeom>
          <a:solidFill>
            <a:schemeClr val="tx2">
              <a:alpha val="80000"/>
            </a:schemeClr>
          </a:solidFill>
        </p:spPr>
        <p:txBody>
          <a:bodyPr vert="horz" lIns="252000" tIns="252000" rIns="252000" bIns="252000"/>
          <a:lstStyle>
            <a:lvl1pPr marL="0" indent="0">
              <a:buNone/>
              <a:defRPr sz="3199">
                <a:solidFill>
                  <a:schemeClr val="bg1"/>
                </a:solidFill>
              </a:defRPr>
            </a:lvl1pPr>
            <a:lvl2pPr marL="590403" indent="-353396">
              <a:buFont typeface="Arial"/>
              <a:buChar char="•"/>
              <a:defRPr sz="2666">
                <a:solidFill>
                  <a:schemeClr val="bg1"/>
                </a:solidFill>
              </a:defRPr>
            </a:lvl2pPr>
            <a:lvl3pPr marL="943797" indent="-304724">
              <a:buFont typeface="Lucida Grande"/>
              <a:buChar char="–"/>
              <a:defRPr sz="2399">
                <a:solidFill>
                  <a:schemeClr val="bg1"/>
                </a:solidFill>
              </a:defRPr>
            </a:lvl3pPr>
            <a:lvl4pPr marL="1301425" indent="-304724">
              <a:buFont typeface="Lucida Grande"/>
              <a:buChar char="–"/>
              <a:defRPr sz="2133">
                <a:solidFill>
                  <a:schemeClr val="bg1"/>
                </a:solidFill>
              </a:defRPr>
            </a:lvl4pPr>
            <a:lvl5pPr marL="1678098" indent="-308956" defTabSz="418995">
              <a:buFont typeface="Lucida Grande"/>
              <a:buChar char="–"/>
              <a:defRPr sz="2133">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6" name="Slide Number Placeholder 5"/>
          <p:cNvSpPr>
            <a:spLocks noGrp="1"/>
          </p:cNvSpPr>
          <p:nvPr>
            <p:ph type="sldNum" sz="quarter" idx="4"/>
          </p:nvPr>
        </p:nvSpPr>
        <p:spPr>
          <a:xfrm>
            <a:off x="2329915" y="647620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426"/>
            <a:r>
              <a:rPr lang="en-US"/>
              <a:t>Page </a:t>
            </a:r>
            <a:fld id="{5A9C12DC-491F-9444-86A2-13AC5C62A2FC}" type="slidenum">
              <a:rPr lang="en-US" smtClean="0"/>
              <a:pPr defTabSz="609426"/>
              <a:t>‹#›</a:t>
            </a:fld>
            <a:endParaRPr lang="en-US" dirty="0"/>
          </a:p>
        </p:txBody>
      </p:sp>
      <p:sp>
        <p:nvSpPr>
          <p:cNvPr id="8" name="Footer Placeholder 4"/>
          <p:cNvSpPr>
            <a:spLocks noGrp="1"/>
          </p:cNvSpPr>
          <p:nvPr>
            <p:ph type="ftr" sz="quarter" idx="3"/>
          </p:nvPr>
        </p:nvSpPr>
        <p:spPr>
          <a:xfrm>
            <a:off x="336464" y="6476206"/>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426"/>
            <a:r>
              <a:rPr lang="en-US"/>
              <a:t>Confidential Property of Schneider Electric |</a:t>
            </a:r>
            <a:endParaRPr lang="en-US" dirty="0"/>
          </a:p>
        </p:txBody>
      </p:sp>
      <p:pic>
        <p:nvPicPr>
          <p:cNvPr id="9" name="Picture 8" descr="schneider_LIO_Life-Green_RGB.png"/>
          <p:cNvPicPr>
            <a:picLocks noChangeAspect="1"/>
          </p:cNvPicPr>
          <p:nvPr userDrawn="1"/>
        </p:nvPicPr>
        <p:blipFill>
          <a:blip r:embed="rId2" cstate="print"/>
          <a:stretch>
            <a:fillRect/>
          </a:stretch>
        </p:blipFill>
        <p:spPr>
          <a:xfrm>
            <a:off x="9420258" y="5993329"/>
            <a:ext cx="2721688" cy="750604"/>
          </a:xfrm>
          <a:prstGeom prst="rect">
            <a:avLst/>
          </a:prstGeom>
        </p:spPr>
      </p:pic>
    </p:spTree>
    <p:extLst>
      <p:ext uri="{BB962C8B-B14F-4D97-AF65-F5344CB8AC3E}">
        <p14:creationId xmlns:p14="http://schemas.microsoft.com/office/powerpoint/2010/main" val="38495622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415134" y="356915"/>
            <a:ext cx="6857997" cy="61441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426"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Content Placeholder 12"/>
          <p:cNvSpPr>
            <a:spLocks noGrp="1"/>
          </p:cNvSpPr>
          <p:nvPr>
            <p:ph sz="quarter" idx="11" hasCustomPrompt="1"/>
          </p:nvPr>
        </p:nvSpPr>
        <p:spPr>
          <a:xfrm>
            <a:off x="-42520" y="-3"/>
            <a:ext cx="6506960" cy="6858003"/>
          </a:xfrm>
          <a:prstGeom prst="rect">
            <a:avLst/>
          </a:prstGeom>
          <a:solidFill>
            <a:schemeClr val="tx2">
              <a:alpha val="80000"/>
            </a:schemeClr>
          </a:solidFill>
        </p:spPr>
        <p:txBody>
          <a:bodyPr vert="horz" lIns="252000" tIns="252000" rIns="252000" bIns="252000"/>
          <a:lstStyle>
            <a:lvl1pPr marL="0" indent="0">
              <a:buNone/>
              <a:defRPr sz="3199" baseline="0">
                <a:solidFill>
                  <a:schemeClr val="bg1"/>
                </a:solidFill>
              </a:defRPr>
            </a:lvl1pPr>
            <a:lvl2pPr marL="590403" indent="-353396">
              <a:buFont typeface="Arial"/>
              <a:buChar char="•"/>
              <a:defRPr sz="2666">
                <a:solidFill>
                  <a:schemeClr val="bg1"/>
                </a:solidFill>
              </a:defRPr>
            </a:lvl2pPr>
            <a:lvl3pPr marL="943797" indent="-304724">
              <a:buFont typeface="Lucida Grande"/>
              <a:buChar char="–"/>
              <a:defRPr sz="2399">
                <a:solidFill>
                  <a:schemeClr val="bg1"/>
                </a:solidFill>
              </a:defRPr>
            </a:lvl3pPr>
            <a:lvl4pPr marL="1301425" indent="-304724">
              <a:buFont typeface="Lucida Grande"/>
              <a:buChar char="–"/>
              <a:defRPr sz="2133">
                <a:solidFill>
                  <a:schemeClr val="bg1"/>
                </a:solidFill>
              </a:defRPr>
            </a:lvl4pPr>
            <a:lvl5pPr marL="1678098" indent="-308956" defTabSz="418995">
              <a:buFont typeface="Lucida Grande"/>
              <a:buChar char="–"/>
              <a:defRPr sz="2133">
                <a:solidFill>
                  <a:schemeClr val="bg1"/>
                </a:solidFill>
              </a:defRPr>
            </a:lvl5pPr>
          </a:lstStyle>
          <a:p>
            <a:pPr lvl="0"/>
            <a:r>
              <a:rPr lang="en-US" dirty="0"/>
              <a:t>Agenda (edit text)</a:t>
            </a:r>
          </a:p>
        </p:txBody>
      </p:sp>
      <p:sp>
        <p:nvSpPr>
          <p:cNvPr id="6" name="Slide Number Placeholder 5"/>
          <p:cNvSpPr>
            <a:spLocks noGrp="1"/>
          </p:cNvSpPr>
          <p:nvPr>
            <p:ph type="sldNum" sz="quarter" idx="4"/>
          </p:nvPr>
        </p:nvSpPr>
        <p:spPr>
          <a:xfrm>
            <a:off x="2329915" y="647620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426"/>
            <a:r>
              <a:rPr lang="en-US"/>
              <a:t>Page </a:t>
            </a:r>
            <a:fld id="{5A9C12DC-491F-9444-86A2-13AC5C62A2FC}" type="slidenum">
              <a:rPr lang="en-US" smtClean="0"/>
              <a:pPr defTabSz="609426"/>
              <a:t>‹#›</a:t>
            </a:fld>
            <a:endParaRPr lang="en-US" dirty="0"/>
          </a:p>
        </p:txBody>
      </p:sp>
      <p:sp>
        <p:nvSpPr>
          <p:cNvPr id="8" name="Footer Placeholder 4"/>
          <p:cNvSpPr>
            <a:spLocks noGrp="1"/>
          </p:cNvSpPr>
          <p:nvPr>
            <p:ph type="ftr" sz="quarter" idx="3"/>
          </p:nvPr>
        </p:nvSpPr>
        <p:spPr>
          <a:xfrm>
            <a:off x="336464" y="6476206"/>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426"/>
            <a:r>
              <a:rPr lang="en-US"/>
              <a:t>Confidential Property of Schneider Electric |</a:t>
            </a:r>
            <a:endParaRPr lang="en-US" dirty="0"/>
          </a:p>
        </p:txBody>
      </p:sp>
      <p:pic>
        <p:nvPicPr>
          <p:cNvPr id="9" name="Picture 8" descr="schneider_LIO_Life-Green_RGB.png"/>
          <p:cNvPicPr>
            <a:picLocks noChangeAspect="1"/>
          </p:cNvPicPr>
          <p:nvPr userDrawn="1"/>
        </p:nvPicPr>
        <p:blipFill>
          <a:blip r:embed="rId2" cstate="print"/>
          <a:stretch>
            <a:fillRect/>
          </a:stretch>
        </p:blipFill>
        <p:spPr>
          <a:xfrm>
            <a:off x="9420258" y="5993329"/>
            <a:ext cx="2721688" cy="750604"/>
          </a:xfrm>
          <a:prstGeom prst="rect">
            <a:avLst/>
          </a:prstGeom>
        </p:spPr>
      </p:pic>
      <p:sp>
        <p:nvSpPr>
          <p:cNvPr id="10" name="Rechteck 7"/>
          <p:cNvSpPr/>
          <p:nvPr userDrawn="1"/>
        </p:nvSpPr>
        <p:spPr>
          <a:xfrm>
            <a:off x="6707665" y="365711"/>
            <a:ext cx="609441"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marL="0" marR="0" lvl="0" indent="0" algn="ctr" defTabSz="609426" rtl="0" eaLnBrk="1" fontAlgn="auto" latinLnBrk="0" hangingPunct="1">
              <a:lnSpc>
                <a:spcPct val="100000"/>
              </a:lnSpc>
              <a:spcBef>
                <a:spcPts val="0"/>
              </a:spcBef>
              <a:spcAft>
                <a:spcPts val="0"/>
              </a:spcAft>
              <a:buClrTx/>
              <a:buSzTx/>
              <a:buFontTx/>
              <a:buNone/>
              <a:tabLst/>
              <a:defRPr/>
            </a:pPr>
            <a:endParaRPr kumimoji="0" lang="en-US" sz="1733"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11" name="Rechteck 8"/>
          <p:cNvSpPr/>
          <p:nvPr userDrawn="1"/>
        </p:nvSpPr>
        <p:spPr>
          <a:xfrm>
            <a:off x="7486407" y="365717"/>
            <a:ext cx="4266089"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marL="0" marR="0" lvl="0" indent="0" algn="l" defTabSz="609426" rtl="0" eaLnBrk="1" fontAlgn="auto" latinLnBrk="0" hangingPunct="1">
              <a:lnSpc>
                <a:spcPct val="100000"/>
              </a:lnSpc>
              <a:spcBef>
                <a:spcPts val="0"/>
              </a:spcBef>
              <a:spcAft>
                <a:spcPts val="0"/>
              </a:spcAft>
              <a:buClrTx/>
              <a:buSzTx/>
              <a:buFontTx/>
              <a:buNone/>
              <a:tabLst/>
              <a:defRPr/>
            </a:pPr>
            <a:endParaRPr kumimoji="0" lang="en-US" sz="1733"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12" name="Rechteck 10"/>
          <p:cNvSpPr/>
          <p:nvPr userDrawn="1"/>
        </p:nvSpPr>
        <p:spPr>
          <a:xfrm>
            <a:off x="6703309" y="1047793"/>
            <a:ext cx="609441"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marL="0" marR="0" lvl="0" indent="0" algn="ctr" defTabSz="609426" rtl="0" eaLnBrk="1" fontAlgn="auto" latinLnBrk="0" hangingPunct="1">
              <a:lnSpc>
                <a:spcPct val="100000"/>
              </a:lnSpc>
              <a:spcBef>
                <a:spcPts val="0"/>
              </a:spcBef>
              <a:spcAft>
                <a:spcPts val="0"/>
              </a:spcAft>
              <a:buClrTx/>
              <a:buSzTx/>
              <a:buFontTx/>
              <a:buNone/>
              <a:tabLst/>
              <a:defRPr/>
            </a:pPr>
            <a:endParaRPr kumimoji="0" lang="en-US" sz="1733"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13" name="Rechteck 11"/>
          <p:cNvSpPr/>
          <p:nvPr userDrawn="1"/>
        </p:nvSpPr>
        <p:spPr>
          <a:xfrm>
            <a:off x="7496943" y="1049115"/>
            <a:ext cx="4266089"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marL="0" marR="0" lvl="0" indent="0" algn="l" defTabSz="609426" rtl="0" eaLnBrk="1" fontAlgn="auto" latinLnBrk="0" hangingPunct="1">
              <a:lnSpc>
                <a:spcPct val="100000"/>
              </a:lnSpc>
              <a:spcBef>
                <a:spcPts val="0"/>
              </a:spcBef>
              <a:spcAft>
                <a:spcPts val="0"/>
              </a:spcAft>
              <a:buClrTx/>
              <a:buSzTx/>
              <a:buFontTx/>
              <a:buNone/>
              <a:tabLst>
                <a:tab pos="477894" algn="l"/>
              </a:tabLst>
              <a:defRPr/>
            </a:pPr>
            <a:endParaRPr kumimoji="0" lang="en-US" sz="1733"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31" name="Rechteck 10"/>
          <p:cNvSpPr/>
          <p:nvPr userDrawn="1"/>
        </p:nvSpPr>
        <p:spPr>
          <a:xfrm>
            <a:off x="6703309" y="1733593"/>
            <a:ext cx="609441"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marL="0" marR="0" lvl="0" indent="0" algn="ctr" defTabSz="609426" rtl="0" eaLnBrk="1" fontAlgn="auto" latinLnBrk="0" hangingPunct="1">
              <a:lnSpc>
                <a:spcPct val="100000"/>
              </a:lnSpc>
              <a:spcBef>
                <a:spcPts val="0"/>
              </a:spcBef>
              <a:spcAft>
                <a:spcPts val="0"/>
              </a:spcAft>
              <a:buClrTx/>
              <a:buSzTx/>
              <a:buFontTx/>
              <a:buNone/>
              <a:tabLst/>
              <a:defRPr/>
            </a:pPr>
            <a:endParaRPr kumimoji="0" lang="en-US" sz="1733"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32" name="Rechteck 11"/>
          <p:cNvSpPr/>
          <p:nvPr userDrawn="1"/>
        </p:nvSpPr>
        <p:spPr>
          <a:xfrm>
            <a:off x="7496943" y="1734915"/>
            <a:ext cx="4266089"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marL="0" marR="0" lvl="0" indent="0" algn="l" defTabSz="609426" rtl="0" eaLnBrk="1" fontAlgn="auto" latinLnBrk="0" hangingPunct="1">
              <a:lnSpc>
                <a:spcPct val="100000"/>
              </a:lnSpc>
              <a:spcBef>
                <a:spcPts val="0"/>
              </a:spcBef>
              <a:spcAft>
                <a:spcPts val="0"/>
              </a:spcAft>
              <a:buClrTx/>
              <a:buSzTx/>
              <a:buFontTx/>
              <a:buNone/>
              <a:tabLst>
                <a:tab pos="477894" algn="l"/>
              </a:tabLst>
              <a:defRPr/>
            </a:pPr>
            <a:endParaRPr kumimoji="0" lang="en-US" sz="1733"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45" name="Rechteck 10"/>
          <p:cNvSpPr/>
          <p:nvPr userDrawn="1"/>
        </p:nvSpPr>
        <p:spPr>
          <a:xfrm>
            <a:off x="6703309" y="2419393"/>
            <a:ext cx="609441"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marL="0" marR="0" lvl="0" indent="0" algn="ctr" defTabSz="609426" rtl="0" eaLnBrk="1" fontAlgn="auto" latinLnBrk="0" hangingPunct="1">
              <a:lnSpc>
                <a:spcPct val="100000"/>
              </a:lnSpc>
              <a:spcBef>
                <a:spcPts val="0"/>
              </a:spcBef>
              <a:spcAft>
                <a:spcPts val="0"/>
              </a:spcAft>
              <a:buClrTx/>
              <a:buSzTx/>
              <a:buFontTx/>
              <a:buNone/>
              <a:tabLst/>
              <a:defRPr/>
            </a:pPr>
            <a:endParaRPr kumimoji="0" lang="en-US" sz="1733"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46" name="Rechteck 11"/>
          <p:cNvSpPr/>
          <p:nvPr userDrawn="1"/>
        </p:nvSpPr>
        <p:spPr>
          <a:xfrm>
            <a:off x="7496943" y="2420715"/>
            <a:ext cx="4266089"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marL="0" marR="0" lvl="0" indent="0" algn="l" defTabSz="609426" rtl="0" eaLnBrk="1" fontAlgn="auto" latinLnBrk="0" hangingPunct="1">
              <a:lnSpc>
                <a:spcPct val="100000"/>
              </a:lnSpc>
              <a:spcBef>
                <a:spcPts val="0"/>
              </a:spcBef>
              <a:spcAft>
                <a:spcPts val="0"/>
              </a:spcAft>
              <a:buClrTx/>
              <a:buSzTx/>
              <a:buFontTx/>
              <a:buNone/>
              <a:tabLst>
                <a:tab pos="477894" algn="l"/>
              </a:tabLst>
              <a:defRPr/>
            </a:pPr>
            <a:endParaRPr kumimoji="0" lang="en-US" sz="1733"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47" name="Rechteck 10"/>
          <p:cNvSpPr/>
          <p:nvPr userDrawn="1"/>
        </p:nvSpPr>
        <p:spPr>
          <a:xfrm>
            <a:off x="6703309" y="3105193"/>
            <a:ext cx="609441"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marL="0" marR="0" lvl="0" indent="0" algn="ctr" defTabSz="609426" rtl="0" eaLnBrk="1" fontAlgn="auto" latinLnBrk="0" hangingPunct="1">
              <a:lnSpc>
                <a:spcPct val="100000"/>
              </a:lnSpc>
              <a:spcBef>
                <a:spcPts val="0"/>
              </a:spcBef>
              <a:spcAft>
                <a:spcPts val="0"/>
              </a:spcAft>
              <a:buClrTx/>
              <a:buSzTx/>
              <a:buFontTx/>
              <a:buNone/>
              <a:tabLst/>
              <a:defRPr/>
            </a:pPr>
            <a:endParaRPr kumimoji="0" lang="en-US" sz="1733"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48" name="Rechteck 11"/>
          <p:cNvSpPr/>
          <p:nvPr userDrawn="1"/>
        </p:nvSpPr>
        <p:spPr>
          <a:xfrm>
            <a:off x="7496943" y="3106515"/>
            <a:ext cx="4266089"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marL="0" marR="0" lvl="0" indent="0" algn="l" defTabSz="609426" rtl="0" eaLnBrk="1" fontAlgn="auto" latinLnBrk="0" hangingPunct="1">
              <a:lnSpc>
                <a:spcPct val="100000"/>
              </a:lnSpc>
              <a:spcBef>
                <a:spcPts val="0"/>
              </a:spcBef>
              <a:spcAft>
                <a:spcPts val="0"/>
              </a:spcAft>
              <a:buClrTx/>
              <a:buSzTx/>
              <a:buFontTx/>
              <a:buNone/>
              <a:tabLst>
                <a:tab pos="477894" algn="l"/>
              </a:tabLst>
              <a:defRPr/>
            </a:pPr>
            <a:endParaRPr kumimoji="0" lang="en-US" sz="1733"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49" name="Rechteck 10"/>
          <p:cNvSpPr/>
          <p:nvPr userDrawn="1"/>
        </p:nvSpPr>
        <p:spPr>
          <a:xfrm>
            <a:off x="6703309" y="3816393"/>
            <a:ext cx="609441"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marL="0" marR="0" lvl="0" indent="0" algn="ctr" defTabSz="609426" rtl="0" eaLnBrk="1" fontAlgn="auto" latinLnBrk="0" hangingPunct="1">
              <a:lnSpc>
                <a:spcPct val="100000"/>
              </a:lnSpc>
              <a:spcBef>
                <a:spcPts val="0"/>
              </a:spcBef>
              <a:spcAft>
                <a:spcPts val="0"/>
              </a:spcAft>
              <a:buClrTx/>
              <a:buSzTx/>
              <a:buFontTx/>
              <a:buNone/>
              <a:tabLst/>
              <a:defRPr/>
            </a:pPr>
            <a:endParaRPr kumimoji="0" lang="en-US" sz="1733"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50" name="Rechteck 11"/>
          <p:cNvSpPr/>
          <p:nvPr userDrawn="1"/>
        </p:nvSpPr>
        <p:spPr>
          <a:xfrm>
            <a:off x="7496943" y="3817715"/>
            <a:ext cx="4266089"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marL="0" marR="0" lvl="0" indent="0" algn="l" defTabSz="609426" rtl="0" eaLnBrk="1" fontAlgn="auto" latinLnBrk="0" hangingPunct="1">
              <a:lnSpc>
                <a:spcPct val="100000"/>
              </a:lnSpc>
              <a:spcBef>
                <a:spcPts val="0"/>
              </a:spcBef>
              <a:spcAft>
                <a:spcPts val="0"/>
              </a:spcAft>
              <a:buClrTx/>
              <a:buSzTx/>
              <a:buFontTx/>
              <a:buNone/>
              <a:tabLst>
                <a:tab pos="477894" algn="l"/>
              </a:tabLst>
              <a:defRPr/>
            </a:pPr>
            <a:endParaRPr kumimoji="0" lang="en-US" sz="1733"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51" name="Rechteck 10"/>
          <p:cNvSpPr/>
          <p:nvPr userDrawn="1"/>
        </p:nvSpPr>
        <p:spPr>
          <a:xfrm>
            <a:off x="6703309" y="4527593"/>
            <a:ext cx="609441"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marL="0" marR="0" lvl="0" indent="0" algn="ctr" defTabSz="609426" rtl="0" eaLnBrk="1" fontAlgn="auto" latinLnBrk="0" hangingPunct="1">
              <a:lnSpc>
                <a:spcPct val="100000"/>
              </a:lnSpc>
              <a:spcBef>
                <a:spcPts val="0"/>
              </a:spcBef>
              <a:spcAft>
                <a:spcPts val="0"/>
              </a:spcAft>
              <a:buClrTx/>
              <a:buSzTx/>
              <a:buFontTx/>
              <a:buNone/>
              <a:tabLst/>
              <a:defRPr/>
            </a:pPr>
            <a:endParaRPr kumimoji="0" lang="en-US" sz="1733"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52" name="Rechteck 11"/>
          <p:cNvSpPr/>
          <p:nvPr userDrawn="1"/>
        </p:nvSpPr>
        <p:spPr>
          <a:xfrm>
            <a:off x="7496943" y="4528915"/>
            <a:ext cx="4266089"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marL="0" marR="0" lvl="0" indent="0" algn="l" defTabSz="609426" rtl="0" eaLnBrk="1" fontAlgn="auto" latinLnBrk="0" hangingPunct="1">
              <a:lnSpc>
                <a:spcPct val="100000"/>
              </a:lnSpc>
              <a:spcBef>
                <a:spcPts val="0"/>
              </a:spcBef>
              <a:spcAft>
                <a:spcPts val="0"/>
              </a:spcAft>
              <a:buClrTx/>
              <a:buSzTx/>
              <a:buFontTx/>
              <a:buNone/>
              <a:tabLst>
                <a:tab pos="477894" algn="l"/>
              </a:tabLst>
              <a:defRPr/>
            </a:pPr>
            <a:endParaRPr kumimoji="0" lang="en-US" sz="1733"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55" name="Rechteck 10"/>
          <p:cNvSpPr/>
          <p:nvPr userDrawn="1"/>
        </p:nvSpPr>
        <p:spPr>
          <a:xfrm>
            <a:off x="6703309" y="5226093"/>
            <a:ext cx="609441"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marL="0" marR="0" lvl="0" indent="0" algn="ctr" defTabSz="609426" rtl="0" eaLnBrk="1" fontAlgn="auto" latinLnBrk="0" hangingPunct="1">
              <a:lnSpc>
                <a:spcPct val="100000"/>
              </a:lnSpc>
              <a:spcBef>
                <a:spcPts val="0"/>
              </a:spcBef>
              <a:spcAft>
                <a:spcPts val="0"/>
              </a:spcAft>
              <a:buClrTx/>
              <a:buSzTx/>
              <a:buFontTx/>
              <a:buNone/>
              <a:tabLst/>
              <a:defRPr/>
            </a:pPr>
            <a:endParaRPr kumimoji="0" lang="en-US" sz="1733" b="1" i="0" u="none" strike="noStrike" kern="1200" cap="none" spc="0" normalizeH="0" baseline="0" noProof="0" dirty="0">
              <a:ln>
                <a:noFill/>
              </a:ln>
              <a:solidFill>
                <a:srgbClr val="626469"/>
              </a:solidFill>
              <a:effectLst/>
              <a:uLnTx/>
              <a:uFillTx/>
              <a:latin typeface="Arial"/>
              <a:ea typeface="Arial Unicode MS" pitchFamily="34" charset="-128"/>
              <a:cs typeface="Arial" pitchFamily="34" charset="0"/>
            </a:endParaRPr>
          </a:p>
        </p:txBody>
      </p:sp>
      <p:sp>
        <p:nvSpPr>
          <p:cNvPr id="56" name="Rechteck 11"/>
          <p:cNvSpPr/>
          <p:nvPr userDrawn="1"/>
        </p:nvSpPr>
        <p:spPr>
          <a:xfrm>
            <a:off x="7496943" y="5227415"/>
            <a:ext cx="4266089"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marL="0" marR="0" lvl="0" indent="0" algn="l" defTabSz="609426" rtl="0" eaLnBrk="1" fontAlgn="auto" latinLnBrk="0" hangingPunct="1">
              <a:lnSpc>
                <a:spcPct val="100000"/>
              </a:lnSpc>
              <a:spcBef>
                <a:spcPts val="0"/>
              </a:spcBef>
              <a:spcAft>
                <a:spcPts val="0"/>
              </a:spcAft>
              <a:buClrTx/>
              <a:buSzTx/>
              <a:buFontTx/>
              <a:buNone/>
              <a:tabLst>
                <a:tab pos="477894" algn="l"/>
              </a:tabLst>
              <a:defRPr/>
            </a:pPr>
            <a:endParaRPr kumimoji="0" lang="en-US" sz="1733" b="1" i="0" u="none" strike="noStrike" kern="1200" cap="none" spc="0" normalizeH="0" baseline="0" noProof="0" dirty="0">
              <a:ln>
                <a:noFill/>
              </a:ln>
              <a:solidFill>
                <a:srgbClr val="626469"/>
              </a:solidFill>
              <a:effectLst/>
              <a:uLnTx/>
              <a:uFillTx/>
              <a:latin typeface="Arial"/>
              <a:ea typeface="+mn-ea"/>
              <a:cs typeface="Arial" pitchFamily="34" charset="0"/>
            </a:endParaRPr>
          </a:p>
        </p:txBody>
      </p:sp>
      <p:sp>
        <p:nvSpPr>
          <p:cNvPr id="24" name="Text Placeholder 4"/>
          <p:cNvSpPr>
            <a:spLocks noGrp="1"/>
          </p:cNvSpPr>
          <p:nvPr userDrawn="1">
            <p:ph type="body" sz="quarter" idx="13" hasCustomPrompt="1"/>
          </p:nvPr>
        </p:nvSpPr>
        <p:spPr>
          <a:xfrm>
            <a:off x="6670396" y="509517"/>
            <a:ext cx="679284" cy="280855"/>
          </a:xfrm>
          <a:prstGeom prst="rect">
            <a:avLst/>
          </a:prstGeom>
        </p:spPr>
        <p:txBody>
          <a:bodyPr anchor="ctr"/>
          <a:lstStyle>
            <a:lvl1pPr algn="ctr">
              <a:buNone/>
              <a:defRPr sz="1733" b="1">
                <a:solidFill>
                  <a:schemeClr val="accent1"/>
                </a:solidFill>
              </a:defRPr>
            </a:lvl1pPr>
          </a:lstStyle>
          <a:p>
            <a:r>
              <a:rPr lang="en-US" dirty="0"/>
              <a:t>1</a:t>
            </a:r>
          </a:p>
        </p:txBody>
      </p:sp>
      <p:sp>
        <p:nvSpPr>
          <p:cNvPr id="23" name="Text Placeholder 4"/>
          <p:cNvSpPr>
            <a:spLocks noGrp="1"/>
          </p:cNvSpPr>
          <p:nvPr userDrawn="1">
            <p:ph type="body" sz="quarter" idx="12" hasCustomPrompt="1"/>
          </p:nvPr>
        </p:nvSpPr>
        <p:spPr>
          <a:xfrm>
            <a:off x="7504221" y="527714"/>
            <a:ext cx="4193412" cy="277820"/>
          </a:xfrm>
          <a:prstGeom prst="rect">
            <a:avLst/>
          </a:prstGeom>
        </p:spPr>
        <p:txBody>
          <a:bodyPr anchor="ctr"/>
          <a:lstStyle>
            <a:lvl1pPr>
              <a:buNone/>
              <a:defRPr sz="1733" b="1">
                <a:solidFill>
                  <a:schemeClr val="accent1"/>
                </a:solidFill>
              </a:defRPr>
            </a:lvl1pPr>
          </a:lstStyle>
          <a:p>
            <a:r>
              <a:rPr lang="en-US" dirty="0"/>
              <a:t>Edit text</a:t>
            </a:r>
          </a:p>
        </p:txBody>
      </p:sp>
      <p:sp>
        <p:nvSpPr>
          <p:cNvPr id="26" name="Text Placeholder 4"/>
          <p:cNvSpPr>
            <a:spLocks noGrp="1"/>
          </p:cNvSpPr>
          <p:nvPr userDrawn="1">
            <p:ph type="body" sz="quarter" idx="15" hasCustomPrompt="1"/>
          </p:nvPr>
        </p:nvSpPr>
        <p:spPr>
          <a:xfrm>
            <a:off x="6673425" y="1167650"/>
            <a:ext cx="679284" cy="280855"/>
          </a:xfrm>
          <a:prstGeom prst="rect">
            <a:avLst/>
          </a:prstGeom>
        </p:spPr>
        <p:txBody>
          <a:bodyPr anchor="ctr"/>
          <a:lstStyle>
            <a:lvl1pPr algn="ctr">
              <a:buNone/>
              <a:defRPr sz="1733" b="1">
                <a:solidFill>
                  <a:schemeClr val="accent1"/>
                </a:solidFill>
              </a:defRPr>
            </a:lvl1pPr>
          </a:lstStyle>
          <a:p>
            <a:r>
              <a:rPr lang="en-US" dirty="0"/>
              <a:t>2</a:t>
            </a:r>
          </a:p>
        </p:txBody>
      </p:sp>
      <p:sp>
        <p:nvSpPr>
          <p:cNvPr id="25" name="Text Placeholder 4"/>
          <p:cNvSpPr>
            <a:spLocks noGrp="1"/>
          </p:cNvSpPr>
          <p:nvPr userDrawn="1">
            <p:ph type="body" sz="quarter" idx="14" hasCustomPrompt="1"/>
          </p:nvPr>
        </p:nvSpPr>
        <p:spPr>
          <a:xfrm>
            <a:off x="7507250" y="1185847"/>
            <a:ext cx="4193412" cy="277820"/>
          </a:xfrm>
          <a:prstGeom prst="rect">
            <a:avLst/>
          </a:prstGeom>
        </p:spPr>
        <p:txBody>
          <a:bodyPr anchor="ctr"/>
          <a:lstStyle>
            <a:lvl1pPr>
              <a:buNone/>
              <a:defRPr sz="1733" b="1">
                <a:solidFill>
                  <a:schemeClr val="accent1"/>
                </a:solidFill>
              </a:defRPr>
            </a:lvl1pPr>
          </a:lstStyle>
          <a:p>
            <a:r>
              <a:rPr lang="en-US" dirty="0"/>
              <a:t>Edit text</a:t>
            </a:r>
          </a:p>
        </p:txBody>
      </p:sp>
      <p:sp>
        <p:nvSpPr>
          <p:cNvPr id="27" name="Text Placeholder 4"/>
          <p:cNvSpPr>
            <a:spLocks noGrp="1"/>
          </p:cNvSpPr>
          <p:nvPr userDrawn="1">
            <p:ph type="body" sz="quarter" idx="16" hasCustomPrompt="1"/>
          </p:nvPr>
        </p:nvSpPr>
        <p:spPr>
          <a:xfrm>
            <a:off x="6658260" y="1880375"/>
            <a:ext cx="679284" cy="280855"/>
          </a:xfrm>
          <a:prstGeom prst="rect">
            <a:avLst/>
          </a:prstGeom>
        </p:spPr>
        <p:txBody>
          <a:bodyPr anchor="ctr"/>
          <a:lstStyle>
            <a:lvl1pPr algn="ctr">
              <a:buNone/>
              <a:defRPr sz="1733" b="1">
                <a:solidFill>
                  <a:schemeClr val="accent1"/>
                </a:solidFill>
              </a:defRPr>
            </a:lvl1pPr>
          </a:lstStyle>
          <a:p>
            <a:r>
              <a:rPr lang="en-US" dirty="0"/>
              <a:t>3</a:t>
            </a:r>
          </a:p>
        </p:txBody>
      </p:sp>
      <p:sp>
        <p:nvSpPr>
          <p:cNvPr id="28" name="Text Placeholder 4"/>
          <p:cNvSpPr>
            <a:spLocks noGrp="1"/>
          </p:cNvSpPr>
          <p:nvPr userDrawn="1">
            <p:ph type="body" sz="quarter" idx="17" hasCustomPrompt="1"/>
          </p:nvPr>
        </p:nvSpPr>
        <p:spPr>
          <a:xfrm>
            <a:off x="7492086" y="1898573"/>
            <a:ext cx="4193412" cy="277820"/>
          </a:xfrm>
          <a:prstGeom prst="rect">
            <a:avLst/>
          </a:prstGeom>
        </p:spPr>
        <p:txBody>
          <a:bodyPr anchor="ctr"/>
          <a:lstStyle>
            <a:lvl1pPr>
              <a:buNone/>
              <a:defRPr sz="1733" b="1">
                <a:solidFill>
                  <a:schemeClr val="accent1"/>
                </a:solidFill>
              </a:defRPr>
            </a:lvl1pPr>
          </a:lstStyle>
          <a:p>
            <a:r>
              <a:rPr lang="en-US" dirty="0"/>
              <a:t>Edit text</a:t>
            </a:r>
          </a:p>
        </p:txBody>
      </p:sp>
      <p:sp>
        <p:nvSpPr>
          <p:cNvPr id="29" name="Text Placeholder 4"/>
          <p:cNvSpPr>
            <a:spLocks noGrp="1"/>
          </p:cNvSpPr>
          <p:nvPr userDrawn="1">
            <p:ph type="body" sz="quarter" idx="18" hasCustomPrompt="1"/>
          </p:nvPr>
        </p:nvSpPr>
        <p:spPr>
          <a:xfrm>
            <a:off x="6655232" y="2568845"/>
            <a:ext cx="679284" cy="280855"/>
          </a:xfrm>
          <a:prstGeom prst="rect">
            <a:avLst/>
          </a:prstGeom>
        </p:spPr>
        <p:txBody>
          <a:bodyPr anchor="ctr"/>
          <a:lstStyle>
            <a:lvl1pPr algn="ctr">
              <a:buNone/>
              <a:defRPr sz="1733" b="1">
                <a:solidFill>
                  <a:schemeClr val="accent1"/>
                </a:solidFill>
              </a:defRPr>
            </a:lvl1pPr>
          </a:lstStyle>
          <a:p>
            <a:r>
              <a:rPr lang="en-US" dirty="0"/>
              <a:t>4</a:t>
            </a:r>
          </a:p>
        </p:txBody>
      </p:sp>
      <p:sp>
        <p:nvSpPr>
          <p:cNvPr id="30" name="Text Placeholder 4"/>
          <p:cNvSpPr>
            <a:spLocks noGrp="1"/>
          </p:cNvSpPr>
          <p:nvPr userDrawn="1">
            <p:ph type="body" sz="quarter" idx="19" hasCustomPrompt="1"/>
          </p:nvPr>
        </p:nvSpPr>
        <p:spPr>
          <a:xfrm>
            <a:off x="7489057" y="2587042"/>
            <a:ext cx="4193412" cy="277820"/>
          </a:xfrm>
          <a:prstGeom prst="rect">
            <a:avLst/>
          </a:prstGeom>
        </p:spPr>
        <p:txBody>
          <a:bodyPr anchor="ctr"/>
          <a:lstStyle>
            <a:lvl1pPr>
              <a:buNone/>
              <a:defRPr sz="1733" b="1">
                <a:solidFill>
                  <a:schemeClr val="accent1"/>
                </a:solidFill>
              </a:defRPr>
            </a:lvl1pPr>
          </a:lstStyle>
          <a:p>
            <a:r>
              <a:rPr lang="en-US" dirty="0"/>
              <a:t>Edit text</a:t>
            </a:r>
          </a:p>
        </p:txBody>
      </p:sp>
      <p:sp>
        <p:nvSpPr>
          <p:cNvPr id="33" name="Text Placeholder 4"/>
          <p:cNvSpPr>
            <a:spLocks noGrp="1"/>
          </p:cNvSpPr>
          <p:nvPr userDrawn="1">
            <p:ph type="body" sz="quarter" idx="20" hasCustomPrompt="1"/>
          </p:nvPr>
        </p:nvSpPr>
        <p:spPr>
          <a:xfrm>
            <a:off x="6658260" y="3226978"/>
            <a:ext cx="679284" cy="280855"/>
          </a:xfrm>
          <a:prstGeom prst="rect">
            <a:avLst/>
          </a:prstGeom>
        </p:spPr>
        <p:txBody>
          <a:bodyPr anchor="ctr"/>
          <a:lstStyle>
            <a:lvl1pPr algn="ctr">
              <a:buNone/>
              <a:defRPr sz="1733" b="1">
                <a:solidFill>
                  <a:schemeClr val="accent1"/>
                </a:solidFill>
              </a:defRPr>
            </a:lvl1pPr>
          </a:lstStyle>
          <a:p>
            <a:r>
              <a:rPr lang="en-US" dirty="0"/>
              <a:t>5</a:t>
            </a:r>
          </a:p>
        </p:txBody>
      </p:sp>
      <p:sp>
        <p:nvSpPr>
          <p:cNvPr id="34" name="Text Placeholder 4"/>
          <p:cNvSpPr>
            <a:spLocks noGrp="1"/>
          </p:cNvSpPr>
          <p:nvPr userDrawn="1">
            <p:ph type="body" sz="quarter" idx="21" hasCustomPrompt="1"/>
          </p:nvPr>
        </p:nvSpPr>
        <p:spPr>
          <a:xfrm>
            <a:off x="7492086" y="3245175"/>
            <a:ext cx="4193412" cy="277820"/>
          </a:xfrm>
          <a:prstGeom prst="rect">
            <a:avLst/>
          </a:prstGeom>
        </p:spPr>
        <p:txBody>
          <a:bodyPr anchor="ctr"/>
          <a:lstStyle>
            <a:lvl1pPr>
              <a:buNone/>
              <a:defRPr sz="1733" b="1">
                <a:solidFill>
                  <a:schemeClr val="accent1"/>
                </a:solidFill>
              </a:defRPr>
            </a:lvl1pPr>
          </a:lstStyle>
          <a:p>
            <a:r>
              <a:rPr lang="en-US" dirty="0"/>
              <a:t>Edit text</a:t>
            </a:r>
          </a:p>
        </p:txBody>
      </p:sp>
      <p:sp>
        <p:nvSpPr>
          <p:cNvPr id="35" name="Text Placeholder 4"/>
          <p:cNvSpPr>
            <a:spLocks noGrp="1"/>
          </p:cNvSpPr>
          <p:nvPr userDrawn="1">
            <p:ph type="body" sz="quarter" idx="22" hasCustomPrompt="1"/>
          </p:nvPr>
        </p:nvSpPr>
        <p:spPr>
          <a:xfrm>
            <a:off x="6661289" y="3939703"/>
            <a:ext cx="679284" cy="280855"/>
          </a:xfrm>
          <a:prstGeom prst="rect">
            <a:avLst/>
          </a:prstGeom>
        </p:spPr>
        <p:txBody>
          <a:bodyPr anchor="ctr"/>
          <a:lstStyle>
            <a:lvl1pPr algn="ctr">
              <a:buNone/>
              <a:defRPr sz="1733" b="1">
                <a:solidFill>
                  <a:schemeClr val="accent1"/>
                </a:solidFill>
              </a:defRPr>
            </a:lvl1pPr>
          </a:lstStyle>
          <a:p>
            <a:r>
              <a:rPr lang="en-US" dirty="0"/>
              <a:t>6</a:t>
            </a:r>
          </a:p>
        </p:txBody>
      </p:sp>
      <p:sp>
        <p:nvSpPr>
          <p:cNvPr id="36" name="Text Placeholder 4"/>
          <p:cNvSpPr>
            <a:spLocks noGrp="1"/>
          </p:cNvSpPr>
          <p:nvPr userDrawn="1">
            <p:ph type="body" sz="quarter" idx="23" hasCustomPrompt="1"/>
          </p:nvPr>
        </p:nvSpPr>
        <p:spPr>
          <a:xfrm>
            <a:off x="7476922" y="3957901"/>
            <a:ext cx="4193412" cy="277820"/>
          </a:xfrm>
          <a:prstGeom prst="rect">
            <a:avLst/>
          </a:prstGeom>
        </p:spPr>
        <p:txBody>
          <a:bodyPr anchor="ctr"/>
          <a:lstStyle>
            <a:lvl1pPr>
              <a:buNone/>
              <a:defRPr sz="1733" b="1">
                <a:solidFill>
                  <a:schemeClr val="accent1"/>
                </a:solidFill>
              </a:defRPr>
            </a:lvl1pPr>
          </a:lstStyle>
          <a:p>
            <a:r>
              <a:rPr lang="en-US" dirty="0"/>
              <a:t>Edit text</a:t>
            </a:r>
          </a:p>
        </p:txBody>
      </p:sp>
      <p:sp>
        <p:nvSpPr>
          <p:cNvPr id="37" name="Text Placeholder 4"/>
          <p:cNvSpPr>
            <a:spLocks noGrp="1"/>
          </p:cNvSpPr>
          <p:nvPr userDrawn="1">
            <p:ph type="body" sz="quarter" idx="24" hasCustomPrompt="1"/>
          </p:nvPr>
        </p:nvSpPr>
        <p:spPr>
          <a:xfrm>
            <a:off x="6643096" y="4649399"/>
            <a:ext cx="679284" cy="280855"/>
          </a:xfrm>
          <a:prstGeom prst="rect">
            <a:avLst/>
          </a:prstGeom>
        </p:spPr>
        <p:txBody>
          <a:bodyPr anchor="ctr"/>
          <a:lstStyle>
            <a:lvl1pPr algn="ctr">
              <a:buNone/>
              <a:defRPr sz="1733" b="1">
                <a:solidFill>
                  <a:schemeClr val="accent1"/>
                </a:solidFill>
              </a:defRPr>
            </a:lvl1pPr>
          </a:lstStyle>
          <a:p>
            <a:r>
              <a:rPr lang="en-US" dirty="0"/>
              <a:t>7</a:t>
            </a:r>
          </a:p>
        </p:txBody>
      </p:sp>
      <p:sp>
        <p:nvSpPr>
          <p:cNvPr id="38" name="Text Placeholder 4"/>
          <p:cNvSpPr>
            <a:spLocks noGrp="1"/>
          </p:cNvSpPr>
          <p:nvPr userDrawn="1">
            <p:ph type="body" sz="quarter" idx="25" hasCustomPrompt="1"/>
          </p:nvPr>
        </p:nvSpPr>
        <p:spPr>
          <a:xfrm>
            <a:off x="7495114" y="4667597"/>
            <a:ext cx="4193412" cy="277820"/>
          </a:xfrm>
          <a:prstGeom prst="rect">
            <a:avLst/>
          </a:prstGeom>
        </p:spPr>
        <p:txBody>
          <a:bodyPr anchor="ctr"/>
          <a:lstStyle>
            <a:lvl1pPr>
              <a:buNone/>
              <a:defRPr sz="1733" b="1">
                <a:solidFill>
                  <a:schemeClr val="accent1"/>
                </a:solidFill>
              </a:defRPr>
            </a:lvl1pPr>
          </a:lstStyle>
          <a:p>
            <a:r>
              <a:rPr lang="en-US" dirty="0"/>
              <a:t>Edit text</a:t>
            </a:r>
          </a:p>
        </p:txBody>
      </p:sp>
      <p:sp>
        <p:nvSpPr>
          <p:cNvPr id="39" name="Text Placeholder 4"/>
          <p:cNvSpPr>
            <a:spLocks noGrp="1"/>
          </p:cNvSpPr>
          <p:nvPr userDrawn="1">
            <p:ph type="body" sz="quarter" idx="26" hasCustomPrompt="1"/>
          </p:nvPr>
        </p:nvSpPr>
        <p:spPr>
          <a:xfrm>
            <a:off x="6646125" y="5362125"/>
            <a:ext cx="679284" cy="280855"/>
          </a:xfrm>
          <a:prstGeom prst="rect">
            <a:avLst/>
          </a:prstGeom>
        </p:spPr>
        <p:txBody>
          <a:bodyPr anchor="ctr"/>
          <a:lstStyle>
            <a:lvl1pPr algn="ctr">
              <a:buNone/>
              <a:defRPr sz="1733" b="1">
                <a:solidFill>
                  <a:schemeClr val="accent1"/>
                </a:solidFill>
              </a:defRPr>
            </a:lvl1pPr>
          </a:lstStyle>
          <a:p>
            <a:r>
              <a:rPr lang="en-US" dirty="0"/>
              <a:t>8</a:t>
            </a:r>
          </a:p>
        </p:txBody>
      </p:sp>
      <p:sp>
        <p:nvSpPr>
          <p:cNvPr id="40" name="Text Placeholder 4"/>
          <p:cNvSpPr>
            <a:spLocks noGrp="1"/>
          </p:cNvSpPr>
          <p:nvPr userDrawn="1">
            <p:ph type="body" sz="quarter" idx="27" hasCustomPrompt="1"/>
          </p:nvPr>
        </p:nvSpPr>
        <p:spPr>
          <a:xfrm>
            <a:off x="7479950" y="5380322"/>
            <a:ext cx="4193412" cy="277820"/>
          </a:xfrm>
          <a:prstGeom prst="rect">
            <a:avLst/>
          </a:prstGeom>
        </p:spPr>
        <p:txBody>
          <a:bodyPr anchor="ctr"/>
          <a:lstStyle>
            <a:lvl1pPr>
              <a:buNone/>
              <a:defRPr sz="1733" b="1">
                <a:solidFill>
                  <a:schemeClr val="accent1"/>
                </a:solidFill>
              </a:defRPr>
            </a:lvl1pPr>
          </a:lstStyle>
          <a:p>
            <a:r>
              <a:rPr lang="en-US" dirty="0"/>
              <a:t>Edit text</a:t>
            </a:r>
          </a:p>
        </p:txBody>
      </p:sp>
    </p:spTree>
    <p:extLst>
      <p:ext uri="{BB962C8B-B14F-4D97-AF65-F5344CB8AC3E}">
        <p14:creationId xmlns:p14="http://schemas.microsoft.com/office/powerpoint/2010/main" val="212013815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6149430" y="1"/>
            <a:ext cx="6039396"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403" indent="-353396">
              <a:buFont typeface="Arial"/>
              <a:buChar char="•"/>
              <a:defRPr sz="2399">
                <a:solidFill>
                  <a:schemeClr val="accent1"/>
                </a:solidFill>
              </a:defRPr>
            </a:lvl2pPr>
            <a:lvl3pPr marL="943797" indent="-304724">
              <a:buFont typeface="Lucida Grande"/>
              <a:buChar char="–"/>
              <a:defRPr sz="2133">
                <a:solidFill>
                  <a:schemeClr val="accent1"/>
                </a:solidFill>
              </a:defRPr>
            </a:lvl3pPr>
            <a:lvl4pPr marL="1301425" indent="-304724">
              <a:buFont typeface="Lucida Grande"/>
              <a:buChar char="–"/>
              <a:defRPr sz="1866">
                <a:solidFill>
                  <a:schemeClr val="accent1"/>
                </a:solidFill>
              </a:defRPr>
            </a:lvl4pPr>
            <a:lvl5pPr marL="1678098" indent="-308956" defTabSz="418995">
              <a:buFont typeface="Lucida Grande"/>
              <a:buChar char="–"/>
              <a:defRPr sz="1866">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336463" y="1310603"/>
            <a:ext cx="4998647" cy="4558569"/>
          </a:xfrm>
          <a:prstGeom prst="rect">
            <a:avLst/>
          </a:prstGeom>
          <a:noFill/>
        </p:spPr>
        <p:txBody>
          <a:bodyPr vert="horz" wrap="square" lIns="0" tIns="0" rIns="0" bIns="0">
            <a:noAutofit/>
          </a:bodyPr>
          <a:lstStyle>
            <a:lvl1pPr marL="315305" indent="-315305">
              <a:buClr>
                <a:schemeClr val="tx2"/>
              </a:buClr>
              <a:buFont typeface="Arial" panose="020B0604020202020204" pitchFamily="34" charset="0"/>
              <a:buNone/>
              <a:defRPr sz="2399">
                <a:solidFill>
                  <a:schemeClr val="accent1"/>
                </a:solidFill>
              </a:defRPr>
            </a:lvl1pPr>
            <a:lvl2pPr marL="609448" indent="-294144">
              <a:buClr>
                <a:schemeClr val="tx2"/>
              </a:buClr>
              <a:buFont typeface="Arial" panose="020B0604020202020204" pitchFamily="34" charset="0"/>
              <a:buChar char="•"/>
              <a:defRPr sz="2133">
                <a:solidFill>
                  <a:schemeClr val="accent1"/>
                </a:solidFill>
              </a:defRPr>
            </a:lvl2pPr>
            <a:lvl3pPr marL="840107" indent="-230660">
              <a:buClr>
                <a:schemeClr val="tx2"/>
              </a:buClr>
              <a:buFont typeface="Arial" panose="020B0604020202020204" pitchFamily="34" charset="0"/>
              <a:buChar char="•"/>
              <a:defRPr sz="1866">
                <a:solidFill>
                  <a:schemeClr val="accent1"/>
                </a:solidFill>
              </a:defRPr>
            </a:lvl3pPr>
            <a:lvl4pPr marL="1070766" indent="-230660">
              <a:buClr>
                <a:schemeClr val="tx2"/>
              </a:buClr>
              <a:buFont typeface="Arial" panose="020B0604020202020204" pitchFamily="34" charset="0"/>
              <a:buChar char="•"/>
              <a:defRPr sz="1866">
                <a:solidFill>
                  <a:schemeClr val="accent1"/>
                </a:solidFill>
              </a:defRPr>
            </a:lvl4pPr>
            <a:lvl5pPr marL="1303541" indent="-232775" defTabSz="418995">
              <a:buClr>
                <a:schemeClr val="tx2"/>
              </a:buClr>
              <a:buFont typeface="Arial" panose="020B0604020202020204" pitchFamily="34" charset="0"/>
              <a:buChar char="•"/>
              <a:defRPr sz="1866">
                <a:solidFill>
                  <a:schemeClr val="accent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7" name="Title 1"/>
          <p:cNvSpPr>
            <a:spLocks noGrp="1"/>
          </p:cNvSpPr>
          <p:nvPr>
            <p:ph type="title" hasCustomPrompt="1"/>
          </p:nvPr>
        </p:nvSpPr>
        <p:spPr>
          <a:xfrm>
            <a:off x="336463" y="464444"/>
            <a:ext cx="4998647" cy="492443"/>
          </a:xfrm>
          <a:prstGeom prst="rect">
            <a:avLst/>
          </a:prstGeom>
        </p:spPr>
        <p:txBody>
          <a:bodyPr wrap="square" lIns="0" tIns="0" rIns="0" bIns="0" anchor="ctr" anchorCtr="0">
            <a:spAutoFit/>
          </a:bodyPr>
          <a:lstStyle>
            <a:lvl1pPr algn="l">
              <a:defRPr sz="3199" baseline="0">
                <a:solidFill>
                  <a:schemeClr val="tx2"/>
                </a:solidFill>
              </a:defRPr>
            </a:lvl1pPr>
          </a:lstStyle>
          <a:p>
            <a:r>
              <a:rPr lang="en-US" dirty="0"/>
              <a:t>Click To Edit Section Title</a:t>
            </a:r>
          </a:p>
        </p:txBody>
      </p:sp>
      <p:sp>
        <p:nvSpPr>
          <p:cNvPr id="23" name="Rectangle 22"/>
          <p:cNvSpPr/>
          <p:nvPr userDrawn="1"/>
        </p:nvSpPr>
        <p:spPr>
          <a:xfrm rot="5400000">
            <a:off x="2471784" y="3180356"/>
            <a:ext cx="6857997" cy="4972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426"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prstClr val="white"/>
              </a:solidFill>
              <a:effectLst/>
              <a:uLnTx/>
              <a:uFillTx/>
              <a:latin typeface="Arial"/>
              <a:ea typeface="+mn-ea"/>
              <a:cs typeface="+mn-cs"/>
            </a:endParaRPr>
          </a:p>
        </p:txBody>
      </p:sp>
      <p:sp>
        <p:nvSpPr>
          <p:cNvPr id="4" name="Text Placeholder 3"/>
          <p:cNvSpPr>
            <a:spLocks noGrp="1"/>
          </p:cNvSpPr>
          <p:nvPr>
            <p:ph type="body" sz="quarter" idx="14" hasCustomPrompt="1"/>
          </p:nvPr>
        </p:nvSpPr>
        <p:spPr>
          <a:xfrm>
            <a:off x="5652139" y="0"/>
            <a:ext cx="994577" cy="6858000"/>
          </a:xfrm>
          <a:prstGeom prst="rect">
            <a:avLst/>
          </a:prstGeom>
          <a:solidFill>
            <a:schemeClr val="tx2">
              <a:alpha val="80000"/>
            </a:schemeClr>
          </a:solidFill>
          <a:ln>
            <a:noFill/>
          </a:ln>
        </p:spPr>
        <p:txBody>
          <a:bodyPr/>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2329915" y="6476207"/>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26"/>
            <a:r>
              <a:rPr lang="en-US">
                <a:solidFill>
                  <a:srgbClr val="3DCD58"/>
                </a:solidFill>
              </a:rPr>
              <a:t>Page </a:t>
            </a:r>
            <a:fld id="{5A9C12DC-491F-9444-86A2-13AC5C62A2FC}" type="slidenum">
              <a:rPr lang="en-US" smtClean="0">
                <a:solidFill>
                  <a:srgbClr val="3DCD58"/>
                </a:solidFill>
              </a:rPr>
              <a:pPr defTabSz="609426"/>
              <a:t>‹#›</a:t>
            </a:fld>
            <a:endParaRPr lang="en-US" dirty="0">
              <a:solidFill>
                <a:srgbClr val="3DCD58"/>
              </a:solidFill>
            </a:endParaRPr>
          </a:p>
        </p:txBody>
      </p:sp>
      <p:sp>
        <p:nvSpPr>
          <p:cNvPr id="16" name="Footer Placeholder 4"/>
          <p:cNvSpPr>
            <a:spLocks noGrp="1"/>
          </p:cNvSpPr>
          <p:nvPr>
            <p:ph type="ftr" sz="quarter" idx="3"/>
          </p:nvPr>
        </p:nvSpPr>
        <p:spPr>
          <a:xfrm>
            <a:off x="336464" y="6476206"/>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26"/>
            <a:r>
              <a:rPr lang="en-US">
                <a:solidFill>
                  <a:srgbClr val="626469"/>
                </a:solidFill>
              </a:rPr>
              <a:t>Confidential Property of Schneider Electric |</a:t>
            </a:r>
            <a:endParaRPr lang="en-US" dirty="0">
              <a:solidFill>
                <a:srgbClr val="626469"/>
              </a:solidFill>
            </a:endParaRPr>
          </a:p>
        </p:txBody>
      </p:sp>
      <p:pic>
        <p:nvPicPr>
          <p:cNvPr id="10" name="Picture 9" descr="schneider_LIO_Life-Green_RGB.png"/>
          <p:cNvPicPr>
            <a:picLocks noChangeAspect="1"/>
          </p:cNvPicPr>
          <p:nvPr userDrawn="1"/>
        </p:nvPicPr>
        <p:blipFill>
          <a:blip r:embed="rId2" cstate="print"/>
          <a:stretch>
            <a:fillRect/>
          </a:stretch>
        </p:blipFill>
        <p:spPr>
          <a:xfrm>
            <a:off x="9420258" y="5993329"/>
            <a:ext cx="2721688" cy="750604"/>
          </a:xfrm>
          <a:prstGeom prst="rect">
            <a:avLst/>
          </a:prstGeom>
        </p:spPr>
      </p:pic>
    </p:spTree>
    <p:extLst>
      <p:ext uri="{BB962C8B-B14F-4D97-AF65-F5344CB8AC3E}">
        <p14:creationId xmlns:p14="http://schemas.microsoft.com/office/powerpoint/2010/main" val="134937007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3986" y="2900204"/>
            <a:ext cx="11508377" cy="492443"/>
          </a:xfrm>
          <a:prstGeom prst="rect">
            <a:avLst/>
          </a:prstGeom>
        </p:spPr>
        <p:txBody>
          <a:bodyPr lIns="0" tIns="0" rIns="0" bIns="0" anchor="ctr" anchorCtr="0">
            <a:noAutofit/>
          </a:bodyPr>
          <a:lstStyle>
            <a:lvl1pPr algn="l">
              <a:defRPr sz="3199"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343986" y="3512663"/>
            <a:ext cx="11508377" cy="287259"/>
          </a:xfrm>
          <a:prstGeom prst="rect">
            <a:avLst/>
          </a:prstGeom>
        </p:spPr>
        <p:txBody>
          <a:bodyPr lIns="0" tIns="0" rIns="0" bIns="0" anchor="ctr" anchorCtr="0">
            <a:noAutofit/>
          </a:bodyPr>
          <a:lstStyle>
            <a:lvl1pPr marL="0" indent="0">
              <a:buNone/>
              <a:defRPr sz="1866" baseline="0">
                <a:solidFill>
                  <a:schemeClr val="accent1"/>
                </a:solidFill>
              </a:defRPr>
            </a:lvl1pPr>
          </a:lstStyle>
          <a:p>
            <a:pPr lvl="0"/>
            <a:r>
              <a:rPr lang="en-US" dirty="0"/>
              <a:t>Click To Edit Optional Subtitle</a:t>
            </a:r>
          </a:p>
        </p:txBody>
      </p:sp>
      <p:sp>
        <p:nvSpPr>
          <p:cNvPr id="13" name="Slide Number Placeholder 5"/>
          <p:cNvSpPr>
            <a:spLocks noGrp="1"/>
          </p:cNvSpPr>
          <p:nvPr>
            <p:ph type="sldNum" sz="quarter" idx="4"/>
          </p:nvPr>
        </p:nvSpPr>
        <p:spPr>
          <a:xfrm>
            <a:off x="2329915" y="6476207"/>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26"/>
            <a:r>
              <a:rPr lang="en-US">
                <a:solidFill>
                  <a:srgbClr val="3DCD58"/>
                </a:solidFill>
              </a:rPr>
              <a:t>Page </a:t>
            </a:r>
            <a:fld id="{5A9C12DC-491F-9444-86A2-13AC5C62A2FC}" type="slidenum">
              <a:rPr lang="en-US" smtClean="0">
                <a:solidFill>
                  <a:srgbClr val="3DCD58"/>
                </a:solidFill>
              </a:rPr>
              <a:pPr defTabSz="609426"/>
              <a:t>‹#›</a:t>
            </a:fld>
            <a:endParaRPr lang="en-US" dirty="0">
              <a:solidFill>
                <a:srgbClr val="3DCD58"/>
              </a:solidFill>
            </a:endParaRPr>
          </a:p>
        </p:txBody>
      </p:sp>
      <p:sp>
        <p:nvSpPr>
          <p:cNvPr id="14" name="Footer Placeholder 4"/>
          <p:cNvSpPr>
            <a:spLocks noGrp="1"/>
          </p:cNvSpPr>
          <p:nvPr>
            <p:ph type="ftr" sz="quarter" idx="3"/>
          </p:nvPr>
        </p:nvSpPr>
        <p:spPr>
          <a:xfrm>
            <a:off x="336464" y="6476206"/>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26"/>
            <a:r>
              <a:rPr lang="en-US">
                <a:solidFill>
                  <a:srgbClr val="626469"/>
                </a:solidFill>
              </a:rPr>
              <a:t>Confidential Property of Schneider Electric |</a:t>
            </a:r>
            <a:endParaRPr lang="en-US" dirty="0">
              <a:solidFill>
                <a:srgbClr val="626469"/>
              </a:solidFill>
            </a:endParaRPr>
          </a:p>
        </p:txBody>
      </p:sp>
      <p:pic>
        <p:nvPicPr>
          <p:cNvPr id="7" name="Picture 6" descr="schneider_LIO_Life-Green_RGB.png"/>
          <p:cNvPicPr>
            <a:picLocks noChangeAspect="1"/>
          </p:cNvPicPr>
          <p:nvPr userDrawn="1"/>
        </p:nvPicPr>
        <p:blipFill>
          <a:blip r:embed="rId2" cstate="print"/>
          <a:stretch>
            <a:fillRect/>
          </a:stretch>
        </p:blipFill>
        <p:spPr>
          <a:xfrm>
            <a:off x="9420258" y="5993329"/>
            <a:ext cx="2721688" cy="750604"/>
          </a:xfrm>
          <a:prstGeom prst="rect">
            <a:avLst/>
          </a:prstGeom>
        </p:spPr>
      </p:pic>
    </p:spTree>
    <p:extLst>
      <p:ext uri="{BB962C8B-B14F-4D97-AF65-F5344CB8AC3E}">
        <p14:creationId xmlns:p14="http://schemas.microsoft.com/office/powerpoint/2010/main" val="38413747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336464" y="3940606"/>
            <a:ext cx="11526479" cy="410369"/>
          </a:xfrm>
          <a:prstGeom prst="rect">
            <a:avLst/>
          </a:prstGeom>
        </p:spPr>
        <p:txBody>
          <a:bodyPr lIns="0" tIns="0" rIns="0" bIns="0">
            <a:noAutofit/>
          </a:bodyPr>
          <a:lstStyle>
            <a:lvl1pPr marL="0" indent="0" algn="ctr">
              <a:buNone/>
              <a:defRPr sz="2666">
                <a:solidFill>
                  <a:schemeClr val="accent2"/>
                </a:solidFill>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2329915" y="647620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426"/>
            <a:r>
              <a:rPr lang="en-US"/>
              <a:t>Page </a:t>
            </a:r>
            <a:fld id="{5A9C12DC-491F-9444-86A2-13AC5C62A2FC}" type="slidenum">
              <a:rPr lang="en-US" smtClean="0"/>
              <a:pPr defTabSz="609426"/>
              <a:t>‹#›</a:t>
            </a:fld>
            <a:endParaRPr lang="en-US" dirty="0"/>
          </a:p>
        </p:txBody>
      </p:sp>
      <p:sp>
        <p:nvSpPr>
          <p:cNvPr id="11" name="Footer Placeholder 4"/>
          <p:cNvSpPr>
            <a:spLocks noGrp="1"/>
          </p:cNvSpPr>
          <p:nvPr>
            <p:ph type="ftr" sz="quarter" idx="3"/>
          </p:nvPr>
        </p:nvSpPr>
        <p:spPr>
          <a:xfrm>
            <a:off x="336464" y="6476206"/>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426"/>
            <a:r>
              <a:rPr lang="en-US"/>
              <a:t>Confidential Property of Schneider Electric |</a:t>
            </a:r>
            <a:endParaRPr lang="en-US" dirty="0"/>
          </a:p>
        </p:txBody>
      </p:sp>
      <p:pic>
        <p:nvPicPr>
          <p:cNvPr id="8" name="Picture 7" descr="schneider_LIO_Life-Green_RGB.png"/>
          <p:cNvPicPr>
            <a:picLocks noChangeAspect="1"/>
          </p:cNvPicPr>
          <p:nvPr userDrawn="1"/>
        </p:nvPicPr>
        <p:blipFill>
          <a:blip r:embed="rId2" cstate="print"/>
          <a:stretch>
            <a:fillRect/>
          </a:stretch>
        </p:blipFill>
        <p:spPr>
          <a:xfrm>
            <a:off x="9420258" y="5993329"/>
            <a:ext cx="2721688" cy="750604"/>
          </a:xfrm>
          <a:prstGeom prst="rect">
            <a:avLst/>
          </a:prstGeom>
        </p:spPr>
      </p:pic>
      <p:sp>
        <p:nvSpPr>
          <p:cNvPr id="3" name="Picture Placeholder 5"/>
          <p:cNvSpPr>
            <a:spLocks noGrp="1"/>
          </p:cNvSpPr>
          <p:nvPr>
            <p:ph type="pic" sz="quarter" idx="10" hasCustomPrompt="1"/>
          </p:nvPr>
        </p:nvSpPr>
        <p:spPr>
          <a:xfrm>
            <a:off x="0" y="0"/>
            <a:ext cx="12188825" cy="6858000"/>
          </a:xfrm>
          <a:prstGeom prst="rect">
            <a:avLst/>
          </a:prstGeom>
          <a:solidFill>
            <a:srgbClr val="8E8F93">
              <a:alpha val="20000"/>
            </a:srgbClr>
          </a:solidFill>
        </p:spPr>
        <p:txBody>
          <a:bodyPr/>
          <a:lstStyle>
            <a:lvl1pPr marL="0" marR="0" indent="0" algn="l" defTabSz="609448" rtl="0" eaLnBrk="1" fontAlgn="auto" latinLnBrk="0" hangingPunct="1">
              <a:lnSpc>
                <a:spcPct val="100000"/>
              </a:lnSpc>
              <a:spcBef>
                <a:spcPct val="20000"/>
              </a:spcBef>
              <a:spcAft>
                <a:spcPts val="0"/>
              </a:spcAft>
              <a:buClrTx/>
              <a:buSzTx/>
              <a:buFont typeface="Arial"/>
              <a:buNone/>
              <a:tabLst/>
              <a:defRPr sz="1866" b="1">
                <a:solidFill>
                  <a:schemeClr val="accent6"/>
                </a:solidFill>
              </a:defRPr>
            </a:lvl1pPr>
          </a:lstStyle>
          <a:p>
            <a:r>
              <a:rPr lang="en-US" dirty="0"/>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336463" y="2284745"/>
            <a:ext cx="11526480" cy="1641475"/>
          </a:xfrm>
          <a:prstGeom prst="rect">
            <a:avLst/>
          </a:prstGeom>
        </p:spPr>
        <p:txBody>
          <a:bodyPr lIns="0" tIns="0" rIns="0" bIns="0" anchor="t">
            <a:noAutofit/>
          </a:bodyPr>
          <a:lstStyle>
            <a:lvl1pPr marL="0" indent="0" algn="ctr">
              <a:buFont typeface="Arial"/>
              <a:buNone/>
              <a:defRPr sz="5332">
                <a:solidFill>
                  <a:schemeClr val="bg1"/>
                </a:solidFill>
              </a:defRPr>
            </a:lvl1pPr>
          </a:lstStyle>
          <a:p>
            <a:r>
              <a:rPr lang="en-US" dirty="0"/>
              <a:t>CLICK TO EDIT QUOTE OR CALLOUT</a:t>
            </a:r>
          </a:p>
        </p:txBody>
      </p:sp>
    </p:spTree>
    <p:extLst>
      <p:ext uri="{BB962C8B-B14F-4D97-AF65-F5344CB8AC3E}">
        <p14:creationId xmlns:p14="http://schemas.microsoft.com/office/powerpoint/2010/main" val="381579859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463" y="2284745"/>
            <a:ext cx="11526480" cy="1641475"/>
          </a:xfrm>
          <a:prstGeom prst="rect">
            <a:avLst/>
          </a:prstGeom>
        </p:spPr>
        <p:txBody>
          <a:bodyPr lIns="0" tIns="0" rIns="0" bIns="0" anchor="t">
            <a:noAutofit/>
          </a:bodyPr>
          <a:lstStyle>
            <a:lvl1pPr marL="0" indent="0" algn="ctr">
              <a:buFont typeface="Arial"/>
              <a:buNone/>
              <a:defRPr sz="5332">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336464" y="3940606"/>
            <a:ext cx="11526479" cy="410369"/>
          </a:xfrm>
          <a:prstGeom prst="rect">
            <a:avLst/>
          </a:prstGeom>
        </p:spPr>
        <p:txBody>
          <a:bodyPr lIns="0" tIns="0" rIns="0" bIns="0">
            <a:noAutofit/>
          </a:bodyPr>
          <a:lstStyle>
            <a:lvl1pPr marL="0" indent="0" algn="ctr">
              <a:buNone/>
              <a:defRPr sz="2666">
                <a:solidFill>
                  <a:schemeClr val="accent2"/>
                </a:solidFill>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2329915" y="6476207"/>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26"/>
            <a:r>
              <a:rPr lang="en-US">
                <a:solidFill>
                  <a:srgbClr val="3DCD58"/>
                </a:solidFill>
              </a:rPr>
              <a:t>Page </a:t>
            </a:r>
            <a:fld id="{5A9C12DC-491F-9444-86A2-13AC5C62A2FC}" type="slidenum">
              <a:rPr lang="en-US" smtClean="0">
                <a:solidFill>
                  <a:srgbClr val="3DCD58"/>
                </a:solidFill>
              </a:rPr>
              <a:pPr defTabSz="609426"/>
              <a:t>‹#›</a:t>
            </a:fld>
            <a:endParaRPr lang="en-US" dirty="0">
              <a:solidFill>
                <a:srgbClr val="3DCD58"/>
              </a:solidFill>
            </a:endParaRPr>
          </a:p>
        </p:txBody>
      </p:sp>
      <p:sp>
        <p:nvSpPr>
          <p:cNvPr id="14" name="Footer Placeholder 4"/>
          <p:cNvSpPr>
            <a:spLocks noGrp="1"/>
          </p:cNvSpPr>
          <p:nvPr>
            <p:ph type="ftr" sz="quarter" idx="3"/>
          </p:nvPr>
        </p:nvSpPr>
        <p:spPr>
          <a:xfrm>
            <a:off x="336464" y="6476206"/>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26"/>
            <a:r>
              <a:rPr lang="en-US">
                <a:solidFill>
                  <a:srgbClr val="626469"/>
                </a:solidFill>
              </a:rPr>
              <a:t>Confidential Property of Schneider Electric |</a:t>
            </a:r>
            <a:endParaRPr lang="en-US" dirty="0">
              <a:solidFill>
                <a:srgbClr val="626469"/>
              </a:solidFill>
            </a:endParaRPr>
          </a:p>
        </p:txBody>
      </p:sp>
      <p:pic>
        <p:nvPicPr>
          <p:cNvPr id="8" name="Picture 7" descr="schneider_LIO_Life-Green_RGB.png"/>
          <p:cNvPicPr>
            <a:picLocks noChangeAspect="1"/>
          </p:cNvPicPr>
          <p:nvPr userDrawn="1"/>
        </p:nvPicPr>
        <p:blipFill>
          <a:blip r:embed="rId2" cstate="print"/>
          <a:stretch>
            <a:fillRect/>
          </a:stretch>
        </p:blipFill>
        <p:spPr>
          <a:xfrm>
            <a:off x="9420258" y="5993329"/>
            <a:ext cx="2721688" cy="750604"/>
          </a:xfrm>
          <a:prstGeom prst="rect">
            <a:avLst/>
          </a:prstGeom>
        </p:spPr>
      </p:pic>
      <p:sp>
        <p:nvSpPr>
          <p:cNvPr id="3" name="Picture Placeholder 5"/>
          <p:cNvSpPr>
            <a:spLocks noGrp="1"/>
          </p:cNvSpPr>
          <p:nvPr>
            <p:ph type="pic" sz="quarter" idx="10" hasCustomPrompt="1"/>
          </p:nvPr>
        </p:nvSpPr>
        <p:spPr>
          <a:xfrm>
            <a:off x="0" y="0"/>
            <a:ext cx="12188825" cy="6858000"/>
          </a:xfrm>
          <a:prstGeom prst="rect">
            <a:avLst/>
          </a:prstGeom>
          <a:solidFill>
            <a:srgbClr val="8E8F93">
              <a:alpha val="20000"/>
            </a:srgbClr>
          </a:solidFill>
        </p:spPr>
        <p:txBody>
          <a:bodyPr/>
          <a:lstStyle>
            <a:lvl1pPr marL="0" indent="0">
              <a:buNone/>
              <a:defRPr sz="1866" b="1">
                <a:solidFill>
                  <a:srgbClr val="00B0F0"/>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196153646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463" y="2284745"/>
            <a:ext cx="11526480" cy="1641475"/>
          </a:xfrm>
          <a:prstGeom prst="rect">
            <a:avLst/>
          </a:prstGeom>
        </p:spPr>
        <p:txBody>
          <a:bodyPr wrap="square" lIns="0" tIns="0" rIns="0" bIns="0" anchor="t">
            <a:noAutofit/>
          </a:bodyPr>
          <a:lstStyle>
            <a:lvl1pPr marL="0" indent="0" algn="ctr">
              <a:buFont typeface="Arial"/>
              <a:buNone/>
              <a:defRPr sz="5332">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336464" y="3940606"/>
            <a:ext cx="11526479" cy="410369"/>
          </a:xfrm>
          <a:prstGeom prst="rect">
            <a:avLst/>
          </a:prstGeom>
        </p:spPr>
        <p:txBody>
          <a:bodyPr wrap="square" lIns="0" tIns="0" rIns="0" bIns="0">
            <a:noAutofit/>
          </a:bodyPr>
          <a:lstStyle>
            <a:lvl1pPr marL="0" indent="0" algn="ctr">
              <a:buNone/>
              <a:defRPr sz="2666">
                <a:solidFill>
                  <a:schemeClr val="accent2"/>
                </a:solidFill>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dirty="0"/>
              <a:t>Click To Edit Optional Subtitle</a:t>
            </a:r>
          </a:p>
        </p:txBody>
      </p:sp>
      <p:sp>
        <p:nvSpPr>
          <p:cNvPr id="9" name="Slide Number Placeholder 5"/>
          <p:cNvSpPr>
            <a:spLocks noGrp="1"/>
          </p:cNvSpPr>
          <p:nvPr>
            <p:ph type="sldNum" sz="quarter" idx="4"/>
          </p:nvPr>
        </p:nvSpPr>
        <p:spPr>
          <a:xfrm>
            <a:off x="2329915" y="6476207"/>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426"/>
            <a:r>
              <a:rPr lang="en-US">
                <a:solidFill>
                  <a:srgbClr val="3DCD58"/>
                </a:solidFill>
              </a:rPr>
              <a:t>Page </a:t>
            </a:r>
            <a:fld id="{5A9C12DC-491F-9444-86A2-13AC5C62A2FC}" type="slidenum">
              <a:rPr lang="en-US" smtClean="0">
                <a:solidFill>
                  <a:srgbClr val="3DCD58"/>
                </a:solidFill>
              </a:rPr>
              <a:pPr defTabSz="609426"/>
              <a:t>‹#›</a:t>
            </a:fld>
            <a:endParaRPr lang="en-US" dirty="0">
              <a:solidFill>
                <a:srgbClr val="3DCD58"/>
              </a:solidFill>
            </a:endParaRPr>
          </a:p>
        </p:txBody>
      </p:sp>
      <p:sp>
        <p:nvSpPr>
          <p:cNvPr id="11" name="Footer Placeholder 4"/>
          <p:cNvSpPr>
            <a:spLocks noGrp="1"/>
          </p:cNvSpPr>
          <p:nvPr>
            <p:ph type="ftr" sz="quarter" idx="3"/>
          </p:nvPr>
        </p:nvSpPr>
        <p:spPr>
          <a:xfrm>
            <a:off x="336464" y="6476206"/>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426"/>
            <a:r>
              <a:rPr lang="en-US">
                <a:solidFill>
                  <a:srgbClr val="626469"/>
                </a:solidFill>
              </a:rPr>
              <a:t>Confidential Property of Schneider Electric |</a:t>
            </a:r>
            <a:endParaRPr lang="en-US" dirty="0">
              <a:solidFill>
                <a:srgbClr val="626469"/>
              </a:solidFill>
            </a:endParaRPr>
          </a:p>
        </p:txBody>
      </p:sp>
      <p:pic>
        <p:nvPicPr>
          <p:cNvPr id="7" name="Picture 6" descr="schneider_LIO_Life-Green_RGB.png"/>
          <p:cNvPicPr>
            <a:picLocks noChangeAspect="1"/>
          </p:cNvPicPr>
          <p:nvPr userDrawn="1"/>
        </p:nvPicPr>
        <p:blipFill>
          <a:blip r:embed="rId2" cstate="print"/>
          <a:stretch>
            <a:fillRect/>
          </a:stretch>
        </p:blipFill>
        <p:spPr>
          <a:xfrm>
            <a:off x="9420258" y="5993329"/>
            <a:ext cx="2721688" cy="750604"/>
          </a:xfrm>
          <a:prstGeom prst="rect">
            <a:avLst/>
          </a:prstGeom>
        </p:spPr>
      </p:pic>
    </p:spTree>
    <p:extLst>
      <p:ext uri="{BB962C8B-B14F-4D97-AF65-F5344CB8AC3E}">
        <p14:creationId xmlns:p14="http://schemas.microsoft.com/office/powerpoint/2010/main" val="51030444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36463" y="2284745"/>
            <a:ext cx="11526480" cy="1641475"/>
          </a:xfrm>
          <a:prstGeom prst="rect">
            <a:avLst/>
          </a:prstGeom>
        </p:spPr>
        <p:txBody>
          <a:bodyPr lIns="0" tIns="0" rIns="0" bIns="0" anchor="t">
            <a:noAutofit/>
          </a:bodyPr>
          <a:lstStyle>
            <a:lvl1pPr marL="0" indent="0" algn="ctr">
              <a:buFont typeface="Arial"/>
              <a:buNone/>
              <a:defRPr sz="5332">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336464" y="3940606"/>
            <a:ext cx="11526479" cy="410369"/>
          </a:xfrm>
          <a:prstGeom prst="rect">
            <a:avLst/>
          </a:prstGeom>
        </p:spPr>
        <p:txBody>
          <a:bodyPr lIns="0" tIns="0" rIns="0" bIns="0">
            <a:noAutofit/>
          </a:bodyPr>
          <a:lstStyle>
            <a:lvl1pPr marL="0" indent="0" algn="ctr">
              <a:buNone/>
              <a:defRPr sz="2666">
                <a:solidFill>
                  <a:schemeClr val="bg1"/>
                </a:solidFill>
              </a:defRPr>
            </a:lvl1pPr>
            <a:lvl2pPr marL="609448" indent="0" algn="ctr">
              <a:buNone/>
              <a:defRPr>
                <a:solidFill>
                  <a:schemeClr val="tx1">
                    <a:tint val="75000"/>
                  </a:schemeClr>
                </a:solidFill>
              </a:defRPr>
            </a:lvl2pPr>
            <a:lvl3pPr marL="1218895" indent="0" algn="ctr">
              <a:buNone/>
              <a:defRPr>
                <a:solidFill>
                  <a:schemeClr val="tx1">
                    <a:tint val="75000"/>
                  </a:schemeClr>
                </a:solidFill>
              </a:defRPr>
            </a:lvl3pPr>
            <a:lvl4pPr marL="1828343" indent="0" algn="ctr">
              <a:buNone/>
              <a:defRPr>
                <a:solidFill>
                  <a:schemeClr val="tx1">
                    <a:tint val="75000"/>
                  </a:schemeClr>
                </a:solidFill>
              </a:defRPr>
            </a:lvl4pPr>
            <a:lvl5pPr marL="2437790" indent="0" algn="ctr">
              <a:buNone/>
              <a:defRPr>
                <a:solidFill>
                  <a:schemeClr val="tx1">
                    <a:tint val="75000"/>
                  </a:schemeClr>
                </a:solidFill>
              </a:defRPr>
            </a:lvl5pPr>
            <a:lvl6pPr marL="3047238" indent="0" algn="ctr">
              <a:buNone/>
              <a:defRPr>
                <a:solidFill>
                  <a:schemeClr val="tx1">
                    <a:tint val="75000"/>
                  </a:schemeClr>
                </a:solidFill>
              </a:defRPr>
            </a:lvl6pPr>
            <a:lvl7pPr marL="3656686" indent="0" algn="ctr">
              <a:buNone/>
              <a:defRPr>
                <a:solidFill>
                  <a:schemeClr val="tx1">
                    <a:tint val="75000"/>
                  </a:schemeClr>
                </a:solidFill>
              </a:defRPr>
            </a:lvl7pPr>
            <a:lvl8pPr marL="4266133" indent="0" algn="ctr">
              <a:buNone/>
              <a:defRPr>
                <a:solidFill>
                  <a:schemeClr val="tx1">
                    <a:tint val="75000"/>
                  </a:schemeClr>
                </a:solidFill>
              </a:defRPr>
            </a:lvl8pPr>
            <a:lvl9pPr marL="4875581" indent="0" algn="ctr">
              <a:buNone/>
              <a:defRPr>
                <a:solidFill>
                  <a:schemeClr val="tx1">
                    <a:tint val="75000"/>
                  </a:schemeClr>
                </a:solidFill>
              </a:defRPr>
            </a:lvl9pPr>
          </a:lstStyle>
          <a:p>
            <a:r>
              <a:rPr lang="en-US" dirty="0"/>
              <a:t>Click To Edit Optional Subtitle</a:t>
            </a:r>
          </a:p>
        </p:txBody>
      </p:sp>
      <p:sp>
        <p:nvSpPr>
          <p:cNvPr id="14" name="Slide Number Placeholder 5"/>
          <p:cNvSpPr>
            <a:spLocks noGrp="1"/>
          </p:cNvSpPr>
          <p:nvPr>
            <p:ph type="sldNum" sz="quarter" idx="4"/>
          </p:nvPr>
        </p:nvSpPr>
        <p:spPr>
          <a:xfrm>
            <a:off x="2329915" y="647620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426"/>
            <a:r>
              <a:rPr lang="en-US"/>
              <a:t>Page </a:t>
            </a:r>
            <a:fld id="{5A9C12DC-491F-9444-86A2-13AC5C62A2FC}" type="slidenum">
              <a:rPr lang="en-US" smtClean="0"/>
              <a:pPr defTabSz="609426"/>
              <a:t>‹#›</a:t>
            </a:fld>
            <a:endParaRPr lang="en-US" dirty="0"/>
          </a:p>
        </p:txBody>
      </p:sp>
      <p:sp>
        <p:nvSpPr>
          <p:cNvPr id="15" name="Footer Placeholder 4"/>
          <p:cNvSpPr>
            <a:spLocks noGrp="1"/>
          </p:cNvSpPr>
          <p:nvPr>
            <p:ph type="ftr" sz="quarter" idx="3"/>
          </p:nvPr>
        </p:nvSpPr>
        <p:spPr>
          <a:xfrm>
            <a:off x="336464" y="6476206"/>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426"/>
            <a:r>
              <a:rPr lang="en-US"/>
              <a:t>Confidential Property of Schneider Electric |</a:t>
            </a:r>
            <a:endParaRPr lang="en-US" dirty="0"/>
          </a:p>
        </p:txBody>
      </p:sp>
      <p:pic>
        <p:nvPicPr>
          <p:cNvPr id="11" name="Picture 10" descr="schneider_LIO_White_RGB.png"/>
          <p:cNvPicPr>
            <a:picLocks noChangeAspect="1"/>
          </p:cNvPicPr>
          <p:nvPr userDrawn="1"/>
        </p:nvPicPr>
        <p:blipFill>
          <a:blip r:embed="rId2" cstate="print"/>
          <a:stretch>
            <a:fillRect/>
          </a:stretch>
        </p:blipFill>
        <p:spPr>
          <a:xfrm>
            <a:off x="9430948" y="6011367"/>
            <a:ext cx="2690908" cy="742115"/>
          </a:xfrm>
          <a:prstGeom prst="rect">
            <a:avLst/>
          </a:prstGeom>
        </p:spPr>
      </p:pic>
    </p:spTree>
    <p:extLst>
      <p:ext uri="{BB962C8B-B14F-4D97-AF65-F5344CB8AC3E}">
        <p14:creationId xmlns:p14="http://schemas.microsoft.com/office/powerpoint/2010/main" val="20272303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Slide Spruce Green">
    <p:bg>
      <p:bgPr>
        <a:solidFill>
          <a:srgbClr val="009530"/>
        </a:solidFill>
        <a:effectLst/>
      </p:bgPr>
    </p:bg>
    <p:spTree>
      <p:nvGrpSpPr>
        <p:cNvPr id="1" name=""/>
        <p:cNvGrpSpPr/>
        <p:nvPr/>
      </p:nvGrpSpPr>
      <p:grpSpPr>
        <a:xfrm>
          <a:off x="0" y="0"/>
          <a:ext cx="0" cy="0"/>
          <a:chOff x="0" y="0"/>
          <a:chExt cx="0" cy="0"/>
        </a:xfrm>
      </p:grpSpPr>
      <p:sp>
        <p:nvSpPr>
          <p:cNvPr id="6" name="Rectangle 5"/>
          <p:cNvSpPr/>
          <p:nvPr/>
        </p:nvSpPr>
        <p:spPr>
          <a:xfrm>
            <a:off x="11215283" y="6206806"/>
            <a:ext cx="619933" cy="524519"/>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p>
        </p:txBody>
      </p:sp>
      <p:pic>
        <p:nvPicPr>
          <p:cNvPr id="7" name="Picture 23" descr="C:\Users\Kurt\Desktop\Untitled-1cc.png"/>
          <p:cNvPicPr>
            <a:picLocks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9686420" y="5902135"/>
            <a:ext cx="1892808" cy="566928"/>
          </a:xfrm>
          <a:prstGeom prst="rect">
            <a:avLst/>
          </a:prstGeom>
          <a:noFill/>
        </p:spPr>
      </p:pic>
      <p:sp>
        <p:nvSpPr>
          <p:cNvPr id="5" name="Rectangle 4"/>
          <p:cNvSpPr/>
          <p:nvPr userDrawn="1"/>
        </p:nvSpPr>
        <p:spPr>
          <a:xfrm>
            <a:off x="518848" y="3002680"/>
            <a:ext cx="7142000" cy="646344"/>
          </a:xfrm>
          <a:prstGeom prst="rect">
            <a:avLst/>
          </a:prstGeom>
        </p:spPr>
        <p:txBody>
          <a:bodyPr wrap="none" lIns="91432" tIns="45717" rIns="91432" bIns="45717" anchor="b" anchorCtr="0">
            <a:spAutoFit/>
          </a:bodyPr>
          <a:lstStyle/>
          <a:p>
            <a:r>
              <a:rPr kumimoji="0" lang="en-US" sz="3600" b="1" i="0" u="none" strike="noStrike" kern="1200" cap="none" spc="0" normalizeH="0" baseline="0" noProof="0" dirty="0">
                <a:ln>
                  <a:noFill/>
                </a:ln>
                <a:solidFill>
                  <a:schemeClr val="bg1"/>
                </a:solidFill>
                <a:effectLst/>
                <a:uLnTx/>
                <a:uFillTx/>
                <a:latin typeface="Arial" pitchFamily="34" charset="0"/>
                <a:ea typeface="+mj-ea"/>
                <a:cs typeface="Arial" pitchFamily="34" charset="0"/>
              </a:rPr>
              <a:t>Make the most of your energy</a:t>
            </a:r>
            <a:r>
              <a:rPr kumimoji="0" lang="en-US" sz="2000" b="1" i="0" u="none" strike="noStrike" kern="1200" cap="none" spc="0" normalizeH="0" baseline="70000" noProof="0" dirty="0">
                <a:ln>
                  <a:noFill/>
                </a:ln>
                <a:solidFill>
                  <a:schemeClr val="bg1"/>
                </a:solidFill>
                <a:effectLst/>
                <a:uLnTx/>
                <a:uFillTx/>
                <a:latin typeface="Arial" pitchFamily="34" charset="0"/>
                <a:ea typeface="+mj-ea"/>
                <a:cs typeface="Arial" pitchFamily="34" charset="0"/>
              </a:rPr>
              <a:t>SM</a:t>
            </a:r>
            <a:r>
              <a:rPr kumimoji="0" lang="en-US" sz="2400" b="1" i="0" u="none" strike="noStrike" kern="1200" cap="none" spc="0" normalizeH="0" baseline="30000" noProof="0" dirty="0">
                <a:ln>
                  <a:noFill/>
                </a:ln>
                <a:solidFill>
                  <a:schemeClr val="bg1"/>
                </a:solidFill>
                <a:effectLst/>
                <a:uLnTx/>
                <a:uFillTx/>
                <a:latin typeface="Arial" pitchFamily="34" charset="0"/>
                <a:ea typeface="+mj-ea"/>
                <a:cs typeface="Arial" pitchFamily="34" charset="0"/>
              </a:rPr>
              <a:t> </a:t>
            </a:r>
            <a:endParaRPr lang="en-US" dirty="0">
              <a:solidFill>
                <a:schemeClr val="bg1"/>
              </a:solidFill>
            </a:endParaRPr>
          </a:p>
        </p:txBody>
      </p:sp>
    </p:spTree>
    <p:extLst>
      <p:ext uri="{BB962C8B-B14F-4D97-AF65-F5344CB8AC3E}">
        <p14:creationId xmlns:p14="http://schemas.microsoft.com/office/powerpoint/2010/main" val="126886314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2329915" y="6476208"/>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426"/>
            <a:r>
              <a:rPr lang="en-US"/>
              <a:t>Page </a:t>
            </a:r>
            <a:fld id="{5A9C12DC-491F-9444-86A2-13AC5C62A2FC}" type="slidenum">
              <a:rPr lang="en-US" smtClean="0"/>
              <a:pPr defTabSz="609426"/>
              <a:t>‹#›</a:t>
            </a:fld>
            <a:endParaRPr lang="en-US" dirty="0"/>
          </a:p>
        </p:txBody>
      </p:sp>
      <p:sp>
        <p:nvSpPr>
          <p:cNvPr id="9" name="Footer Placeholder 4"/>
          <p:cNvSpPr>
            <a:spLocks noGrp="1"/>
          </p:cNvSpPr>
          <p:nvPr>
            <p:ph type="ftr" sz="quarter" idx="3"/>
          </p:nvPr>
        </p:nvSpPr>
        <p:spPr>
          <a:xfrm>
            <a:off x="336465" y="6476207"/>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426"/>
            <a:r>
              <a:rPr lang="en-US"/>
              <a:t>Confidential Property of Schneider Electric |</a:t>
            </a:r>
            <a:endParaRPr lang="en-US" dirty="0"/>
          </a:p>
        </p:txBody>
      </p:sp>
      <p:pic>
        <p:nvPicPr>
          <p:cNvPr id="7" name="Picture 6" descr="schneider_LIO_White_RGB.png"/>
          <p:cNvPicPr>
            <a:picLocks noChangeAspect="1"/>
          </p:cNvPicPr>
          <p:nvPr userDrawn="1"/>
        </p:nvPicPr>
        <p:blipFill>
          <a:blip r:embed="rId2" cstate="print"/>
          <a:stretch>
            <a:fillRect/>
          </a:stretch>
        </p:blipFill>
        <p:spPr>
          <a:xfrm>
            <a:off x="9472131" y="6013413"/>
            <a:ext cx="2542011" cy="701052"/>
          </a:xfrm>
          <a:prstGeom prst="rect">
            <a:avLst/>
          </a:prstGeom>
        </p:spPr>
      </p:pic>
      <p:sp>
        <p:nvSpPr>
          <p:cNvPr id="12" name="Title 1"/>
          <p:cNvSpPr>
            <a:spLocks noGrp="1"/>
          </p:cNvSpPr>
          <p:nvPr>
            <p:ph type="title" hasCustomPrompt="1"/>
          </p:nvPr>
        </p:nvSpPr>
        <p:spPr>
          <a:xfrm>
            <a:off x="0" y="2721428"/>
            <a:ext cx="12188825" cy="1156853"/>
          </a:xfrm>
          <a:prstGeom prst="rect">
            <a:avLst/>
          </a:prstGeom>
          <a:solidFill>
            <a:schemeClr val="tx2">
              <a:alpha val="80000"/>
            </a:schemeClr>
          </a:solidFill>
        </p:spPr>
        <p:txBody>
          <a:bodyPr lIns="251966" tIns="0" rIns="0" bIns="0" anchor="ctr" anchorCtr="0"/>
          <a:lstStyle>
            <a:lvl1pPr algn="l">
              <a:defRPr sz="3199" baseline="0">
                <a:solidFill>
                  <a:srgbClr val="FFFFFF"/>
                </a:solidFill>
              </a:defRPr>
            </a:lvl1pPr>
          </a:lstStyle>
          <a:p>
            <a:r>
              <a:rPr lang="en-US" dirty="0"/>
              <a:t>Click To Edit Section Title</a:t>
            </a:r>
          </a:p>
        </p:txBody>
      </p:sp>
      <p:sp>
        <p:nvSpPr>
          <p:cNvPr id="13" name="Text Placeholder 9"/>
          <p:cNvSpPr>
            <a:spLocks noGrp="1"/>
          </p:cNvSpPr>
          <p:nvPr>
            <p:ph type="body" sz="quarter" idx="11" hasCustomPrompt="1"/>
          </p:nvPr>
        </p:nvSpPr>
        <p:spPr>
          <a:xfrm>
            <a:off x="0" y="3867184"/>
            <a:ext cx="12188825" cy="497417"/>
          </a:xfrm>
          <a:prstGeom prst="rect">
            <a:avLst/>
          </a:prstGeom>
          <a:solidFill>
            <a:schemeClr val="tx2"/>
          </a:solidFill>
        </p:spPr>
        <p:txBody>
          <a:bodyPr lIns="251966" tIns="0" rIns="0" bIns="0" anchor="ctr" anchorCtr="0"/>
          <a:lstStyle>
            <a:lvl1pPr marL="0" indent="0">
              <a:buNone/>
              <a:defRPr sz="1600" baseline="0">
                <a:solidFill>
                  <a:schemeClr val="bg1"/>
                </a:solidFill>
              </a:defRPr>
            </a:lvl1pPr>
          </a:lstStyle>
          <a:p>
            <a:pPr lvl="0"/>
            <a:r>
              <a:rPr lang="en-US" dirty="0"/>
              <a:t>Click To Edit Optional Subtitle</a:t>
            </a:r>
          </a:p>
        </p:txBody>
      </p:sp>
      <p:sp>
        <p:nvSpPr>
          <p:cNvPr id="10" name="Picture Placeholder 5"/>
          <p:cNvSpPr>
            <a:spLocks noGrp="1"/>
          </p:cNvSpPr>
          <p:nvPr>
            <p:ph type="pic" sz="quarter" idx="10" hasCustomPrompt="1"/>
          </p:nvPr>
        </p:nvSpPr>
        <p:spPr>
          <a:xfrm>
            <a:off x="0" y="0"/>
            <a:ext cx="12188825" cy="6858000"/>
          </a:xfrm>
          <a:prstGeom prst="rect">
            <a:avLst/>
          </a:prstGeom>
          <a:solidFill>
            <a:srgbClr val="8E8F93">
              <a:alpha val="20000"/>
            </a:srgbClr>
          </a:solidFill>
        </p:spPr>
        <p:txBody>
          <a:bodyPr/>
          <a:lstStyle>
            <a:lvl1pPr marL="0" indent="0">
              <a:buNone/>
              <a:defRPr sz="1866"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372714895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3691204" y="2611549"/>
            <a:ext cx="4744607" cy="1308496"/>
          </a:xfrm>
          <a:prstGeom prst="rect">
            <a:avLst/>
          </a:prstGeom>
        </p:spPr>
      </p:pic>
    </p:spTree>
    <p:extLst>
      <p:ext uri="{BB962C8B-B14F-4D97-AF65-F5344CB8AC3E}">
        <p14:creationId xmlns:p14="http://schemas.microsoft.com/office/powerpoint/2010/main" val="364691102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Weave Image 3">
    <p:spTree>
      <p:nvGrpSpPr>
        <p:cNvPr id="1" name=""/>
        <p:cNvGrpSpPr/>
        <p:nvPr/>
      </p:nvGrpSpPr>
      <p:grpSpPr>
        <a:xfrm>
          <a:off x="0" y="0"/>
          <a:ext cx="0" cy="0"/>
          <a:chOff x="0" y="0"/>
          <a:chExt cx="0" cy="0"/>
        </a:xfrm>
      </p:grpSpPr>
      <p:sp>
        <p:nvSpPr>
          <p:cNvPr id="4" name="Rectangle 3"/>
          <p:cNvSpPr/>
          <p:nvPr userDrawn="1"/>
        </p:nvSpPr>
        <p:spPr>
          <a:xfrm>
            <a:off x="0" y="4826963"/>
            <a:ext cx="12188825"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426"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Slide Number Placeholder 5"/>
          <p:cNvSpPr>
            <a:spLocks noGrp="1"/>
          </p:cNvSpPr>
          <p:nvPr>
            <p:ph type="sldNum" sz="quarter" idx="4"/>
          </p:nvPr>
        </p:nvSpPr>
        <p:spPr>
          <a:xfrm>
            <a:off x="2348962" y="647620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426"/>
            <a:r>
              <a:rPr lang="en-US"/>
              <a:t>Page </a:t>
            </a:r>
            <a:fld id="{5A9C12DC-491F-9444-86A2-13AC5C62A2FC}" type="slidenum">
              <a:rPr lang="en-US" smtClean="0"/>
              <a:pPr defTabSz="609426"/>
              <a:t>‹#›</a:t>
            </a:fld>
            <a:endParaRPr lang="en-US" dirty="0"/>
          </a:p>
        </p:txBody>
      </p:sp>
      <p:sp>
        <p:nvSpPr>
          <p:cNvPr id="6" name="TextBox 5"/>
          <p:cNvSpPr txBox="1"/>
          <p:nvPr userDrawn="1"/>
        </p:nvSpPr>
        <p:spPr>
          <a:xfrm>
            <a:off x="2231998" y="6468331"/>
            <a:ext cx="111318" cy="123111"/>
          </a:xfrm>
          <a:prstGeom prst="rect">
            <a:avLst/>
          </a:prstGeom>
          <a:noFill/>
        </p:spPr>
        <p:txBody>
          <a:bodyPr wrap="square" lIns="0" tIns="0" rIns="0" bIns="0" rtlCol="0">
            <a:spAutoFit/>
          </a:bodyPr>
          <a:lstStyle/>
          <a:p>
            <a:pPr marL="0" marR="0" lvl="0" indent="0" algn="ctr" defTabSz="6094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a:rPr>
              <a:t>|</a:t>
            </a:r>
          </a:p>
        </p:txBody>
      </p:sp>
      <p:sp>
        <p:nvSpPr>
          <p:cNvPr id="7" name="Footer Placeholder 4"/>
          <p:cNvSpPr>
            <a:spLocks noGrp="1"/>
          </p:cNvSpPr>
          <p:nvPr>
            <p:ph type="ftr" sz="quarter" idx="3"/>
          </p:nvPr>
        </p:nvSpPr>
        <p:spPr>
          <a:xfrm>
            <a:off x="336464" y="6476206"/>
            <a:ext cx="2006852"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426"/>
            <a:r>
              <a:rPr lang="en-US"/>
              <a:t>Confidential Property of Schneider Electric |</a:t>
            </a:r>
            <a:endParaRPr lang="en-US" dirty="0"/>
          </a:p>
        </p:txBody>
      </p:sp>
      <p:pic>
        <p:nvPicPr>
          <p:cNvPr id="10" name="Picture 9" descr="Weave_486603441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88825" cy="6858000"/>
          </a:xfrm>
          <a:prstGeom prst="rect">
            <a:avLst/>
          </a:prstGeom>
        </p:spPr>
      </p:pic>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472129" y="6028182"/>
            <a:ext cx="2542011" cy="675885"/>
          </a:xfrm>
          <a:prstGeom prst="rect">
            <a:avLst/>
          </a:prstGeom>
        </p:spPr>
      </p:pic>
      <p:sp>
        <p:nvSpPr>
          <p:cNvPr id="8" name="Slide Number Placeholder 5"/>
          <p:cNvSpPr txBox="1">
            <a:spLocks/>
          </p:cNvSpPr>
          <p:nvPr userDrawn="1"/>
        </p:nvSpPr>
        <p:spPr>
          <a:xfrm>
            <a:off x="2329915" y="6476207"/>
            <a:ext cx="700737" cy="123111"/>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60944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a:rPr>
              <a:t>Page </a:t>
            </a:r>
            <a:fld id="{5A9C12DC-491F-9444-86A2-13AC5C62A2FC}" type="slidenum">
              <a:rPr kumimoji="0" lang="en-US" sz="800" b="0" i="0" u="none" strike="noStrike" kern="1200" cap="none" spc="0" normalizeH="0" baseline="0" noProof="0" smtClean="0">
                <a:ln>
                  <a:noFill/>
                </a:ln>
                <a:solidFill>
                  <a:srgbClr val="FFFFFF"/>
                </a:solidFill>
                <a:effectLst/>
                <a:uLnTx/>
                <a:uFillTx/>
                <a:latin typeface="Arial"/>
                <a:ea typeface="+mn-ea"/>
                <a:cs typeface="Arial"/>
              </a:rPr>
              <a:pPr marL="0" marR="0" lvl="0" indent="0" algn="l" defTabSz="60944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FFFFFF"/>
              </a:solidFill>
              <a:effectLst/>
              <a:uLnTx/>
              <a:uFillTx/>
              <a:latin typeface="Arial"/>
              <a:ea typeface="+mn-ea"/>
              <a:cs typeface="Arial"/>
            </a:endParaRPr>
          </a:p>
        </p:txBody>
      </p:sp>
      <p:sp>
        <p:nvSpPr>
          <p:cNvPr id="11" name="Footer Placeholder 4"/>
          <p:cNvSpPr txBox="1">
            <a:spLocks/>
          </p:cNvSpPr>
          <p:nvPr userDrawn="1"/>
        </p:nvSpPr>
        <p:spPr>
          <a:xfrm>
            <a:off x="336464" y="6476206"/>
            <a:ext cx="2012498" cy="123111"/>
          </a:xfrm>
          <a:prstGeom prst="rect">
            <a:avLst/>
          </a:prstGeom>
        </p:spPr>
        <p:txBody>
          <a:bodyPr vert="horz" wrap="square"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60944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89874543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2329915" y="6476207"/>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20" name="Footer Placeholder 4"/>
          <p:cNvSpPr>
            <a:spLocks noGrp="1"/>
          </p:cNvSpPr>
          <p:nvPr>
            <p:ph type="ftr" sz="quarter" idx="3"/>
          </p:nvPr>
        </p:nvSpPr>
        <p:spPr>
          <a:xfrm>
            <a:off x="336464" y="6476207"/>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19995876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12188825" cy="5842000"/>
          </a:xfrm>
          <a:prstGeom prst="rect">
            <a:avLst/>
          </a:prstGeom>
          <a:solidFill>
            <a:srgbClr val="8E8F93">
              <a:alpha val="20000"/>
            </a:srgbClr>
          </a:solidFill>
        </p:spPr>
        <p:txBody>
          <a:bodyPr lIns="91424" tIns="45712" rIns="91424" bIns="45712"/>
          <a:lstStyle>
            <a:lvl1pPr marL="0" indent="0">
              <a:buNone/>
              <a:defRPr sz="1466">
                <a:solidFill>
                  <a:schemeClr val="accent2">
                    <a:lumMod val="60000"/>
                    <a:lumOff val="40000"/>
                  </a:schemeClr>
                </a:solidFill>
              </a:defRPr>
            </a:lvl1pPr>
          </a:lstStyle>
          <a:p>
            <a:r>
              <a:rPr lang="en-US" dirty="0"/>
              <a:t>Drag Your Image Here</a:t>
            </a:r>
          </a:p>
        </p:txBody>
      </p:sp>
      <p:sp>
        <p:nvSpPr>
          <p:cNvPr id="8" name="Title 1"/>
          <p:cNvSpPr>
            <a:spLocks noGrp="1"/>
          </p:cNvSpPr>
          <p:nvPr>
            <p:ph type="ctrTitle" hasCustomPrompt="1"/>
          </p:nvPr>
        </p:nvSpPr>
        <p:spPr>
          <a:xfrm>
            <a:off x="336467" y="2628325"/>
            <a:ext cx="11562151" cy="738664"/>
          </a:xfrm>
          <a:prstGeom prst="rect">
            <a:avLst/>
          </a:prstGeom>
        </p:spPr>
        <p:txBody>
          <a:bodyPr lIns="0" tIns="0" rIns="0" bIns="0" anchor="ctr" anchorCtr="0">
            <a:spAutoFit/>
          </a:bodyPr>
          <a:lstStyle>
            <a:lvl1pPr marL="0" indent="0" algn="l">
              <a:buFont typeface="Arial"/>
              <a:buNone/>
              <a:defRPr sz="4799">
                <a:solidFill>
                  <a:schemeClr val="tx2"/>
                </a:solidFill>
              </a:defRPr>
            </a:lvl1pPr>
          </a:lstStyle>
          <a:p>
            <a:r>
              <a:rPr lang="en-US" dirty="0"/>
              <a:t>Click To Edit Master Title Style</a:t>
            </a:r>
          </a:p>
        </p:txBody>
      </p:sp>
      <p:sp>
        <p:nvSpPr>
          <p:cNvPr id="9" name="Subtitle 2"/>
          <p:cNvSpPr>
            <a:spLocks noGrp="1"/>
          </p:cNvSpPr>
          <p:nvPr>
            <p:ph type="subTitle" idx="1" hasCustomPrompt="1"/>
          </p:nvPr>
        </p:nvSpPr>
        <p:spPr>
          <a:xfrm>
            <a:off x="336467" y="3421689"/>
            <a:ext cx="11562151" cy="415499"/>
          </a:xfrm>
          <a:prstGeom prst="rect">
            <a:avLst/>
          </a:prstGeom>
        </p:spPr>
        <p:txBody>
          <a:bodyPr lIns="0" tIns="0" rIns="0" bIns="0">
            <a:spAutoFit/>
          </a:bodyPr>
          <a:lstStyle>
            <a:lvl1pPr marL="0" indent="0" algn="l">
              <a:buNone/>
              <a:defRPr sz="2666" baseline="0">
                <a:solidFill>
                  <a:schemeClr val="tx1">
                    <a:tint val="75000"/>
                  </a:schemeClr>
                </a:solidFill>
              </a:defRPr>
            </a:lvl1pPr>
            <a:lvl2pPr marL="609336" indent="0" algn="ctr">
              <a:buNone/>
              <a:defRPr>
                <a:solidFill>
                  <a:schemeClr val="tx1">
                    <a:tint val="75000"/>
                  </a:schemeClr>
                </a:solidFill>
              </a:defRPr>
            </a:lvl2pPr>
            <a:lvl3pPr marL="1218674" indent="0" algn="ctr">
              <a:buNone/>
              <a:defRPr>
                <a:solidFill>
                  <a:schemeClr val="tx1">
                    <a:tint val="75000"/>
                  </a:schemeClr>
                </a:solidFill>
              </a:defRPr>
            </a:lvl3pPr>
            <a:lvl4pPr marL="1828010" indent="0" algn="ctr">
              <a:buNone/>
              <a:defRPr>
                <a:solidFill>
                  <a:schemeClr val="tx1">
                    <a:tint val="75000"/>
                  </a:schemeClr>
                </a:solidFill>
              </a:defRPr>
            </a:lvl4pPr>
            <a:lvl5pPr marL="2437347" indent="0" algn="ctr">
              <a:buNone/>
              <a:defRPr>
                <a:solidFill>
                  <a:schemeClr val="tx1">
                    <a:tint val="75000"/>
                  </a:schemeClr>
                </a:solidFill>
              </a:defRPr>
            </a:lvl5pPr>
            <a:lvl6pPr marL="3046681" indent="0" algn="ctr">
              <a:buNone/>
              <a:defRPr>
                <a:solidFill>
                  <a:schemeClr val="tx1">
                    <a:tint val="75000"/>
                  </a:schemeClr>
                </a:solidFill>
              </a:defRPr>
            </a:lvl6pPr>
            <a:lvl7pPr marL="3656016" indent="0" algn="ctr">
              <a:buNone/>
              <a:defRPr>
                <a:solidFill>
                  <a:schemeClr val="tx1">
                    <a:tint val="75000"/>
                  </a:schemeClr>
                </a:solidFill>
              </a:defRPr>
            </a:lvl7pPr>
            <a:lvl8pPr marL="4265351" indent="0" algn="ctr">
              <a:buNone/>
              <a:defRPr>
                <a:solidFill>
                  <a:schemeClr val="tx1">
                    <a:tint val="75000"/>
                  </a:schemeClr>
                </a:solidFill>
              </a:defRPr>
            </a:lvl8pPr>
            <a:lvl9pPr marL="4874688" indent="0" algn="ctr">
              <a:buNone/>
              <a:defRPr>
                <a:solidFill>
                  <a:schemeClr val="tx1">
                    <a:tint val="75000"/>
                  </a:schemeClr>
                </a:solidFill>
              </a:defRPr>
            </a:lvl9pPr>
          </a:lstStyle>
          <a:p>
            <a:r>
              <a:rPr lang="en-US" dirty="0"/>
              <a:t>Click to Edit Optional Subtitle</a:t>
            </a:r>
          </a:p>
        </p:txBody>
      </p:sp>
      <p:sp>
        <p:nvSpPr>
          <p:cNvPr id="11" name="Rectangle 10"/>
          <p:cNvSpPr/>
          <p:nvPr userDrawn="1"/>
        </p:nvSpPr>
        <p:spPr>
          <a:xfrm flipV="1">
            <a:off x="0" y="4948912"/>
            <a:ext cx="12188825" cy="900425"/>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1867" tIns="60933" rIns="121867" bIns="60933" rtlCol="0" anchor="ctr"/>
          <a:lstStyle/>
          <a:p>
            <a:pPr marL="0" marR="0" lvl="0" indent="0" algn="ctr" defTabSz="609336"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Text Placeholder 13"/>
          <p:cNvSpPr>
            <a:spLocks noGrp="1"/>
          </p:cNvSpPr>
          <p:nvPr>
            <p:ph type="body" sz="quarter" idx="11" hasCustomPrompt="1"/>
          </p:nvPr>
        </p:nvSpPr>
        <p:spPr>
          <a:xfrm>
            <a:off x="336466" y="5272340"/>
            <a:ext cx="5812968" cy="246221"/>
          </a:xfrm>
          <a:prstGeom prst="rect">
            <a:avLst/>
          </a:prstGeom>
        </p:spPr>
        <p:txBody>
          <a:bodyPr lIns="0" tIns="0" rIns="0" bIns="0" anchor="ctr" anchorCtr="0">
            <a:spAutoFit/>
          </a:bodyPr>
          <a:lstStyle>
            <a:lvl1pPr marL="0" indent="0">
              <a:buNone/>
              <a:defRPr sz="1600">
                <a:solidFill>
                  <a:schemeClr val="bg1"/>
                </a:solidFill>
              </a:defRPr>
            </a:lvl1pPr>
          </a:lstStyle>
          <a:p>
            <a:pPr lvl="0"/>
            <a:r>
              <a:rPr lang="en-US" dirty="0"/>
              <a:t>Presented by:</a:t>
            </a:r>
          </a:p>
        </p:txBody>
      </p:sp>
      <p:sp>
        <p:nvSpPr>
          <p:cNvPr id="13" name="Rectangle 12"/>
          <p:cNvSpPr/>
          <p:nvPr userDrawn="1"/>
        </p:nvSpPr>
        <p:spPr>
          <a:xfrm>
            <a:off x="0" y="5849328"/>
            <a:ext cx="12188825" cy="144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67" tIns="60933" rIns="121867" bIns="60933" rtlCol="0" anchor="ctr"/>
          <a:lstStyle/>
          <a:p>
            <a:pPr marL="0" marR="0" lvl="0" indent="0" algn="ctr" defTabSz="609336"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prstClr val="white"/>
              </a:solidFill>
              <a:effectLst/>
              <a:uLnTx/>
              <a:uFillTx/>
              <a:latin typeface="Arial"/>
              <a:ea typeface="+mn-ea"/>
              <a:cs typeface="+mn-cs"/>
            </a:endParaRPr>
          </a:p>
        </p:txBody>
      </p:sp>
      <p:sp>
        <p:nvSpPr>
          <p:cNvPr id="18" name="Footer Placeholder 4"/>
          <p:cNvSpPr>
            <a:spLocks noGrp="1"/>
          </p:cNvSpPr>
          <p:nvPr>
            <p:ph type="ftr" sz="quarter" idx="3"/>
          </p:nvPr>
        </p:nvSpPr>
        <p:spPr>
          <a:xfrm>
            <a:off x="336470" y="6476214"/>
            <a:ext cx="2006852" cy="123111"/>
          </a:xfrm>
          <a:prstGeom prst="rect">
            <a:avLst/>
          </a:prstGeom>
        </p:spPr>
        <p:txBody>
          <a:bodyPr vert="horz" wrap="square" lIns="0" tIns="0" rIns="0" bIns="0" rtlCol="0" anchor="ctr">
            <a:spAutoFit/>
          </a:bodyPr>
          <a:lstStyle>
            <a:lvl1pPr algn="l">
              <a:defRPr sz="800">
                <a:solidFill>
                  <a:srgbClr val="4F5156"/>
                </a:solidFill>
                <a:latin typeface="Arial"/>
                <a:cs typeface="Arial"/>
              </a:defRPr>
            </a:lvl1pPr>
          </a:lstStyle>
          <a:p>
            <a:pPr defTabSz="609336"/>
            <a:r>
              <a:rPr lang="en-US"/>
              <a:t>Confidential Property of Schneider Electric |</a:t>
            </a:r>
            <a:endParaRPr lang="en-US" dirty="0"/>
          </a:p>
        </p:txBody>
      </p:sp>
      <p:pic>
        <p:nvPicPr>
          <p:cNvPr id="15" name="Picture 14"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4" y="6012788"/>
            <a:ext cx="2562395" cy="706672"/>
          </a:xfrm>
          <a:prstGeom prst="rect">
            <a:avLst/>
          </a:prstGeom>
        </p:spPr>
      </p:pic>
    </p:spTree>
    <p:extLst>
      <p:ext uri="{BB962C8B-B14F-4D97-AF65-F5344CB8AC3E}">
        <p14:creationId xmlns:p14="http://schemas.microsoft.com/office/powerpoint/2010/main" val="121545377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12188825" cy="3878280"/>
          </a:xfrm>
          <a:prstGeom prst="rect">
            <a:avLst/>
          </a:prstGeom>
          <a:solidFill>
            <a:schemeClr val="tx2">
              <a:alpha val="80000"/>
            </a:schemeClr>
          </a:solidFill>
        </p:spPr>
        <p:txBody>
          <a:bodyPr lIns="251955" tIns="0" rIns="0" bIns="251955" anchor="b" anchorCtr="0"/>
          <a:lstStyle>
            <a:lvl1pPr algn="l">
              <a:defRPr sz="3199"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3867190"/>
            <a:ext cx="12188825" cy="497417"/>
          </a:xfrm>
          <a:prstGeom prst="rect">
            <a:avLst/>
          </a:prstGeom>
          <a:solidFill>
            <a:schemeClr val="tx2"/>
          </a:solidFill>
        </p:spPr>
        <p:txBody>
          <a:bodyPr lIns="251955" tIns="0" rIns="0" bIns="0" anchor="ctr" anchorCtr="0"/>
          <a:lstStyle>
            <a:lvl1pPr marL="0" indent="0">
              <a:buNone/>
              <a:defRPr sz="1600" baseline="0">
                <a:solidFill>
                  <a:schemeClr val="bg1"/>
                </a:solidFill>
              </a:defRPr>
            </a:lvl1pPr>
          </a:lstStyle>
          <a:p>
            <a:pPr lvl="0"/>
            <a:r>
              <a:rPr lang="en-US" dirty="0"/>
              <a:t>Click To Edit Optional Subtitle</a:t>
            </a:r>
          </a:p>
        </p:txBody>
      </p:sp>
      <p:pic>
        <p:nvPicPr>
          <p:cNvPr id="11" name="Picture 10"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4" y="6012788"/>
            <a:ext cx="2562395" cy="706672"/>
          </a:xfrm>
          <a:prstGeom prst="rect">
            <a:avLst/>
          </a:prstGeom>
        </p:spPr>
      </p:pic>
      <p:sp>
        <p:nvSpPr>
          <p:cNvPr id="9" name="Slide Number Placeholder 5"/>
          <p:cNvSpPr>
            <a:spLocks noGrp="1"/>
          </p:cNvSpPr>
          <p:nvPr>
            <p:ph type="sldNum" sz="quarter" idx="4"/>
          </p:nvPr>
        </p:nvSpPr>
        <p:spPr>
          <a:xfrm>
            <a:off x="2329916" y="6476215"/>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336"/>
            <a:r>
              <a:rPr lang="en-US">
                <a:solidFill>
                  <a:srgbClr val="3DCD58"/>
                </a:solidFill>
              </a:rPr>
              <a:t>Page </a:t>
            </a:r>
            <a:fld id="{5A9C12DC-491F-9444-86A2-13AC5C62A2FC}" type="slidenum">
              <a:rPr lang="en-US" smtClean="0">
                <a:solidFill>
                  <a:srgbClr val="3DCD58"/>
                </a:solidFill>
              </a:rPr>
              <a:pPr defTabSz="609336"/>
              <a:t>‹#›</a:t>
            </a:fld>
            <a:endParaRPr lang="en-US" dirty="0">
              <a:solidFill>
                <a:srgbClr val="3DCD58"/>
              </a:solidFill>
            </a:endParaRPr>
          </a:p>
        </p:txBody>
      </p:sp>
      <p:sp>
        <p:nvSpPr>
          <p:cNvPr id="10" name="Footer Placeholder 4"/>
          <p:cNvSpPr>
            <a:spLocks noGrp="1"/>
          </p:cNvSpPr>
          <p:nvPr>
            <p:ph type="ftr" sz="quarter" idx="3"/>
          </p:nvPr>
        </p:nvSpPr>
        <p:spPr>
          <a:xfrm>
            <a:off x="336469" y="6476214"/>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336"/>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72083101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12188825" cy="6858000"/>
          </a:xfrm>
          <a:prstGeom prst="rect">
            <a:avLst/>
          </a:prstGeom>
          <a:solidFill>
            <a:srgbClr val="8E8F93">
              <a:alpha val="20000"/>
            </a:srgbClr>
          </a:solidFill>
        </p:spPr>
        <p:txBody>
          <a:bodyPr lIns="91424" tIns="45712" rIns="91424" bIns="45712"/>
          <a:lstStyle>
            <a:lvl1pPr marL="0" indent="0">
              <a:buNone/>
              <a:defRPr sz="1466">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721428"/>
            <a:ext cx="12188825" cy="1156853"/>
          </a:xfrm>
          <a:prstGeom prst="rect">
            <a:avLst/>
          </a:prstGeom>
          <a:solidFill>
            <a:schemeClr val="tx2">
              <a:alpha val="80000"/>
            </a:schemeClr>
          </a:solidFill>
        </p:spPr>
        <p:txBody>
          <a:bodyPr lIns="251955" tIns="0" rIns="0" bIns="0" anchor="ctr" anchorCtr="0"/>
          <a:lstStyle>
            <a:lvl1pPr algn="l">
              <a:defRPr sz="3199"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3867190"/>
            <a:ext cx="12188825" cy="497417"/>
          </a:xfrm>
          <a:prstGeom prst="rect">
            <a:avLst/>
          </a:prstGeom>
          <a:solidFill>
            <a:schemeClr val="tx2"/>
          </a:solidFill>
        </p:spPr>
        <p:txBody>
          <a:bodyPr lIns="251955" tIns="0" rIns="0" bIns="0" anchor="ctr" anchorCtr="0"/>
          <a:lstStyle>
            <a:lvl1pPr marL="0" indent="0">
              <a:buNone/>
              <a:defRPr sz="1600" baseline="0">
                <a:solidFill>
                  <a:schemeClr val="bg1"/>
                </a:solidFill>
              </a:defRPr>
            </a:lvl1pPr>
          </a:lstStyle>
          <a:p>
            <a:pPr lvl="0"/>
            <a:r>
              <a:rPr lang="en-US" dirty="0"/>
              <a:t>Click To Edit Optional Subtitle</a:t>
            </a:r>
          </a:p>
        </p:txBody>
      </p:sp>
      <p:pic>
        <p:nvPicPr>
          <p:cNvPr id="13" name="Picture 12"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4" y="6012788"/>
            <a:ext cx="2562395" cy="706672"/>
          </a:xfrm>
          <a:prstGeom prst="rect">
            <a:avLst/>
          </a:prstGeom>
        </p:spPr>
      </p:pic>
      <p:sp>
        <p:nvSpPr>
          <p:cNvPr id="10" name="Slide Number Placeholder 5"/>
          <p:cNvSpPr>
            <a:spLocks noGrp="1"/>
          </p:cNvSpPr>
          <p:nvPr>
            <p:ph type="sldNum" sz="quarter" idx="4"/>
          </p:nvPr>
        </p:nvSpPr>
        <p:spPr>
          <a:xfrm>
            <a:off x="2329916" y="6476215"/>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36"/>
            <a:r>
              <a:rPr lang="en-US"/>
              <a:t>Page </a:t>
            </a:r>
            <a:fld id="{5A9C12DC-491F-9444-86A2-13AC5C62A2FC}" type="slidenum">
              <a:rPr lang="en-US" smtClean="0"/>
              <a:pPr defTabSz="609336"/>
              <a:t>‹#›</a:t>
            </a:fld>
            <a:endParaRPr lang="en-US" dirty="0"/>
          </a:p>
        </p:txBody>
      </p:sp>
      <p:sp>
        <p:nvSpPr>
          <p:cNvPr id="12" name="Footer Placeholder 4"/>
          <p:cNvSpPr>
            <a:spLocks noGrp="1"/>
          </p:cNvSpPr>
          <p:nvPr>
            <p:ph type="ftr" sz="quarter" idx="3"/>
          </p:nvPr>
        </p:nvSpPr>
        <p:spPr>
          <a:xfrm>
            <a:off x="336469" y="6476214"/>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36"/>
            <a:r>
              <a:rPr lang="en-US"/>
              <a:t>Confidential Property of Schneider Electric |</a:t>
            </a:r>
            <a:endParaRPr lang="en-US" dirty="0"/>
          </a:p>
        </p:txBody>
      </p:sp>
    </p:spTree>
    <p:extLst>
      <p:ext uri="{BB962C8B-B14F-4D97-AF65-F5344CB8AC3E}">
        <p14:creationId xmlns:p14="http://schemas.microsoft.com/office/powerpoint/2010/main" val="148361630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w/ Image 2">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12188825" cy="2641744"/>
          </a:xfrm>
          <a:prstGeom prst="rect">
            <a:avLst/>
          </a:prstGeom>
          <a:solidFill>
            <a:srgbClr val="8E8F93">
              <a:alpha val="20000"/>
            </a:srgbClr>
          </a:solidFill>
        </p:spPr>
        <p:txBody>
          <a:bodyPr lIns="91424" tIns="45712" rIns="91424" bIns="45712"/>
          <a:lstStyle>
            <a:lvl1pPr marL="0" indent="0">
              <a:buNone/>
              <a:defRPr sz="1466">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2641753"/>
            <a:ext cx="12188825" cy="4216255"/>
          </a:xfrm>
          <a:prstGeom prst="rect">
            <a:avLst/>
          </a:prstGeom>
          <a:solidFill>
            <a:schemeClr val="tx2"/>
          </a:solidFill>
        </p:spPr>
        <p:txBody>
          <a:bodyPr lIns="251955" tIns="251955" rIns="251955" bIns="251955" anchor="t" anchorCtr="0"/>
          <a:lstStyle>
            <a:lvl1pPr algn="l">
              <a:defRPr sz="3199"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2144336"/>
            <a:ext cx="12188825" cy="497417"/>
          </a:xfrm>
          <a:prstGeom prst="rect">
            <a:avLst/>
          </a:prstGeom>
          <a:solidFill>
            <a:schemeClr val="tx2">
              <a:alpha val="80000"/>
            </a:schemeClr>
          </a:solidFill>
        </p:spPr>
        <p:txBody>
          <a:bodyPr lIns="251955" tIns="0" rIns="251955" bIns="0" anchor="ctr" anchorCtr="0"/>
          <a:lstStyle>
            <a:lvl1pPr marL="0" indent="0">
              <a:buNone/>
              <a:defRPr sz="1600" baseline="0">
                <a:solidFill>
                  <a:schemeClr val="bg1"/>
                </a:solidFill>
              </a:defRPr>
            </a:lvl1pPr>
          </a:lstStyle>
          <a:p>
            <a:pPr lvl="0"/>
            <a:r>
              <a:rPr lang="en-US" dirty="0"/>
              <a:t>Click To Edit Optional 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97925" y="6135831"/>
            <a:ext cx="2400696" cy="595528"/>
          </a:xfrm>
          <a:prstGeom prst="rect">
            <a:avLst/>
          </a:prstGeom>
        </p:spPr>
      </p:pic>
      <p:sp>
        <p:nvSpPr>
          <p:cNvPr id="12" name="Slide Number Placeholder 5"/>
          <p:cNvSpPr>
            <a:spLocks noGrp="1"/>
          </p:cNvSpPr>
          <p:nvPr>
            <p:ph type="sldNum" sz="quarter" idx="4"/>
          </p:nvPr>
        </p:nvSpPr>
        <p:spPr>
          <a:xfrm>
            <a:off x="2329916" y="6476215"/>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36"/>
            <a:r>
              <a:rPr lang="en-US"/>
              <a:t>Page </a:t>
            </a:r>
            <a:fld id="{5A9C12DC-491F-9444-86A2-13AC5C62A2FC}" type="slidenum">
              <a:rPr lang="en-US" smtClean="0"/>
              <a:pPr defTabSz="609336"/>
              <a:t>‹#›</a:t>
            </a:fld>
            <a:endParaRPr lang="en-US" dirty="0"/>
          </a:p>
        </p:txBody>
      </p:sp>
      <p:sp>
        <p:nvSpPr>
          <p:cNvPr id="13" name="Footer Placeholder 4"/>
          <p:cNvSpPr>
            <a:spLocks noGrp="1"/>
          </p:cNvSpPr>
          <p:nvPr>
            <p:ph type="ftr" sz="quarter" idx="3"/>
          </p:nvPr>
        </p:nvSpPr>
        <p:spPr>
          <a:xfrm>
            <a:off x="336469" y="6476214"/>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36"/>
            <a:r>
              <a:rPr lang="en-US"/>
              <a:t>Confidential Property of Schneider Electric |</a:t>
            </a:r>
            <a:endParaRPr lang="en-US" dirty="0"/>
          </a:p>
        </p:txBody>
      </p:sp>
    </p:spTree>
    <p:extLst>
      <p:ext uri="{BB962C8B-B14F-4D97-AF65-F5344CB8AC3E}">
        <p14:creationId xmlns:p14="http://schemas.microsoft.com/office/powerpoint/2010/main" val="115170660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w/ Image 3">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6149436" y="6"/>
            <a:ext cx="6039396" cy="6857999"/>
          </a:xfrm>
          <a:prstGeom prst="rect">
            <a:avLst/>
          </a:prstGeom>
          <a:solidFill>
            <a:schemeClr val="accent2">
              <a:alpha val="20000"/>
            </a:schemeClr>
          </a:solidFill>
        </p:spPr>
        <p:txBody>
          <a:bodyPr vert="horz" lIns="251955" tIns="251955" rIns="251955" bIns="251955"/>
          <a:lstStyle>
            <a:lvl1pPr marL="0" indent="0">
              <a:buNone/>
              <a:defRPr sz="1466">
                <a:solidFill>
                  <a:schemeClr val="accent2">
                    <a:lumMod val="60000"/>
                    <a:lumOff val="40000"/>
                  </a:schemeClr>
                </a:solidFill>
              </a:defRPr>
            </a:lvl1pPr>
            <a:lvl2pPr marL="590296" indent="-353333">
              <a:buFont typeface="Arial"/>
              <a:buChar char="•"/>
              <a:defRPr sz="2399">
                <a:solidFill>
                  <a:schemeClr val="accent1"/>
                </a:solidFill>
              </a:defRPr>
            </a:lvl2pPr>
            <a:lvl3pPr marL="943623" indent="-304668">
              <a:buFont typeface="Lucida Grande"/>
              <a:buChar char="–"/>
              <a:defRPr sz="2133">
                <a:solidFill>
                  <a:schemeClr val="accent1"/>
                </a:solidFill>
              </a:defRPr>
            </a:lvl3pPr>
            <a:lvl4pPr marL="1301188" indent="-304668">
              <a:buFont typeface="Lucida Grande"/>
              <a:buChar char="–"/>
              <a:defRPr sz="1866">
                <a:solidFill>
                  <a:schemeClr val="accent1"/>
                </a:solidFill>
              </a:defRPr>
            </a:lvl4pPr>
            <a:lvl5pPr marL="1677790" indent="-308901" defTabSz="418921">
              <a:buFont typeface="Lucida Grande"/>
              <a:buChar char="–"/>
              <a:defRPr sz="1866">
                <a:solidFill>
                  <a:schemeClr val="accent1"/>
                </a:solidFill>
              </a:defRPr>
            </a:lvl5pPr>
          </a:lstStyle>
          <a:p>
            <a:pPr lvl="0"/>
            <a:r>
              <a:rPr lang="en-US" dirty="0"/>
              <a:t>Insert Your Content Here</a:t>
            </a:r>
          </a:p>
        </p:txBody>
      </p:sp>
      <p:sp>
        <p:nvSpPr>
          <p:cNvPr id="15" name="Rectangle 14"/>
          <p:cNvSpPr/>
          <p:nvPr userDrawn="1"/>
        </p:nvSpPr>
        <p:spPr>
          <a:xfrm rot="5400000">
            <a:off x="-383395" y="325175"/>
            <a:ext cx="6858000" cy="620765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67" tIns="60933" rIns="121867" bIns="60933" rtlCol="0" anchor="ctr"/>
          <a:lstStyle/>
          <a:p>
            <a:pPr marL="0" marR="0" lvl="0" indent="0" algn="ctr" defTabSz="609336"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Content Placeholder 12"/>
          <p:cNvSpPr>
            <a:spLocks noGrp="1"/>
          </p:cNvSpPr>
          <p:nvPr>
            <p:ph sz="quarter" idx="11"/>
          </p:nvPr>
        </p:nvSpPr>
        <p:spPr>
          <a:xfrm>
            <a:off x="-58221" y="-3"/>
            <a:ext cx="6704939" cy="6858003"/>
          </a:xfrm>
          <a:prstGeom prst="rect">
            <a:avLst/>
          </a:prstGeom>
          <a:solidFill>
            <a:schemeClr val="tx2">
              <a:alpha val="80000"/>
            </a:schemeClr>
          </a:solidFill>
        </p:spPr>
        <p:txBody>
          <a:bodyPr vert="horz" lIns="251955" tIns="251955" rIns="251955" bIns="251955"/>
          <a:lstStyle>
            <a:lvl1pPr marL="0" indent="0">
              <a:buNone/>
              <a:defRPr sz="3199">
                <a:solidFill>
                  <a:schemeClr val="bg1"/>
                </a:solidFill>
              </a:defRPr>
            </a:lvl1pPr>
            <a:lvl2pPr marL="590296" indent="-353333">
              <a:buFont typeface="Arial"/>
              <a:buChar char="•"/>
              <a:defRPr sz="2666">
                <a:solidFill>
                  <a:schemeClr val="bg1"/>
                </a:solidFill>
              </a:defRPr>
            </a:lvl2pPr>
            <a:lvl3pPr marL="943623" indent="-304668">
              <a:buFont typeface="Lucida Grande"/>
              <a:buChar char="–"/>
              <a:defRPr sz="2399">
                <a:solidFill>
                  <a:schemeClr val="bg1"/>
                </a:solidFill>
              </a:defRPr>
            </a:lvl3pPr>
            <a:lvl4pPr marL="1301188" indent="-304668">
              <a:buFont typeface="Lucida Grande"/>
              <a:buChar char="–"/>
              <a:defRPr sz="2133">
                <a:solidFill>
                  <a:schemeClr val="bg1"/>
                </a:solidFill>
              </a:defRPr>
            </a:lvl4pPr>
            <a:lvl5pPr marL="1677790" indent="-308901" defTabSz="418921">
              <a:buFont typeface="Lucida Grande"/>
              <a:buChar char="–"/>
              <a:defRPr sz="2133">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29916" y="6476215"/>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36"/>
            <a:r>
              <a:rPr lang="en-US"/>
              <a:t>Page </a:t>
            </a:r>
            <a:fld id="{5A9C12DC-491F-9444-86A2-13AC5C62A2FC}" type="slidenum">
              <a:rPr lang="en-US" smtClean="0"/>
              <a:pPr defTabSz="609336"/>
              <a:t>‹#›</a:t>
            </a:fld>
            <a:endParaRPr lang="en-US" dirty="0"/>
          </a:p>
        </p:txBody>
      </p:sp>
      <p:sp>
        <p:nvSpPr>
          <p:cNvPr id="8" name="Footer Placeholder 4"/>
          <p:cNvSpPr>
            <a:spLocks noGrp="1"/>
          </p:cNvSpPr>
          <p:nvPr>
            <p:ph type="ftr" sz="quarter" idx="3"/>
          </p:nvPr>
        </p:nvSpPr>
        <p:spPr>
          <a:xfrm>
            <a:off x="336469" y="6476214"/>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36"/>
            <a:r>
              <a:rPr lang="en-US"/>
              <a:t>Confidential Property of Schneider Electric |</a:t>
            </a:r>
            <a:endParaRPr lang="en-US" dirty="0"/>
          </a:p>
        </p:txBody>
      </p:sp>
      <p:pic>
        <p:nvPicPr>
          <p:cNvPr id="10" name="Picture 9"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4" y="6012788"/>
            <a:ext cx="2562395" cy="706672"/>
          </a:xfrm>
          <a:prstGeom prst="rect">
            <a:avLst/>
          </a:prstGeom>
        </p:spPr>
      </p:pic>
    </p:spTree>
    <p:extLst>
      <p:ext uri="{BB962C8B-B14F-4D97-AF65-F5344CB8AC3E}">
        <p14:creationId xmlns:p14="http://schemas.microsoft.com/office/powerpoint/2010/main" val="379215514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w/ Image 4">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6149436" y="9"/>
            <a:ext cx="6039396" cy="6857999"/>
          </a:xfrm>
          <a:prstGeom prst="rect">
            <a:avLst/>
          </a:prstGeom>
          <a:solidFill>
            <a:schemeClr val="accent2">
              <a:alpha val="20000"/>
            </a:schemeClr>
          </a:solidFill>
        </p:spPr>
        <p:txBody>
          <a:bodyPr vert="horz" lIns="251955" tIns="251955" rIns="251955" bIns="251955"/>
          <a:lstStyle>
            <a:lvl1pPr marL="0" indent="0">
              <a:buNone/>
              <a:defRPr sz="1466">
                <a:solidFill>
                  <a:schemeClr val="accent2">
                    <a:lumMod val="60000"/>
                    <a:lumOff val="40000"/>
                  </a:schemeClr>
                </a:solidFill>
              </a:defRPr>
            </a:lvl1pPr>
            <a:lvl2pPr marL="590296" indent="-353333">
              <a:buFont typeface="Arial"/>
              <a:buChar char="•"/>
              <a:defRPr sz="2399">
                <a:solidFill>
                  <a:schemeClr val="accent1"/>
                </a:solidFill>
              </a:defRPr>
            </a:lvl2pPr>
            <a:lvl3pPr marL="943623" indent="-304668">
              <a:buFont typeface="Lucida Grande"/>
              <a:buChar char="–"/>
              <a:defRPr sz="2133">
                <a:solidFill>
                  <a:schemeClr val="accent1"/>
                </a:solidFill>
              </a:defRPr>
            </a:lvl3pPr>
            <a:lvl4pPr marL="1301188" indent="-304668">
              <a:buFont typeface="Lucida Grande"/>
              <a:buChar char="–"/>
              <a:defRPr sz="1866">
                <a:solidFill>
                  <a:schemeClr val="accent1"/>
                </a:solidFill>
              </a:defRPr>
            </a:lvl4pPr>
            <a:lvl5pPr marL="1677790" indent="-308901" defTabSz="418921">
              <a:buFont typeface="Lucida Grande"/>
              <a:buChar char="–"/>
              <a:defRPr sz="1866">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336464" y="1310603"/>
            <a:ext cx="4998647" cy="1936940"/>
          </a:xfrm>
          <a:prstGeom prst="rect">
            <a:avLst/>
          </a:prstGeom>
          <a:noFill/>
        </p:spPr>
        <p:txBody>
          <a:bodyPr vert="horz" wrap="square" lIns="0" tIns="0" rIns="0" bIns="0">
            <a:spAutoFit/>
          </a:bodyPr>
          <a:lstStyle>
            <a:lvl1pPr marL="315247" indent="-315247">
              <a:buClr>
                <a:schemeClr val="tx2"/>
              </a:buClr>
              <a:buFont typeface="Arial" panose="020B0604020202020204" pitchFamily="34" charset="0"/>
              <a:buChar char="•"/>
              <a:defRPr sz="2666">
                <a:solidFill>
                  <a:schemeClr val="accent1"/>
                </a:solidFill>
              </a:defRPr>
            </a:lvl1pPr>
            <a:lvl2pPr marL="609336" indent="-294089">
              <a:buClr>
                <a:schemeClr val="tx2"/>
              </a:buClr>
              <a:buFont typeface="Arial" panose="020B0604020202020204" pitchFamily="34" charset="0"/>
              <a:buChar char="•"/>
              <a:defRPr sz="2399">
                <a:solidFill>
                  <a:schemeClr val="accent1"/>
                </a:solidFill>
              </a:defRPr>
            </a:lvl2pPr>
            <a:lvl3pPr marL="839955" indent="-230620">
              <a:buClr>
                <a:schemeClr val="tx2"/>
              </a:buClr>
              <a:buFont typeface="Arial" panose="020B0604020202020204" pitchFamily="34" charset="0"/>
              <a:buChar char="•"/>
              <a:defRPr sz="2133">
                <a:solidFill>
                  <a:schemeClr val="accent1"/>
                </a:solidFill>
              </a:defRPr>
            </a:lvl3pPr>
            <a:lvl4pPr marL="1070570" indent="-230620">
              <a:buClr>
                <a:schemeClr val="tx2"/>
              </a:buClr>
              <a:buFont typeface="Arial" panose="020B0604020202020204" pitchFamily="34" charset="0"/>
              <a:buChar char="•"/>
              <a:defRPr sz="1866">
                <a:solidFill>
                  <a:schemeClr val="accent1"/>
                </a:solidFill>
              </a:defRPr>
            </a:lvl4pPr>
            <a:lvl5pPr marL="1303305" indent="-232735" defTabSz="418921">
              <a:buClr>
                <a:schemeClr val="tx2"/>
              </a:buClr>
              <a:buFont typeface="Arial" panose="020B0604020202020204" pitchFamily="34" charset="0"/>
              <a:buChar char="•"/>
              <a:defRPr sz="1866">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p:cNvSpPr>
            <a:spLocks noGrp="1"/>
          </p:cNvSpPr>
          <p:nvPr>
            <p:ph type="title" hasCustomPrompt="1"/>
          </p:nvPr>
        </p:nvSpPr>
        <p:spPr>
          <a:xfrm>
            <a:off x="336464" y="464445"/>
            <a:ext cx="4998647" cy="492443"/>
          </a:xfrm>
          <a:prstGeom prst="rect">
            <a:avLst/>
          </a:prstGeom>
        </p:spPr>
        <p:txBody>
          <a:bodyPr wrap="square" lIns="0" tIns="0" rIns="0" bIns="0" anchor="ctr" anchorCtr="0">
            <a:spAutoFit/>
          </a:bodyPr>
          <a:lstStyle>
            <a:lvl1pPr algn="l">
              <a:defRPr sz="3199" baseline="0">
                <a:solidFill>
                  <a:schemeClr val="tx2"/>
                </a:solidFill>
              </a:defRPr>
            </a:lvl1pPr>
          </a:lstStyle>
          <a:p>
            <a:r>
              <a:rPr lang="en-US" dirty="0"/>
              <a:t>Click To Edit Section Title</a:t>
            </a:r>
          </a:p>
        </p:txBody>
      </p:sp>
      <p:sp>
        <p:nvSpPr>
          <p:cNvPr id="23" name="Rectangle 22"/>
          <p:cNvSpPr/>
          <p:nvPr userDrawn="1"/>
        </p:nvSpPr>
        <p:spPr>
          <a:xfrm rot="5400000">
            <a:off x="2471787" y="3180361"/>
            <a:ext cx="6857997" cy="4972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67" tIns="60933" rIns="121867" bIns="60933" rtlCol="0" anchor="ctr"/>
          <a:lstStyle/>
          <a:p>
            <a:pPr marL="0" marR="0" lvl="0" indent="0" algn="ctr" defTabSz="609336"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prstClr val="white"/>
              </a:solidFill>
              <a:effectLst/>
              <a:uLnTx/>
              <a:uFillTx/>
              <a:latin typeface="Arial"/>
              <a:ea typeface="+mn-ea"/>
              <a:cs typeface="+mn-cs"/>
            </a:endParaRPr>
          </a:p>
        </p:txBody>
      </p:sp>
      <p:pic>
        <p:nvPicPr>
          <p:cNvPr id="11" name="Picture 10"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4" y="6012788"/>
            <a:ext cx="2562395" cy="706672"/>
          </a:xfrm>
          <a:prstGeom prst="rect">
            <a:avLst/>
          </a:prstGeom>
        </p:spPr>
      </p:pic>
      <p:sp>
        <p:nvSpPr>
          <p:cNvPr id="4" name="Text Placeholder 3"/>
          <p:cNvSpPr>
            <a:spLocks noGrp="1"/>
          </p:cNvSpPr>
          <p:nvPr>
            <p:ph type="body" sz="quarter" idx="14" hasCustomPrompt="1"/>
          </p:nvPr>
        </p:nvSpPr>
        <p:spPr>
          <a:xfrm>
            <a:off x="5652142" y="0"/>
            <a:ext cx="994577" cy="6858000"/>
          </a:xfrm>
          <a:prstGeom prst="rect">
            <a:avLst/>
          </a:prstGeom>
          <a:solidFill>
            <a:schemeClr val="tx2">
              <a:alpha val="80000"/>
            </a:schemeClr>
          </a:solidFill>
          <a:ln>
            <a:noFill/>
          </a:ln>
        </p:spPr>
        <p:txBody>
          <a:bodyPr lIns="91424" tIns="45712" rIns="91424" bIns="45712"/>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2329916" y="6476215"/>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336"/>
            <a:r>
              <a:rPr lang="en-US">
                <a:solidFill>
                  <a:srgbClr val="3DCD58"/>
                </a:solidFill>
              </a:rPr>
              <a:t>Page </a:t>
            </a:r>
            <a:fld id="{5A9C12DC-491F-9444-86A2-13AC5C62A2FC}" type="slidenum">
              <a:rPr lang="en-US" smtClean="0">
                <a:solidFill>
                  <a:srgbClr val="3DCD58"/>
                </a:solidFill>
              </a:rPr>
              <a:pPr defTabSz="609336"/>
              <a:t>‹#›</a:t>
            </a:fld>
            <a:endParaRPr lang="en-US" dirty="0">
              <a:solidFill>
                <a:srgbClr val="3DCD58"/>
              </a:solidFill>
            </a:endParaRPr>
          </a:p>
        </p:txBody>
      </p:sp>
      <p:sp>
        <p:nvSpPr>
          <p:cNvPr id="16" name="Footer Placeholder 4"/>
          <p:cNvSpPr>
            <a:spLocks noGrp="1"/>
          </p:cNvSpPr>
          <p:nvPr>
            <p:ph type="ftr" sz="quarter" idx="3"/>
          </p:nvPr>
        </p:nvSpPr>
        <p:spPr>
          <a:xfrm>
            <a:off x="336469" y="6476214"/>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336"/>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4019432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Slide Thank You">
    <p:spTree>
      <p:nvGrpSpPr>
        <p:cNvPr id="1" name=""/>
        <p:cNvGrpSpPr/>
        <p:nvPr/>
      </p:nvGrpSpPr>
      <p:grpSpPr>
        <a:xfrm>
          <a:off x="0" y="0"/>
          <a:ext cx="0" cy="0"/>
          <a:chOff x="0" y="0"/>
          <a:chExt cx="0" cy="0"/>
        </a:xfrm>
      </p:grpSpPr>
      <p:sp>
        <p:nvSpPr>
          <p:cNvPr id="6" name="Rectangle 5"/>
          <p:cNvSpPr/>
          <p:nvPr/>
        </p:nvSpPr>
        <p:spPr>
          <a:xfrm>
            <a:off x="11086300" y="6206806"/>
            <a:ext cx="619933" cy="5245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9687788" y="5904395"/>
            <a:ext cx="1891445" cy="564671"/>
          </a:xfrm>
          <a:prstGeom prst="rect">
            <a:avLst/>
          </a:prstGeom>
          <a:noFill/>
        </p:spPr>
      </p:pic>
      <p:sp>
        <p:nvSpPr>
          <p:cNvPr id="5" name="TextBox 4"/>
          <p:cNvSpPr txBox="1"/>
          <p:nvPr userDrawn="1"/>
        </p:nvSpPr>
        <p:spPr>
          <a:xfrm>
            <a:off x="608015" y="6130519"/>
            <a:ext cx="9658279" cy="338555"/>
          </a:xfrm>
          <a:prstGeom prst="rect">
            <a:avLst/>
          </a:prstGeom>
          <a:noFill/>
        </p:spPr>
        <p:txBody>
          <a:bodyPr wrap="square" lIns="0" tIns="0" rIns="0" bIns="0" rtlCol="0" anchor="b" anchorCtr="0">
            <a:spAutoFit/>
          </a:bodyPr>
          <a:lstStyle/>
          <a:p>
            <a:pPr marL="0" algn="l" defTabSz="914323" rtl="0" eaLnBrk="1" latinLnBrk="0" hangingPunct="1"/>
            <a:r>
              <a:rPr kumimoji="0" lang="en-US" sz="1100" b="0" i="0" u="none" strike="noStrike" kern="1200" cap="none" spc="0" normalizeH="0" baseline="0" noProof="0" dirty="0">
                <a:ln>
                  <a:noFill/>
                </a:ln>
                <a:solidFill>
                  <a:srgbClr val="626469"/>
                </a:solidFill>
                <a:effectLst/>
                <a:uLnTx/>
                <a:uFillTx/>
                <a:latin typeface="Arial" pitchFamily="34" charset="0"/>
                <a:ea typeface="ＭＳ Ｐゴシック" pitchFamily="34" charset="-128"/>
                <a:cs typeface="Arial" pitchFamily="34" charset="0"/>
              </a:rPr>
              <a:t>©2014 Schneider Electric. All Rights Reserved.</a:t>
            </a:r>
            <a:br>
              <a:rPr kumimoji="0" lang="en-US" sz="1100" b="0" i="0" u="none" strike="noStrike" kern="1200" cap="none" spc="0" normalizeH="0" baseline="0" noProof="0" dirty="0">
                <a:ln>
                  <a:noFill/>
                </a:ln>
                <a:solidFill>
                  <a:srgbClr val="626469"/>
                </a:solidFill>
                <a:effectLst/>
                <a:uLnTx/>
                <a:uFillTx/>
                <a:latin typeface="Arial" pitchFamily="34" charset="0"/>
                <a:ea typeface="ＭＳ Ｐゴシック" pitchFamily="34" charset="-128"/>
                <a:cs typeface="Arial" pitchFamily="34" charset="0"/>
              </a:rPr>
            </a:br>
            <a:r>
              <a:rPr kumimoji="0" lang="en-US" sz="1100" b="0" i="0" u="none" strike="noStrike" kern="1200" cap="none" spc="0" normalizeH="0" baseline="0" noProof="0" dirty="0">
                <a:ln>
                  <a:noFill/>
                </a:ln>
                <a:solidFill>
                  <a:srgbClr val="626469"/>
                </a:solidFill>
                <a:effectLst/>
                <a:uLnTx/>
                <a:uFillTx/>
                <a:latin typeface="Arial" pitchFamily="34" charset="0"/>
                <a:ea typeface="ＭＳ Ｐゴシック" pitchFamily="34" charset="-128"/>
                <a:cs typeface="Arial" pitchFamily="34" charset="0"/>
              </a:rPr>
              <a:t>All trademarks are owned by Schneider Electric Industries SAS or its affiliated companies or their respective owners.</a:t>
            </a:r>
          </a:p>
        </p:txBody>
      </p:sp>
      <p:pic>
        <p:nvPicPr>
          <p:cNvPr id="7" name="Picture 6" descr="Thankyou2.jpg"/>
          <p:cNvPicPr>
            <a:picLocks noChangeAspect="1"/>
          </p:cNvPicPr>
          <p:nvPr userDrawn="1"/>
        </p:nvPicPr>
        <p:blipFill rotWithShape="1">
          <a:blip r:embed="rId3" cstate="print">
            <a:extLst>
              <a:ext uri="{28A0092B-C50C-407E-A947-70E740481C1C}">
                <a14:useLocalDpi xmlns:a14="http://schemas.microsoft.com/office/drawing/2010/main" val="0"/>
              </a:ext>
            </a:extLst>
          </a:blip>
          <a:srcRect r="971"/>
          <a:stretch/>
        </p:blipFill>
        <p:spPr>
          <a:xfrm>
            <a:off x="0" y="1812835"/>
            <a:ext cx="12188825" cy="3022680"/>
          </a:xfrm>
          <a:prstGeom prst="rect">
            <a:avLst/>
          </a:prstGeom>
        </p:spPr>
      </p:pic>
    </p:spTree>
    <p:extLst>
      <p:ext uri="{BB962C8B-B14F-4D97-AF65-F5344CB8AC3E}">
        <p14:creationId xmlns:p14="http://schemas.microsoft.com/office/powerpoint/2010/main" val="126886314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3994" y="2900205"/>
            <a:ext cx="11508377" cy="492443"/>
          </a:xfrm>
          <a:prstGeom prst="rect">
            <a:avLst/>
          </a:prstGeom>
        </p:spPr>
        <p:txBody>
          <a:bodyPr lIns="0" tIns="0" rIns="0" bIns="0" anchor="ctr" anchorCtr="0">
            <a:spAutoFit/>
          </a:bodyPr>
          <a:lstStyle>
            <a:lvl1pPr algn="l">
              <a:defRPr sz="3199"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343994" y="3510099"/>
            <a:ext cx="11508377" cy="292388"/>
          </a:xfrm>
          <a:prstGeom prst="rect">
            <a:avLst/>
          </a:prstGeom>
        </p:spPr>
        <p:txBody>
          <a:bodyPr lIns="0" tIns="0" rIns="0" bIns="0" anchor="ctr" anchorCtr="0">
            <a:spAutoFit/>
          </a:bodyPr>
          <a:lstStyle>
            <a:lvl1pPr marL="0" indent="0">
              <a:buNone/>
              <a:defRPr sz="1866" baseline="0">
                <a:solidFill>
                  <a:schemeClr val="accent1"/>
                </a:solidFill>
              </a:defRPr>
            </a:lvl1pPr>
          </a:lstStyle>
          <a:p>
            <a:pPr lvl="0"/>
            <a:r>
              <a:rPr lang="en-US" dirty="0"/>
              <a:t>Click To Edit Optional Subtitle</a:t>
            </a:r>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4" y="6012788"/>
            <a:ext cx="2562395" cy="706672"/>
          </a:xfrm>
          <a:prstGeom prst="rect">
            <a:avLst/>
          </a:prstGeom>
        </p:spPr>
      </p:pic>
      <p:sp>
        <p:nvSpPr>
          <p:cNvPr id="13" name="Slide Number Placeholder 5"/>
          <p:cNvSpPr>
            <a:spLocks noGrp="1"/>
          </p:cNvSpPr>
          <p:nvPr>
            <p:ph type="sldNum" sz="quarter" idx="4"/>
          </p:nvPr>
        </p:nvSpPr>
        <p:spPr>
          <a:xfrm>
            <a:off x="2329916" y="6476215"/>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336"/>
            <a:r>
              <a:rPr lang="en-US">
                <a:solidFill>
                  <a:srgbClr val="3DCD58"/>
                </a:solidFill>
              </a:rPr>
              <a:t>Page </a:t>
            </a:r>
            <a:fld id="{5A9C12DC-491F-9444-86A2-13AC5C62A2FC}" type="slidenum">
              <a:rPr lang="en-US" smtClean="0">
                <a:solidFill>
                  <a:srgbClr val="3DCD58"/>
                </a:solidFill>
              </a:rPr>
              <a:pPr defTabSz="609336"/>
              <a:t>‹#›</a:t>
            </a:fld>
            <a:endParaRPr lang="en-US" dirty="0">
              <a:solidFill>
                <a:srgbClr val="3DCD58"/>
              </a:solidFill>
            </a:endParaRPr>
          </a:p>
        </p:txBody>
      </p:sp>
      <p:sp>
        <p:nvSpPr>
          <p:cNvPr id="14" name="Footer Placeholder 4"/>
          <p:cNvSpPr>
            <a:spLocks noGrp="1"/>
          </p:cNvSpPr>
          <p:nvPr>
            <p:ph type="ftr" sz="quarter" idx="3"/>
          </p:nvPr>
        </p:nvSpPr>
        <p:spPr>
          <a:xfrm>
            <a:off x="336469" y="6476214"/>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336"/>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11142173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12188825" cy="6858000"/>
          </a:xfrm>
          <a:prstGeom prst="rect">
            <a:avLst/>
          </a:prstGeom>
          <a:solidFill>
            <a:srgbClr val="8E8F93">
              <a:alpha val="20000"/>
            </a:srgbClr>
          </a:solidFill>
        </p:spPr>
        <p:txBody>
          <a:bodyPr lIns="91424" tIns="45712" rIns="91424" bIns="45712"/>
          <a:lstStyle>
            <a:lvl1pPr marL="0" indent="0">
              <a:buNone/>
              <a:defRPr sz="1466">
                <a:solidFill>
                  <a:schemeClr val="accent2">
                    <a:lumMod val="60000"/>
                    <a:lumOff val="40000"/>
                  </a:schemeClr>
                </a:solidFill>
              </a:defRPr>
            </a:lvl1pPr>
          </a:lstStyle>
          <a:p>
            <a:r>
              <a:rPr lang="en-US" dirty="0"/>
              <a:t>Drag Your Image Here</a:t>
            </a:r>
          </a:p>
        </p:txBody>
      </p:sp>
      <p:sp>
        <p:nvSpPr>
          <p:cNvPr id="4" name="Title 1"/>
          <p:cNvSpPr>
            <a:spLocks noGrp="1"/>
          </p:cNvSpPr>
          <p:nvPr>
            <p:ph type="ctrTitle" hasCustomPrompt="1"/>
          </p:nvPr>
        </p:nvSpPr>
        <p:spPr>
          <a:xfrm>
            <a:off x="336469" y="2284745"/>
            <a:ext cx="11434116" cy="1641475"/>
          </a:xfrm>
          <a:prstGeom prst="rect">
            <a:avLst/>
          </a:prstGeom>
        </p:spPr>
        <p:txBody>
          <a:bodyPr lIns="0" tIns="0" rIns="0" bIns="0" anchor="t">
            <a:spAutoFit/>
          </a:bodyPr>
          <a:lstStyle>
            <a:lvl1pPr marL="0" indent="0" algn="ctr">
              <a:buFont typeface="Arial"/>
              <a:buNone/>
              <a:defRPr sz="5332">
                <a:solidFill>
                  <a:schemeClr val="bg1"/>
                </a:solidFill>
              </a:defRPr>
            </a:lvl1pPr>
          </a:lstStyle>
          <a:p>
            <a:r>
              <a:rPr lang="en-US" dirty="0"/>
              <a:t>CLICK TO EDIT QUOTE OR CALLOUT</a:t>
            </a:r>
          </a:p>
        </p:txBody>
      </p:sp>
      <p:sp>
        <p:nvSpPr>
          <p:cNvPr id="5" name="Subtitle 2"/>
          <p:cNvSpPr>
            <a:spLocks noGrp="1"/>
          </p:cNvSpPr>
          <p:nvPr>
            <p:ph type="subTitle" idx="1" hasCustomPrompt="1"/>
          </p:nvPr>
        </p:nvSpPr>
        <p:spPr>
          <a:xfrm>
            <a:off x="336464" y="3940605"/>
            <a:ext cx="11434115" cy="415499"/>
          </a:xfrm>
          <a:prstGeom prst="rect">
            <a:avLst/>
          </a:prstGeom>
        </p:spPr>
        <p:txBody>
          <a:bodyPr lIns="0" tIns="0" rIns="0" bIns="0">
            <a:spAutoFit/>
          </a:bodyPr>
          <a:lstStyle>
            <a:lvl1pPr marL="0" indent="0" algn="ctr">
              <a:buNone/>
              <a:defRPr sz="2666">
                <a:solidFill>
                  <a:schemeClr val="accent2"/>
                </a:solidFill>
              </a:defRPr>
            </a:lvl1pPr>
            <a:lvl2pPr marL="609336" indent="0" algn="ctr">
              <a:buNone/>
              <a:defRPr>
                <a:solidFill>
                  <a:schemeClr val="tx1">
                    <a:tint val="75000"/>
                  </a:schemeClr>
                </a:solidFill>
              </a:defRPr>
            </a:lvl2pPr>
            <a:lvl3pPr marL="1218674" indent="0" algn="ctr">
              <a:buNone/>
              <a:defRPr>
                <a:solidFill>
                  <a:schemeClr val="tx1">
                    <a:tint val="75000"/>
                  </a:schemeClr>
                </a:solidFill>
              </a:defRPr>
            </a:lvl3pPr>
            <a:lvl4pPr marL="1828010" indent="0" algn="ctr">
              <a:buNone/>
              <a:defRPr>
                <a:solidFill>
                  <a:schemeClr val="tx1">
                    <a:tint val="75000"/>
                  </a:schemeClr>
                </a:solidFill>
              </a:defRPr>
            </a:lvl4pPr>
            <a:lvl5pPr marL="2437347" indent="0" algn="ctr">
              <a:buNone/>
              <a:defRPr>
                <a:solidFill>
                  <a:schemeClr val="tx1">
                    <a:tint val="75000"/>
                  </a:schemeClr>
                </a:solidFill>
              </a:defRPr>
            </a:lvl5pPr>
            <a:lvl6pPr marL="3046681" indent="0" algn="ctr">
              <a:buNone/>
              <a:defRPr>
                <a:solidFill>
                  <a:schemeClr val="tx1">
                    <a:tint val="75000"/>
                  </a:schemeClr>
                </a:solidFill>
              </a:defRPr>
            </a:lvl6pPr>
            <a:lvl7pPr marL="3656016" indent="0" algn="ctr">
              <a:buNone/>
              <a:defRPr>
                <a:solidFill>
                  <a:schemeClr val="tx1">
                    <a:tint val="75000"/>
                  </a:schemeClr>
                </a:solidFill>
              </a:defRPr>
            </a:lvl7pPr>
            <a:lvl8pPr marL="4265351" indent="0" algn="ctr">
              <a:buNone/>
              <a:defRPr>
                <a:solidFill>
                  <a:schemeClr val="tx1">
                    <a:tint val="75000"/>
                  </a:schemeClr>
                </a:solidFill>
              </a:defRPr>
            </a:lvl8pPr>
            <a:lvl9pPr marL="4874688" indent="0" algn="ctr">
              <a:buNone/>
              <a:defRPr>
                <a:solidFill>
                  <a:schemeClr val="tx1">
                    <a:tint val="75000"/>
                  </a:schemeClr>
                </a:solidFill>
              </a:defRPr>
            </a:lvl9pPr>
          </a:lstStyle>
          <a:p>
            <a:r>
              <a:rPr lang="en-US" dirty="0"/>
              <a:t>Click To Edit Optional Subtitle</a:t>
            </a:r>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4" y="6012788"/>
            <a:ext cx="2562395" cy="706672"/>
          </a:xfrm>
          <a:prstGeom prst="rect">
            <a:avLst/>
          </a:prstGeom>
        </p:spPr>
      </p:pic>
      <p:sp>
        <p:nvSpPr>
          <p:cNvPr id="10" name="Slide Number Placeholder 5"/>
          <p:cNvSpPr>
            <a:spLocks noGrp="1"/>
          </p:cNvSpPr>
          <p:nvPr>
            <p:ph type="sldNum" sz="quarter" idx="4"/>
          </p:nvPr>
        </p:nvSpPr>
        <p:spPr>
          <a:xfrm>
            <a:off x="2329916" y="6476215"/>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36"/>
            <a:r>
              <a:rPr lang="en-US"/>
              <a:t>Page </a:t>
            </a:r>
            <a:fld id="{5A9C12DC-491F-9444-86A2-13AC5C62A2FC}" type="slidenum">
              <a:rPr lang="en-US" smtClean="0"/>
              <a:pPr defTabSz="609336"/>
              <a:t>‹#›</a:t>
            </a:fld>
            <a:endParaRPr lang="en-US" dirty="0"/>
          </a:p>
        </p:txBody>
      </p:sp>
      <p:sp>
        <p:nvSpPr>
          <p:cNvPr id="11" name="Footer Placeholder 4"/>
          <p:cNvSpPr>
            <a:spLocks noGrp="1"/>
          </p:cNvSpPr>
          <p:nvPr>
            <p:ph type="ftr" sz="quarter" idx="3"/>
          </p:nvPr>
        </p:nvSpPr>
        <p:spPr>
          <a:xfrm>
            <a:off x="336469" y="6476214"/>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36"/>
            <a:r>
              <a:rPr lang="en-US"/>
              <a:t>Confidential Property of Schneider Electric |</a:t>
            </a:r>
            <a:endParaRPr lang="en-US" dirty="0"/>
          </a:p>
        </p:txBody>
      </p:sp>
    </p:spTree>
    <p:extLst>
      <p:ext uri="{BB962C8B-B14F-4D97-AF65-F5344CB8AC3E}">
        <p14:creationId xmlns:p14="http://schemas.microsoft.com/office/powerpoint/2010/main" val="421315557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12188825" cy="6858000"/>
          </a:xfrm>
          <a:prstGeom prst="rect">
            <a:avLst/>
          </a:prstGeom>
          <a:solidFill>
            <a:srgbClr val="8E8F93">
              <a:alpha val="20000"/>
            </a:srgbClr>
          </a:solidFill>
        </p:spPr>
        <p:txBody>
          <a:bodyPr lIns="91424" tIns="45712" rIns="91424" bIns="45712"/>
          <a:lstStyle>
            <a:lvl1pPr marL="0" indent="0">
              <a:buNone/>
              <a:defRPr sz="1466">
                <a:solidFill>
                  <a:schemeClr val="accent2">
                    <a:lumMod val="60000"/>
                    <a:lumOff val="40000"/>
                  </a:schemeClr>
                </a:solidFill>
              </a:defRPr>
            </a:lvl1pPr>
          </a:lstStyle>
          <a:p>
            <a:r>
              <a:rPr lang="en-US" dirty="0"/>
              <a:t>Drag Your Image Here</a:t>
            </a:r>
          </a:p>
        </p:txBody>
      </p:sp>
      <p:sp>
        <p:nvSpPr>
          <p:cNvPr id="4" name="Title 1"/>
          <p:cNvSpPr>
            <a:spLocks noGrp="1"/>
          </p:cNvSpPr>
          <p:nvPr>
            <p:ph type="ctrTitle" hasCustomPrompt="1"/>
          </p:nvPr>
        </p:nvSpPr>
        <p:spPr>
          <a:xfrm>
            <a:off x="336469" y="2284745"/>
            <a:ext cx="11434116" cy="1641475"/>
          </a:xfrm>
          <a:prstGeom prst="rect">
            <a:avLst/>
          </a:prstGeom>
        </p:spPr>
        <p:txBody>
          <a:bodyPr lIns="0" tIns="0" rIns="0" bIns="0" anchor="t">
            <a:spAutoFit/>
          </a:bodyPr>
          <a:lstStyle>
            <a:lvl1pPr marL="0" indent="0" algn="ctr">
              <a:buFont typeface="Arial"/>
              <a:buNone/>
              <a:defRPr sz="5332">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336464" y="3940605"/>
            <a:ext cx="11434115" cy="415499"/>
          </a:xfrm>
          <a:prstGeom prst="rect">
            <a:avLst/>
          </a:prstGeom>
        </p:spPr>
        <p:txBody>
          <a:bodyPr lIns="0" tIns="0" rIns="0" bIns="0">
            <a:spAutoFit/>
          </a:bodyPr>
          <a:lstStyle>
            <a:lvl1pPr marL="0" indent="0" algn="ctr">
              <a:buNone/>
              <a:defRPr sz="2666">
                <a:solidFill>
                  <a:schemeClr val="accent2"/>
                </a:solidFill>
              </a:defRPr>
            </a:lvl1pPr>
            <a:lvl2pPr marL="609336" indent="0" algn="ctr">
              <a:buNone/>
              <a:defRPr>
                <a:solidFill>
                  <a:schemeClr val="tx1">
                    <a:tint val="75000"/>
                  </a:schemeClr>
                </a:solidFill>
              </a:defRPr>
            </a:lvl2pPr>
            <a:lvl3pPr marL="1218674" indent="0" algn="ctr">
              <a:buNone/>
              <a:defRPr>
                <a:solidFill>
                  <a:schemeClr val="tx1">
                    <a:tint val="75000"/>
                  </a:schemeClr>
                </a:solidFill>
              </a:defRPr>
            </a:lvl3pPr>
            <a:lvl4pPr marL="1828010" indent="0" algn="ctr">
              <a:buNone/>
              <a:defRPr>
                <a:solidFill>
                  <a:schemeClr val="tx1">
                    <a:tint val="75000"/>
                  </a:schemeClr>
                </a:solidFill>
              </a:defRPr>
            </a:lvl4pPr>
            <a:lvl5pPr marL="2437347" indent="0" algn="ctr">
              <a:buNone/>
              <a:defRPr>
                <a:solidFill>
                  <a:schemeClr val="tx1">
                    <a:tint val="75000"/>
                  </a:schemeClr>
                </a:solidFill>
              </a:defRPr>
            </a:lvl5pPr>
            <a:lvl6pPr marL="3046681" indent="0" algn="ctr">
              <a:buNone/>
              <a:defRPr>
                <a:solidFill>
                  <a:schemeClr val="tx1">
                    <a:tint val="75000"/>
                  </a:schemeClr>
                </a:solidFill>
              </a:defRPr>
            </a:lvl6pPr>
            <a:lvl7pPr marL="3656016" indent="0" algn="ctr">
              <a:buNone/>
              <a:defRPr>
                <a:solidFill>
                  <a:schemeClr val="tx1">
                    <a:tint val="75000"/>
                  </a:schemeClr>
                </a:solidFill>
              </a:defRPr>
            </a:lvl7pPr>
            <a:lvl8pPr marL="4265351" indent="0" algn="ctr">
              <a:buNone/>
              <a:defRPr>
                <a:solidFill>
                  <a:schemeClr val="tx1">
                    <a:tint val="75000"/>
                  </a:schemeClr>
                </a:solidFill>
              </a:defRPr>
            </a:lvl8pPr>
            <a:lvl9pPr marL="4874688" indent="0" algn="ctr">
              <a:buNone/>
              <a:defRPr>
                <a:solidFill>
                  <a:schemeClr val="tx1">
                    <a:tint val="75000"/>
                  </a:schemeClr>
                </a:solidFill>
              </a:defRPr>
            </a:lvl9pPr>
          </a:lstStyle>
          <a:p>
            <a:r>
              <a:rPr lang="en-US" dirty="0"/>
              <a:t>Click To Edit Optional Subtitle</a:t>
            </a:r>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4" y="6012788"/>
            <a:ext cx="2562395" cy="706672"/>
          </a:xfrm>
          <a:prstGeom prst="rect">
            <a:avLst/>
          </a:prstGeom>
        </p:spPr>
      </p:pic>
      <p:sp>
        <p:nvSpPr>
          <p:cNvPr id="10" name="Slide Number Placeholder 5"/>
          <p:cNvSpPr>
            <a:spLocks noGrp="1"/>
          </p:cNvSpPr>
          <p:nvPr>
            <p:ph type="sldNum" sz="quarter" idx="4"/>
          </p:nvPr>
        </p:nvSpPr>
        <p:spPr>
          <a:xfrm>
            <a:off x="2329916" y="6476215"/>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336"/>
            <a:r>
              <a:rPr lang="en-US">
                <a:solidFill>
                  <a:srgbClr val="3DCD58"/>
                </a:solidFill>
              </a:rPr>
              <a:t>Page </a:t>
            </a:r>
            <a:fld id="{5A9C12DC-491F-9444-86A2-13AC5C62A2FC}" type="slidenum">
              <a:rPr lang="en-US" smtClean="0">
                <a:solidFill>
                  <a:srgbClr val="3DCD58"/>
                </a:solidFill>
              </a:rPr>
              <a:pPr defTabSz="609336"/>
              <a:t>‹#›</a:t>
            </a:fld>
            <a:endParaRPr lang="en-US" dirty="0">
              <a:solidFill>
                <a:srgbClr val="3DCD58"/>
              </a:solidFill>
            </a:endParaRPr>
          </a:p>
        </p:txBody>
      </p:sp>
      <p:sp>
        <p:nvSpPr>
          <p:cNvPr id="14" name="Footer Placeholder 4"/>
          <p:cNvSpPr>
            <a:spLocks noGrp="1"/>
          </p:cNvSpPr>
          <p:nvPr>
            <p:ph type="ftr" sz="quarter" idx="3"/>
          </p:nvPr>
        </p:nvSpPr>
        <p:spPr>
          <a:xfrm>
            <a:off x="336469" y="6476214"/>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336"/>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179360697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469" y="2284745"/>
            <a:ext cx="11434116" cy="1641475"/>
          </a:xfrm>
          <a:prstGeom prst="rect">
            <a:avLst/>
          </a:prstGeom>
        </p:spPr>
        <p:txBody>
          <a:bodyPr lIns="0" tIns="0" rIns="0" bIns="0" anchor="t">
            <a:spAutoFit/>
          </a:bodyPr>
          <a:lstStyle>
            <a:lvl1pPr marL="0" indent="0" algn="ctr">
              <a:buFont typeface="Arial"/>
              <a:buNone/>
              <a:defRPr sz="5332">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336464" y="3940605"/>
            <a:ext cx="11434115" cy="415499"/>
          </a:xfrm>
          <a:prstGeom prst="rect">
            <a:avLst/>
          </a:prstGeom>
        </p:spPr>
        <p:txBody>
          <a:bodyPr lIns="0" tIns="0" rIns="0" bIns="0">
            <a:spAutoFit/>
          </a:bodyPr>
          <a:lstStyle>
            <a:lvl1pPr marL="0" indent="0" algn="ctr">
              <a:buNone/>
              <a:defRPr sz="2666">
                <a:solidFill>
                  <a:schemeClr val="accent2"/>
                </a:solidFill>
              </a:defRPr>
            </a:lvl1pPr>
            <a:lvl2pPr marL="609336" indent="0" algn="ctr">
              <a:buNone/>
              <a:defRPr>
                <a:solidFill>
                  <a:schemeClr val="tx1">
                    <a:tint val="75000"/>
                  </a:schemeClr>
                </a:solidFill>
              </a:defRPr>
            </a:lvl2pPr>
            <a:lvl3pPr marL="1218674" indent="0" algn="ctr">
              <a:buNone/>
              <a:defRPr>
                <a:solidFill>
                  <a:schemeClr val="tx1">
                    <a:tint val="75000"/>
                  </a:schemeClr>
                </a:solidFill>
              </a:defRPr>
            </a:lvl3pPr>
            <a:lvl4pPr marL="1828010" indent="0" algn="ctr">
              <a:buNone/>
              <a:defRPr>
                <a:solidFill>
                  <a:schemeClr val="tx1">
                    <a:tint val="75000"/>
                  </a:schemeClr>
                </a:solidFill>
              </a:defRPr>
            </a:lvl4pPr>
            <a:lvl5pPr marL="2437347" indent="0" algn="ctr">
              <a:buNone/>
              <a:defRPr>
                <a:solidFill>
                  <a:schemeClr val="tx1">
                    <a:tint val="75000"/>
                  </a:schemeClr>
                </a:solidFill>
              </a:defRPr>
            </a:lvl5pPr>
            <a:lvl6pPr marL="3046681" indent="0" algn="ctr">
              <a:buNone/>
              <a:defRPr>
                <a:solidFill>
                  <a:schemeClr val="tx1">
                    <a:tint val="75000"/>
                  </a:schemeClr>
                </a:solidFill>
              </a:defRPr>
            </a:lvl6pPr>
            <a:lvl7pPr marL="3656016" indent="0" algn="ctr">
              <a:buNone/>
              <a:defRPr>
                <a:solidFill>
                  <a:schemeClr val="tx1">
                    <a:tint val="75000"/>
                  </a:schemeClr>
                </a:solidFill>
              </a:defRPr>
            </a:lvl7pPr>
            <a:lvl8pPr marL="4265351" indent="0" algn="ctr">
              <a:buNone/>
              <a:defRPr>
                <a:solidFill>
                  <a:schemeClr val="tx1">
                    <a:tint val="75000"/>
                  </a:schemeClr>
                </a:solidFill>
              </a:defRPr>
            </a:lvl8pPr>
            <a:lvl9pPr marL="4874688"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4" y="6012788"/>
            <a:ext cx="2562395" cy="706672"/>
          </a:xfrm>
          <a:prstGeom prst="rect">
            <a:avLst/>
          </a:prstGeom>
        </p:spPr>
      </p:pic>
      <p:sp>
        <p:nvSpPr>
          <p:cNvPr id="9" name="Slide Number Placeholder 5"/>
          <p:cNvSpPr>
            <a:spLocks noGrp="1"/>
          </p:cNvSpPr>
          <p:nvPr>
            <p:ph type="sldNum" sz="quarter" idx="4"/>
          </p:nvPr>
        </p:nvSpPr>
        <p:spPr>
          <a:xfrm>
            <a:off x="2329916" y="6476215"/>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336"/>
            <a:r>
              <a:rPr lang="en-US">
                <a:solidFill>
                  <a:srgbClr val="3DCD58"/>
                </a:solidFill>
              </a:rPr>
              <a:t>Page </a:t>
            </a:r>
            <a:fld id="{5A9C12DC-491F-9444-86A2-13AC5C62A2FC}" type="slidenum">
              <a:rPr lang="en-US" smtClean="0">
                <a:solidFill>
                  <a:srgbClr val="3DCD58"/>
                </a:solidFill>
              </a:rPr>
              <a:pPr defTabSz="609336"/>
              <a:t>‹#›</a:t>
            </a:fld>
            <a:endParaRPr lang="en-US" dirty="0">
              <a:solidFill>
                <a:srgbClr val="3DCD58"/>
              </a:solidFill>
            </a:endParaRPr>
          </a:p>
        </p:txBody>
      </p:sp>
      <p:sp>
        <p:nvSpPr>
          <p:cNvPr id="11" name="Footer Placeholder 4"/>
          <p:cNvSpPr>
            <a:spLocks noGrp="1"/>
          </p:cNvSpPr>
          <p:nvPr>
            <p:ph type="ftr" sz="quarter" idx="3"/>
          </p:nvPr>
        </p:nvSpPr>
        <p:spPr>
          <a:xfrm>
            <a:off x="336469" y="6476214"/>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336"/>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422188147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36469" y="2284745"/>
            <a:ext cx="11434116" cy="1641475"/>
          </a:xfrm>
          <a:prstGeom prst="rect">
            <a:avLst/>
          </a:prstGeom>
        </p:spPr>
        <p:txBody>
          <a:bodyPr lIns="0" tIns="0" rIns="0" bIns="0" anchor="t">
            <a:spAutoFit/>
          </a:bodyPr>
          <a:lstStyle>
            <a:lvl1pPr marL="0" indent="0" algn="ctr">
              <a:buFont typeface="Arial"/>
              <a:buNone/>
              <a:defRPr sz="5332">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336464" y="3940605"/>
            <a:ext cx="11434115" cy="415499"/>
          </a:xfrm>
          <a:prstGeom prst="rect">
            <a:avLst/>
          </a:prstGeom>
        </p:spPr>
        <p:txBody>
          <a:bodyPr lIns="0" tIns="0" rIns="0" bIns="0">
            <a:spAutoFit/>
          </a:bodyPr>
          <a:lstStyle>
            <a:lvl1pPr marL="0" indent="0" algn="ctr">
              <a:buNone/>
              <a:defRPr sz="2666">
                <a:solidFill>
                  <a:schemeClr val="bg1"/>
                </a:solidFill>
              </a:defRPr>
            </a:lvl1pPr>
            <a:lvl2pPr marL="609336" indent="0" algn="ctr">
              <a:buNone/>
              <a:defRPr>
                <a:solidFill>
                  <a:schemeClr val="tx1">
                    <a:tint val="75000"/>
                  </a:schemeClr>
                </a:solidFill>
              </a:defRPr>
            </a:lvl2pPr>
            <a:lvl3pPr marL="1218674" indent="0" algn="ctr">
              <a:buNone/>
              <a:defRPr>
                <a:solidFill>
                  <a:schemeClr val="tx1">
                    <a:tint val="75000"/>
                  </a:schemeClr>
                </a:solidFill>
              </a:defRPr>
            </a:lvl3pPr>
            <a:lvl4pPr marL="1828010" indent="0" algn="ctr">
              <a:buNone/>
              <a:defRPr>
                <a:solidFill>
                  <a:schemeClr val="tx1">
                    <a:tint val="75000"/>
                  </a:schemeClr>
                </a:solidFill>
              </a:defRPr>
            </a:lvl4pPr>
            <a:lvl5pPr marL="2437347" indent="0" algn="ctr">
              <a:buNone/>
              <a:defRPr>
                <a:solidFill>
                  <a:schemeClr val="tx1">
                    <a:tint val="75000"/>
                  </a:schemeClr>
                </a:solidFill>
              </a:defRPr>
            </a:lvl5pPr>
            <a:lvl6pPr marL="3046681" indent="0" algn="ctr">
              <a:buNone/>
              <a:defRPr>
                <a:solidFill>
                  <a:schemeClr val="tx1">
                    <a:tint val="75000"/>
                  </a:schemeClr>
                </a:solidFill>
              </a:defRPr>
            </a:lvl6pPr>
            <a:lvl7pPr marL="3656016" indent="0" algn="ctr">
              <a:buNone/>
              <a:defRPr>
                <a:solidFill>
                  <a:schemeClr val="tx1">
                    <a:tint val="75000"/>
                  </a:schemeClr>
                </a:solidFill>
              </a:defRPr>
            </a:lvl7pPr>
            <a:lvl8pPr marL="4265351" indent="0" algn="ctr">
              <a:buNone/>
              <a:defRPr>
                <a:solidFill>
                  <a:schemeClr val="tx1">
                    <a:tint val="75000"/>
                  </a:schemeClr>
                </a:solidFill>
              </a:defRPr>
            </a:lvl8pPr>
            <a:lvl9pPr marL="4874688" indent="0" algn="ctr">
              <a:buNone/>
              <a:defRPr>
                <a:solidFill>
                  <a:schemeClr val="tx1">
                    <a:tint val="75000"/>
                  </a:schemeClr>
                </a:solidFill>
              </a:defRPr>
            </a:lvl9pPr>
          </a:lstStyle>
          <a:p>
            <a:r>
              <a:rPr lang="en-US" dirty="0"/>
              <a:t>Click To Edit Optional Subtitle</a:t>
            </a:r>
          </a:p>
        </p:txBody>
      </p:sp>
      <p:pic>
        <p:nvPicPr>
          <p:cNvPr id="8" name="Picture 7" descr="schneider_LIO_White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72137" y="6028184"/>
            <a:ext cx="2542011" cy="675885"/>
          </a:xfrm>
          <a:prstGeom prst="rect">
            <a:avLst/>
          </a:prstGeom>
        </p:spPr>
      </p:pic>
      <p:sp>
        <p:nvSpPr>
          <p:cNvPr id="14" name="Slide Number Placeholder 5"/>
          <p:cNvSpPr>
            <a:spLocks noGrp="1"/>
          </p:cNvSpPr>
          <p:nvPr>
            <p:ph type="sldNum" sz="quarter" idx="4"/>
          </p:nvPr>
        </p:nvSpPr>
        <p:spPr>
          <a:xfrm>
            <a:off x="2329916" y="6476215"/>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36"/>
            <a:r>
              <a:rPr lang="en-US"/>
              <a:t>Page </a:t>
            </a:r>
            <a:fld id="{5A9C12DC-491F-9444-86A2-13AC5C62A2FC}" type="slidenum">
              <a:rPr lang="en-US" smtClean="0"/>
              <a:pPr defTabSz="609336"/>
              <a:t>‹#›</a:t>
            </a:fld>
            <a:endParaRPr lang="en-US" dirty="0"/>
          </a:p>
        </p:txBody>
      </p:sp>
      <p:sp>
        <p:nvSpPr>
          <p:cNvPr id="15" name="Footer Placeholder 4"/>
          <p:cNvSpPr>
            <a:spLocks noGrp="1"/>
          </p:cNvSpPr>
          <p:nvPr>
            <p:ph type="ftr" sz="quarter" idx="3"/>
          </p:nvPr>
        </p:nvSpPr>
        <p:spPr>
          <a:xfrm>
            <a:off x="336469" y="6476214"/>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36"/>
            <a:r>
              <a:rPr lang="en-US"/>
              <a:t>Confidential Property of Schneider Electric |</a:t>
            </a:r>
            <a:endParaRPr lang="en-US" dirty="0"/>
          </a:p>
        </p:txBody>
      </p:sp>
    </p:spTree>
    <p:extLst>
      <p:ext uri="{BB962C8B-B14F-4D97-AF65-F5344CB8AC3E}">
        <p14:creationId xmlns:p14="http://schemas.microsoft.com/office/powerpoint/2010/main" val="351713355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eave Image 1">
    <p:spTree>
      <p:nvGrpSpPr>
        <p:cNvPr id="1" name=""/>
        <p:cNvGrpSpPr/>
        <p:nvPr/>
      </p:nvGrpSpPr>
      <p:grpSpPr>
        <a:xfrm>
          <a:off x="0" y="0"/>
          <a:ext cx="0" cy="0"/>
          <a:chOff x="0" y="0"/>
          <a:chExt cx="0" cy="0"/>
        </a:xfrm>
      </p:grpSpPr>
      <p:pic>
        <p:nvPicPr>
          <p:cNvPr id="2" name="Picture 1" descr="Weave_175139600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8825" cy="6858000"/>
          </a:xfrm>
          <a:prstGeom prst="rect">
            <a:avLst/>
          </a:prstGeom>
        </p:spPr>
      </p:pic>
      <p:sp>
        <p:nvSpPr>
          <p:cNvPr id="14" name="Rectangle 13"/>
          <p:cNvSpPr/>
          <p:nvPr userDrawn="1"/>
        </p:nvSpPr>
        <p:spPr>
          <a:xfrm>
            <a:off x="0" y="4826964"/>
            <a:ext cx="12188825"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67" tIns="60933" rIns="121867" bIns="60933" rtlCol="0" anchor="ctr"/>
          <a:lstStyle/>
          <a:p>
            <a:pPr marL="0" marR="0" lvl="0" indent="0" algn="ctr" defTabSz="609336"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Picture 12"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72137" y="6028184"/>
            <a:ext cx="2542011" cy="675885"/>
          </a:xfrm>
          <a:prstGeom prst="rect">
            <a:avLst/>
          </a:prstGeom>
        </p:spPr>
      </p:pic>
      <p:sp>
        <p:nvSpPr>
          <p:cNvPr id="8" name="Slide Number Placeholder 5"/>
          <p:cNvSpPr>
            <a:spLocks noGrp="1"/>
          </p:cNvSpPr>
          <p:nvPr>
            <p:ph type="sldNum" sz="quarter" idx="4"/>
          </p:nvPr>
        </p:nvSpPr>
        <p:spPr>
          <a:xfrm>
            <a:off x="2329916" y="6476215"/>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36"/>
            <a:r>
              <a:rPr lang="en-US"/>
              <a:t>Page </a:t>
            </a:r>
            <a:fld id="{5A9C12DC-491F-9444-86A2-13AC5C62A2FC}" type="slidenum">
              <a:rPr lang="en-US" smtClean="0"/>
              <a:pPr defTabSz="609336"/>
              <a:t>‹#›</a:t>
            </a:fld>
            <a:endParaRPr lang="en-US" dirty="0"/>
          </a:p>
        </p:txBody>
      </p:sp>
      <p:sp>
        <p:nvSpPr>
          <p:cNvPr id="9" name="Footer Placeholder 4"/>
          <p:cNvSpPr>
            <a:spLocks noGrp="1"/>
          </p:cNvSpPr>
          <p:nvPr>
            <p:ph type="ftr" sz="quarter" idx="3"/>
          </p:nvPr>
        </p:nvSpPr>
        <p:spPr>
          <a:xfrm>
            <a:off x="336469" y="6476214"/>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36"/>
            <a:r>
              <a:rPr lang="en-US"/>
              <a:t>Confidential Property of Schneider Electric |</a:t>
            </a:r>
            <a:endParaRPr lang="en-US" dirty="0"/>
          </a:p>
        </p:txBody>
      </p:sp>
    </p:spTree>
    <p:extLst>
      <p:ext uri="{BB962C8B-B14F-4D97-AF65-F5344CB8AC3E}">
        <p14:creationId xmlns:p14="http://schemas.microsoft.com/office/powerpoint/2010/main" val="175217873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eave Image 2">
    <p:spTree>
      <p:nvGrpSpPr>
        <p:cNvPr id="1" name=""/>
        <p:cNvGrpSpPr/>
        <p:nvPr/>
      </p:nvGrpSpPr>
      <p:grpSpPr>
        <a:xfrm>
          <a:off x="0" y="0"/>
          <a:ext cx="0" cy="0"/>
          <a:chOff x="0" y="0"/>
          <a:chExt cx="0" cy="0"/>
        </a:xfrm>
      </p:grpSpPr>
      <p:pic>
        <p:nvPicPr>
          <p:cNvPr id="10" name="Picture 9" descr="Weave_463028807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8825" cy="6858000"/>
          </a:xfrm>
          <a:prstGeom prst="rect">
            <a:avLst/>
          </a:prstGeom>
        </p:spPr>
      </p:pic>
      <p:sp>
        <p:nvSpPr>
          <p:cNvPr id="4" name="Rectangle 3"/>
          <p:cNvSpPr/>
          <p:nvPr userDrawn="1"/>
        </p:nvSpPr>
        <p:spPr>
          <a:xfrm>
            <a:off x="0" y="4826964"/>
            <a:ext cx="12188825"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67" tIns="60933" rIns="121867" bIns="60933" rtlCol="0" anchor="ctr"/>
          <a:lstStyle/>
          <a:p>
            <a:pPr marL="0" marR="0" lvl="0" indent="0" algn="ctr" defTabSz="609336"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72137" y="6028184"/>
            <a:ext cx="2542011" cy="675885"/>
          </a:xfrm>
          <a:prstGeom prst="rect">
            <a:avLst/>
          </a:prstGeom>
        </p:spPr>
      </p:pic>
      <p:sp>
        <p:nvSpPr>
          <p:cNvPr id="8" name="Slide Number Placeholder 5"/>
          <p:cNvSpPr>
            <a:spLocks noGrp="1"/>
          </p:cNvSpPr>
          <p:nvPr>
            <p:ph type="sldNum" sz="quarter" idx="4"/>
          </p:nvPr>
        </p:nvSpPr>
        <p:spPr>
          <a:xfrm>
            <a:off x="2329916" y="6476215"/>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36"/>
            <a:r>
              <a:rPr lang="en-US"/>
              <a:t>Page </a:t>
            </a:r>
            <a:fld id="{5A9C12DC-491F-9444-86A2-13AC5C62A2FC}" type="slidenum">
              <a:rPr lang="en-US" smtClean="0"/>
              <a:pPr defTabSz="609336"/>
              <a:t>‹#›</a:t>
            </a:fld>
            <a:endParaRPr lang="en-US" dirty="0"/>
          </a:p>
        </p:txBody>
      </p:sp>
      <p:sp>
        <p:nvSpPr>
          <p:cNvPr id="11" name="Footer Placeholder 4"/>
          <p:cNvSpPr>
            <a:spLocks noGrp="1"/>
          </p:cNvSpPr>
          <p:nvPr>
            <p:ph type="ftr" sz="quarter" idx="3"/>
          </p:nvPr>
        </p:nvSpPr>
        <p:spPr>
          <a:xfrm>
            <a:off x="336469" y="6476214"/>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36"/>
            <a:r>
              <a:rPr lang="en-US"/>
              <a:t>Confidential Property of Schneider Electric |</a:t>
            </a:r>
            <a:endParaRPr lang="en-US" dirty="0"/>
          </a:p>
        </p:txBody>
      </p:sp>
    </p:spTree>
    <p:extLst>
      <p:ext uri="{BB962C8B-B14F-4D97-AF65-F5344CB8AC3E}">
        <p14:creationId xmlns:p14="http://schemas.microsoft.com/office/powerpoint/2010/main" val="276702002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Weave Image 3">
    <p:spTree>
      <p:nvGrpSpPr>
        <p:cNvPr id="1" name=""/>
        <p:cNvGrpSpPr/>
        <p:nvPr/>
      </p:nvGrpSpPr>
      <p:grpSpPr>
        <a:xfrm>
          <a:off x="0" y="0"/>
          <a:ext cx="0" cy="0"/>
          <a:chOff x="0" y="0"/>
          <a:chExt cx="0" cy="0"/>
        </a:xfrm>
      </p:grpSpPr>
      <p:sp>
        <p:nvSpPr>
          <p:cNvPr id="4" name="Rectangle 3"/>
          <p:cNvSpPr/>
          <p:nvPr userDrawn="1"/>
        </p:nvSpPr>
        <p:spPr>
          <a:xfrm>
            <a:off x="0" y="4826964"/>
            <a:ext cx="12188825"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67" tIns="60933" rIns="121867" bIns="60933" rtlCol="0" anchor="ctr"/>
          <a:lstStyle/>
          <a:p>
            <a:pPr marL="0" marR="0" lvl="0" indent="0" algn="ctr" defTabSz="609336"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Slide Number Placeholder 5"/>
          <p:cNvSpPr>
            <a:spLocks noGrp="1"/>
          </p:cNvSpPr>
          <p:nvPr>
            <p:ph type="sldNum" sz="quarter" idx="4"/>
          </p:nvPr>
        </p:nvSpPr>
        <p:spPr>
          <a:xfrm>
            <a:off x="2348963" y="6476215"/>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36"/>
            <a:r>
              <a:rPr lang="en-US"/>
              <a:t>Page </a:t>
            </a:r>
            <a:fld id="{5A9C12DC-491F-9444-86A2-13AC5C62A2FC}" type="slidenum">
              <a:rPr lang="en-US" smtClean="0"/>
              <a:pPr defTabSz="609336"/>
              <a:t>‹#›</a:t>
            </a:fld>
            <a:endParaRPr lang="en-US" dirty="0"/>
          </a:p>
        </p:txBody>
      </p:sp>
      <p:sp>
        <p:nvSpPr>
          <p:cNvPr id="6" name="TextBox 5"/>
          <p:cNvSpPr txBox="1"/>
          <p:nvPr userDrawn="1"/>
        </p:nvSpPr>
        <p:spPr>
          <a:xfrm>
            <a:off x="2232000" y="6468339"/>
            <a:ext cx="111318" cy="123111"/>
          </a:xfrm>
          <a:prstGeom prst="rect">
            <a:avLst/>
          </a:prstGeom>
          <a:noFill/>
        </p:spPr>
        <p:txBody>
          <a:bodyPr wrap="square" lIns="0" tIns="0" rIns="0" bIns="0" rtlCol="0">
            <a:spAutoFit/>
          </a:bodyPr>
          <a:lstStyle/>
          <a:p>
            <a:pPr marL="0" marR="0" lvl="0" indent="0" algn="ctr" defTabSz="60933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a:rPr>
              <a:t>|</a:t>
            </a:r>
          </a:p>
        </p:txBody>
      </p:sp>
      <p:sp>
        <p:nvSpPr>
          <p:cNvPr id="7" name="Footer Placeholder 4"/>
          <p:cNvSpPr>
            <a:spLocks noGrp="1"/>
          </p:cNvSpPr>
          <p:nvPr>
            <p:ph type="ftr" sz="quarter" idx="3"/>
          </p:nvPr>
        </p:nvSpPr>
        <p:spPr>
          <a:xfrm>
            <a:off x="336470" y="6476214"/>
            <a:ext cx="2006852"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36"/>
            <a:r>
              <a:rPr lang="en-US"/>
              <a:t>Confidential Property of Schneider Electric |</a:t>
            </a:r>
            <a:endParaRPr lang="en-US" dirty="0"/>
          </a:p>
        </p:txBody>
      </p:sp>
      <p:pic>
        <p:nvPicPr>
          <p:cNvPr id="10" name="Picture 9" descr="Weave_486603441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8825" cy="6858000"/>
          </a:xfrm>
          <a:prstGeom prst="rect">
            <a:avLst/>
          </a:prstGeom>
        </p:spPr>
      </p:pic>
      <p:pic>
        <p:nvPicPr>
          <p:cNvPr id="9" name="Picture 8"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72137" y="6028184"/>
            <a:ext cx="2542011" cy="675885"/>
          </a:xfrm>
          <a:prstGeom prst="rect">
            <a:avLst/>
          </a:prstGeom>
        </p:spPr>
      </p:pic>
      <p:sp>
        <p:nvSpPr>
          <p:cNvPr id="8" name="Slide Number Placeholder 5"/>
          <p:cNvSpPr txBox="1">
            <a:spLocks/>
          </p:cNvSpPr>
          <p:nvPr userDrawn="1"/>
        </p:nvSpPr>
        <p:spPr>
          <a:xfrm>
            <a:off x="2329916" y="6476219"/>
            <a:ext cx="700737" cy="123111"/>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60944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a:rPr>
              <a:t>Page </a:t>
            </a:r>
            <a:fld id="{5A9C12DC-491F-9444-86A2-13AC5C62A2FC}" type="slidenum">
              <a:rPr kumimoji="0" lang="en-US" sz="800" b="0" i="0" u="none" strike="noStrike" kern="1200" cap="none" spc="0" normalizeH="0" baseline="0" noProof="0" smtClean="0">
                <a:ln>
                  <a:noFill/>
                </a:ln>
                <a:solidFill>
                  <a:srgbClr val="FFFFFF"/>
                </a:solidFill>
                <a:effectLst/>
                <a:uLnTx/>
                <a:uFillTx/>
                <a:latin typeface="Arial"/>
                <a:ea typeface="+mn-ea"/>
                <a:cs typeface="Arial"/>
              </a:rPr>
              <a:pPr marL="0" marR="0" lvl="0" indent="0" algn="l" defTabSz="609448"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FFFFFF"/>
              </a:solidFill>
              <a:effectLst/>
              <a:uLnTx/>
              <a:uFillTx/>
              <a:latin typeface="Arial"/>
              <a:ea typeface="+mn-ea"/>
              <a:cs typeface="Arial"/>
            </a:endParaRPr>
          </a:p>
        </p:txBody>
      </p:sp>
      <p:sp>
        <p:nvSpPr>
          <p:cNvPr id="11" name="Footer Placeholder 4"/>
          <p:cNvSpPr txBox="1">
            <a:spLocks/>
          </p:cNvSpPr>
          <p:nvPr userDrawn="1"/>
        </p:nvSpPr>
        <p:spPr>
          <a:xfrm>
            <a:off x="336469" y="6476219"/>
            <a:ext cx="2012498" cy="123111"/>
          </a:xfrm>
          <a:prstGeom prst="rect">
            <a:avLst/>
          </a:prstGeom>
        </p:spPr>
        <p:txBody>
          <a:bodyPr vert="horz" wrap="square"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60944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a:rPr>
              <a:t>Confidential Property of Schneider Electric |</a:t>
            </a:r>
          </a:p>
        </p:txBody>
      </p:sp>
    </p:spTree>
    <p:extLst>
      <p:ext uri="{BB962C8B-B14F-4D97-AF65-F5344CB8AC3E}">
        <p14:creationId xmlns:p14="http://schemas.microsoft.com/office/powerpoint/2010/main" val="74552159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Weave Image 4">
    <p:spTree>
      <p:nvGrpSpPr>
        <p:cNvPr id="1" name=""/>
        <p:cNvGrpSpPr/>
        <p:nvPr/>
      </p:nvGrpSpPr>
      <p:grpSpPr>
        <a:xfrm>
          <a:off x="0" y="0"/>
          <a:ext cx="0" cy="0"/>
          <a:chOff x="0" y="0"/>
          <a:chExt cx="0" cy="0"/>
        </a:xfrm>
      </p:grpSpPr>
      <p:pic>
        <p:nvPicPr>
          <p:cNvPr id="10" name="Picture 9" descr="Weave_522513175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8825" cy="6858000"/>
          </a:xfrm>
          <a:prstGeom prst="rect">
            <a:avLst/>
          </a:prstGeom>
        </p:spPr>
      </p:pic>
      <p:sp>
        <p:nvSpPr>
          <p:cNvPr id="4" name="Rectangle 3"/>
          <p:cNvSpPr/>
          <p:nvPr userDrawn="1"/>
        </p:nvSpPr>
        <p:spPr>
          <a:xfrm>
            <a:off x="0" y="4826964"/>
            <a:ext cx="12188825"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67" tIns="60933" rIns="121867" bIns="60933" rtlCol="0" anchor="ctr"/>
          <a:lstStyle/>
          <a:p>
            <a:pPr marL="0" marR="0" lvl="0" indent="0" algn="ctr" defTabSz="609336"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72137" y="6028184"/>
            <a:ext cx="2542011" cy="675885"/>
          </a:xfrm>
          <a:prstGeom prst="rect">
            <a:avLst/>
          </a:prstGeom>
        </p:spPr>
      </p:pic>
      <p:sp>
        <p:nvSpPr>
          <p:cNvPr id="8" name="Slide Number Placeholder 5"/>
          <p:cNvSpPr>
            <a:spLocks noGrp="1"/>
          </p:cNvSpPr>
          <p:nvPr>
            <p:ph type="sldNum" sz="quarter" idx="4"/>
          </p:nvPr>
        </p:nvSpPr>
        <p:spPr>
          <a:xfrm>
            <a:off x="2329916" y="6476215"/>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36"/>
            <a:r>
              <a:rPr lang="en-US"/>
              <a:t>Page </a:t>
            </a:r>
            <a:fld id="{5A9C12DC-491F-9444-86A2-13AC5C62A2FC}" type="slidenum">
              <a:rPr lang="en-US" smtClean="0"/>
              <a:pPr defTabSz="609336"/>
              <a:t>‹#›</a:t>
            </a:fld>
            <a:endParaRPr lang="en-US" dirty="0"/>
          </a:p>
        </p:txBody>
      </p:sp>
      <p:sp>
        <p:nvSpPr>
          <p:cNvPr id="11" name="Footer Placeholder 4"/>
          <p:cNvSpPr>
            <a:spLocks noGrp="1"/>
          </p:cNvSpPr>
          <p:nvPr>
            <p:ph type="ftr" sz="quarter" idx="3"/>
          </p:nvPr>
        </p:nvSpPr>
        <p:spPr>
          <a:xfrm>
            <a:off x="336469" y="6476214"/>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36"/>
            <a:r>
              <a:rPr lang="en-US"/>
              <a:t>Confidential Property of Schneider Electric |</a:t>
            </a:r>
            <a:endParaRPr lang="en-US" dirty="0"/>
          </a:p>
        </p:txBody>
      </p:sp>
    </p:spTree>
    <p:extLst>
      <p:ext uri="{BB962C8B-B14F-4D97-AF65-F5344CB8AC3E}">
        <p14:creationId xmlns:p14="http://schemas.microsoft.com/office/powerpoint/2010/main" val="256559268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Weave Image 5">
    <p:spTree>
      <p:nvGrpSpPr>
        <p:cNvPr id="1" name=""/>
        <p:cNvGrpSpPr/>
        <p:nvPr/>
      </p:nvGrpSpPr>
      <p:grpSpPr>
        <a:xfrm>
          <a:off x="0" y="0"/>
          <a:ext cx="0" cy="0"/>
          <a:chOff x="0" y="0"/>
          <a:chExt cx="0" cy="0"/>
        </a:xfrm>
      </p:grpSpPr>
      <p:pic>
        <p:nvPicPr>
          <p:cNvPr id="10" name="Picture 9" descr="Weave_522794209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8825" cy="6858000"/>
          </a:xfrm>
          <a:prstGeom prst="rect">
            <a:avLst/>
          </a:prstGeom>
        </p:spPr>
      </p:pic>
      <p:sp>
        <p:nvSpPr>
          <p:cNvPr id="4" name="Rectangle 3"/>
          <p:cNvSpPr/>
          <p:nvPr userDrawn="1"/>
        </p:nvSpPr>
        <p:spPr>
          <a:xfrm>
            <a:off x="0" y="4826964"/>
            <a:ext cx="12188825"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67" tIns="60933" rIns="121867" bIns="60933" rtlCol="0" anchor="ctr"/>
          <a:lstStyle/>
          <a:p>
            <a:pPr marL="0" marR="0" lvl="0" indent="0" algn="ctr" defTabSz="609336"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72137" y="6028184"/>
            <a:ext cx="2542011" cy="675885"/>
          </a:xfrm>
          <a:prstGeom prst="rect">
            <a:avLst/>
          </a:prstGeom>
        </p:spPr>
      </p:pic>
      <p:sp>
        <p:nvSpPr>
          <p:cNvPr id="8" name="Slide Number Placeholder 5"/>
          <p:cNvSpPr>
            <a:spLocks noGrp="1"/>
          </p:cNvSpPr>
          <p:nvPr>
            <p:ph type="sldNum" sz="quarter" idx="4"/>
          </p:nvPr>
        </p:nvSpPr>
        <p:spPr>
          <a:xfrm>
            <a:off x="2329916" y="6476215"/>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36"/>
            <a:r>
              <a:rPr lang="en-US"/>
              <a:t>Page </a:t>
            </a:r>
            <a:fld id="{5A9C12DC-491F-9444-86A2-13AC5C62A2FC}" type="slidenum">
              <a:rPr lang="en-US" smtClean="0"/>
              <a:pPr defTabSz="609336"/>
              <a:t>‹#›</a:t>
            </a:fld>
            <a:endParaRPr lang="en-US" dirty="0"/>
          </a:p>
        </p:txBody>
      </p:sp>
      <p:sp>
        <p:nvSpPr>
          <p:cNvPr id="11" name="Footer Placeholder 4"/>
          <p:cNvSpPr>
            <a:spLocks noGrp="1"/>
          </p:cNvSpPr>
          <p:nvPr>
            <p:ph type="ftr" sz="quarter" idx="3"/>
          </p:nvPr>
        </p:nvSpPr>
        <p:spPr>
          <a:xfrm>
            <a:off x="336469" y="6476214"/>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36"/>
            <a:r>
              <a:rPr lang="en-US"/>
              <a:t>Confidential Property of Schneider Electric |</a:t>
            </a:r>
            <a:endParaRPr lang="en-US" dirty="0"/>
          </a:p>
        </p:txBody>
      </p:sp>
    </p:spTree>
    <p:extLst>
      <p:ext uri="{BB962C8B-B14F-4D97-AF65-F5344CB8AC3E}">
        <p14:creationId xmlns:p14="http://schemas.microsoft.com/office/powerpoint/2010/main" val="23328601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Horizontal Split Page Spruce Green Top">
    <p:spTree>
      <p:nvGrpSpPr>
        <p:cNvPr id="1" name=""/>
        <p:cNvGrpSpPr/>
        <p:nvPr/>
      </p:nvGrpSpPr>
      <p:grpSpPr>
        <a:xfrm>
          <a:off x="0" y="0"/>
          <a:ext cx="0" cy="0"/>
          <a:chOff x="0" y="0"/>
          <a:chExt cx="0" cy="0"/>
        </a:xfrm>
      </p:grpSpPr>
      <p:sp>
        <p:nvSpPr>
          <p:cNvPr id="5" name="Rectangle 4"/>
          <p:cNvSpPr/>
          <p:nvPr userDrawn="1"/>
        </p:nvSpPr>
        <p:spPr>
          <a:xfrm>
            <a:off x="0" y="1"/>
            <a:ext cx="12188825" cy="22685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p>
        </p:txBody>
      </p:sp>
      <p:sp>
        <p:nvSpPr>
          <p:cNvPr id="2" name="Title 1"/>
          <p:cNvSpPr>
            <a:spLocks noGrp="1"/>
          </p:cNvSpPr>
          <p:nvPr>
            <p:ph type="title"/>
          </p:nvPr>
        </p:nvSpPr>
        <p:spPr>
          <a:xfrm>
            <a:off x="609441" y="271464"/>
            <a:ext cx="10969943" cy="1096963"/>
          </a:xfrm>
        </p:spPr>
        <p:txBody>
          <a:bodyPr/>
          <a:lstStyle>
            <a:lvl1pPr algn="l">
              <a:defRPr>
                <a:solidFill>
                  <a:schemeClr val="bg1"/>
                </a:solidFill>
              </a:defRPr>
            </a:lvl1pPr>
          </a:lstStyle>
          <a:p>
            <a:r>
              <a:rPr lang="en-US" dirty="0"/>
              <a:t>Click to edit Master title style</a:t>
            </a:r>
            <a:endParaRPr lang="en-US" noProof="0" dirty="0"/>
          </a:p>
        </p:txBody>
      </p:sp>
      <p:sp>
        <p:nvSpPr>
          <p:cNvPr id="3" name="Content Placeholder 2"/>
          <p:cNvSpPr>
            <a:spLocks noGrp="1"/>
          </p:cNvSpPr>
          <p:nvPr>
            <p:ph idx="1"/>
          </p:nvPr>
        </p:nvSpPr>
        <p:spPr>
          <a:xfrm>
            <a:off x="609441" y="2476502"/>
            <a:ext cx="10969943" cy="3682767"/>
          </a:xfrm>
          <a:prstGeom prst="rect">
            <a:avLst/>
          </a:prstGeom>
        </p:spPr>
        <p:txBody>
          <a:bodyPr/>
          <a:lstStyle>
            <a:lvl1pPr>
              <a:buFont typeface="Arial" pitchFamily="34" charset="0"/>
              <a:buChar char="&gt;"/>
              <a:defRPr/>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TextBox 5"/>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14063633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eave Image 6">
    <p:spTree>
      <p:nvGrpSpPr>
        <p:cNvPr id="1" name=""/>
        <p:cNvGrpSpPr/>
        <p:nvPr/>
      </p:nvGrpSpPr>
      <p:grpSpPr>
        <a:xfrm>
          <a:off x="0" y="0"/>
          <a:ext cx="0" cy="0"/>
          <a:chOff x="0" y="0"/>
          <a:chExt cx="0" cy="0"/>
        </a:xfrm>
      </p:grpSpPr>
      <p:pic>
        <p:nvPicPr>
          <p:cNvPr id="10" name="Picture 9" descr="Weave_528351183_LIO.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88825" cy="6858000"/>
          </a:xfrm>
          <a:prstGeom prst="rect">
            <a:avLst/>
          </a:prstGeom>
        </p:spPr>
      </p:pic>
      <p:sp>
        <p:nvSpPr>
          <p:cNvPr id="4" name="Rectangle 3"/>
          <p:cNvSpPr/>
          <p:nvPr userDrawn="1"/>
        </p:nvSpPr>
        <p:spPr>
          <a:xfrm>
            <a:off x="0" y="4826964"/>
            <a:ext cx="12188825"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lIns="121867" tIns="60933" rIns="121867" bIns="60933" rtlCol="0" anchor="ctr"/>
          <a:lstStyle/>
          <a:p>
            <a:pPr marL="0" marR="0" lvl="0" indent="0" algn="ctr" defTabSz="609336"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noFill/>
              </a:ln>
              <a:solidFill>
                <a:prstClr val="white"/>
              </a:solidFill>
              <a:effectLst/>
              <a:uLnTx/>
              <a:uFillTx/>
              <a:latin typeface="Arial"/>
              <a:ea typeface="+mn-ea"/>
              <a:cs typeface="+mn-cs"/>
            </a:endParaRPr>
          </a:p>
        </p:txBody>
      </p:sp>
      <p:pic>
        <p:nvPicPr>
          <p:cNvPr id="9" name="Picture 8" descr="schneider_LIO_White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72137" y="6028184"/>
            <a:ext cx="2542011" cy="675885"/>
          </a:xfrm>
          <a:prstGeom prst="rect">
            <a:avLst/>
          </a:prstGeom>
        </p:spPr>
      </p:pic>
      <p:sp>
        <p:nvSpPr>
          <p:cNvPr id="8" name="Slide Number Placeholder 5"/>
          <p:cNvSpPr>
            <a:spLocks noGrp="1"/>
          </p:cNvSpPr>
          <p:nvPr>
            <p:ph type="sldNum" sz="quarter" idx="4"/>
          </p:nvPr>
        </p:nvSpPr>
        <p:spPr>
          <a:xfrm>
            <a:off x="2329916" y="6476215"/>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36"/>
            <a:r>
              <a:rPr lang="en-US"/>
              <a:t>Page </a:t>
            </a:r>
            <a:fld id="{5A9C12DC-491F-9444-86A2-13AC5C62A2FC}" type="slidenum">
              <a:rPr lang="en-US" smtClean="0"/>
              <a:pPr defTabSz="609336"/>
              <a:t>‹#›</a:t>
            </a:fld>
            <a:endParaRPr lang="en-US" dirty="0"/>
          </a:p>
        </p:txBody>
      </p:sp>
      <p:sp>
        <p:nvSpPr>
          <p:cNvPr id="11" name="Footer Placeholder 4"/>
          <p:cNvSpPr>
            <a:spLocks noGrp="1"/>
          </p:cNvSpPr>
          <p:nvPr>
            <p:ph type="ftr" sz="quarter" idx="3"/>
          </p:nvPr>
        </p:nvSpPr>
        <p:spPr>
          <a:xfrm>
            <a:off x="336469" y="6476214"/>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36"/>
            <a:r>
              <a:rPr lang="en-US"/>
              <a:t>Confidential Property of Schneider Electric |</a:t>
            </a:r>
            <a:endParaRPr lang="en-US" dirty="0"/>
          </a:p>
        </p:txBody>
      </p:sp>
    </p:spTree>
    <p:extLst>
      <p:ext uri="{BB962C8B-B14F-4D97-AF65-F5344CB8AC3E}">
        <p14:creationId xmlns:p14="http://schemas.microsoft.com/office/powerpoint/2010/main" val="136985939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3" name="Picture 2" descr="schneider_LIO_White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2453" y="2752785"/>
            <a:ext cx="4903927" cy="1352435"/>
          </a:xfrm>
          <a:prstGeom prst="rect">
            <a:avLst/>
          </a:prstGeom>
        </p:spPr>
      </p:pic>
    </p:spTree>
    <p:extLst>
      <p:ext uri="{BB962C8B-B14F-4D97-AF65-F5344CB8AC3E}">
        <p14:creationId xmlns:p14="http://schemas.microsoft.com/office/powerpoint/2010/main" val="138714855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144201" y="6377943"/>
            <a:ext cx="3900424" cy="342900"/>
          </a:xfrm>
          <a:prstGeom prst="rect">
            <a:avLst/>
          </a:prstGeom>
        </p:spPr>
        <p:txBody>
          <a:bodyPr lIns="0" tIns="0" rIns="0" bIns="0"/>
          <a:lstStyle>
            <a:lvl1pPr algn="ctr" defTabSz="608172">
              <a:defRPr>
                <a:solidFill>
                  <a:schemeClr val="tx1">
                    <a:tint val="75000"/>
                  </a:schemeClr>
                </a:solidFill>
              </a:defRPr>
            </a:lvl1pPr>
          </a:lstStyle>
          <a:p>
            <a:endParaRPr lang="en-US">
              <a:solidFill>
                <a:prstClr val="black">
                  <a:tint val="75000"/>
                </a:prstClr>
              </a:solidFill>
            </a:endParaRPr>
          </a:p>
        </p:txBody>
      </p:sp>
      <p:sp>
        <p:nvSpPr>
          <p:cNvPr id="3" name="Holder 3"/>
          <p:cNvSpPr>
            <a:spLocks noGrp="1"/>
          </p:cNvSpPr>
          <p:nvPr>
            <p:ph type="dt" sz="half" idx="6"/>
          </p:nvPr>
        </p:nvSpPr>
        <p:spPr>
          <a:xfrm>
            <a:off x="609441" y="6377943"/>
            <a:ext cx="2803430" cy="342900"/>
          </a:xfrm>
          <a:prstGeom prst="rect">
            <a:avLst/>
          </a:prstGeom>
        </p:spPr>
        <p:txBody>
          <a:bodyPr lIns="0" tIns="0" rIns="0" bIns="0"/>
          <a:lstStyle>
            <a:lvl1pPr algn="l" defTabSz="608172">
              <a:defRPr>
                <a:solidFill>
                  <a:schemeClr val="tx1">
                    <a:tint val="75000"/>
                  </a:schemeClr>
                </a:solidFill>
              </a:defRPr>
            </a:lvl1pPr>
          </a:lstStyle>
          <a:p>
            <a:fld id="{1D8BD707-D9CF-40AE-B4C6-C98DA3205C09}" type="datetimeFigureOut">
              <a:rPr lang="en-US" smtClean="0">
                <a:solidFill>
                  <a:prstClr val="black">
                    <a:tint val="75000"/>
                  </a:prstClr>
                </a:solidFill>
              </a:rPr>
              <a:pPr/>
              <a:t>2/27/2018</a:t>
            </a:fld>
            <a:endParaRPr lang="en-US">
              <a:solidFill>
                <a:prstClr val="black">
                  <a:tint val="75000"/>
                </a:prstClr>
              </a:solidFill>
            </a:endParaRPr>
          </a:p>
        </p:txBody>
      </p:sp>
      <p:sp>
        <p:nvSpPr>
          <p:cNvPr id="4" name="Holder 4"/>
          <p:cNvSpPr>
            <a:spLocks noGrp="1"/>
          </p:cNvSpPr>
          <p:nvPr>
            <p:ph type="sldNum" sz="quarter" idx="7"/>
          </p:nvPr>
        </p:nvSpPr>
        <p:spPr>
          <a:xfrm>
            <a:off x="8775955" y="6377943"/>
            <a:ext cx="2803430" cy="342900"/>
          </a:xfrm>
          <a:prstGeom prst="rect">
            <a:avLst/>
          </a:prstGeom>
        </p:spPr>
        <p:txBody>
          <a:bodyPr lIns="0" tIns="0" rIns="0" bIns="0"/>
          <a:lstStyle>
            <a:lvl1pPr algn="r" defTabSz="608172">
              <a:defRPr>
                <a:solidFill>
                  <a:schemeClr val="tx1">
                    <a:tint val="75000"/>
                  </a:schemeClr>
                </a:solidFill>
              </a:defRPr>
            </a:lvl1p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1975899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12188825" cy="6858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latin typeface="Arial Rounded MT Std"/>
              </a:defRPr>
            </a:lvl1pPr>
          </a:lstStyle>
          <a:p>
            <a:r>
              <a:rPr lang="en-US" dirty="0"/>
              <a:t>Drag Your Image Here</a:t>
            </a:r>
          </a:p>
        </p:txBody>
      </p:sp>
      <p:sp>
        <p:nvSpPr>
          <p:cNvPr id="11" name="Rectangle 10"/>
          <p:cNvSpPr/>
          <p:nvPr userDrawn="1"/>
        </p:nvSpPr>
        <p:spPr>
          <a:xfrm flipV="1">
            <a:off x="0" y="2583989"/>
            <a:ext cx="12188825" cy="1450145"/>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9" dirty="0">
              <a:latin typeface="Arial Rounded MT Std"/>
            </a:endParaRPr>
          </a:p>
        </p:txBody>
      </p:sp>
      <p:sp>
        <p:nvSpPr>
          <p:cNvPr id="13" name="Rectangle 12"/>
          <p:cNvSpPr/>
          <p:nvPr userDrawn="1"/>
        </p:nvSpPr>
        <p:spPr>
          <a:xfrm>
            <a:off x="0" y="3715318"/>
            <a:ext cx="12188825" cy="2319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9" dirty="0">
              <a:latin typeface="Arial Rounded MT Std"/>
            </a:endParaRPr>
          </a:p>
        </p:txBody>
      </p:sp>
      <p:sp>
        <p:nvSpPr>
          <p:cNvPr id="8" name="Title 1"/>
          <p:cNvSpPr>
            <a:spLocks noGrp="1"/>
          </p:cNvSpPr>
          <p:nvPr>
            <p:ph type="ctrTitle" hasCustomPrompt="1"/>
          </p:nvPr>
        </p:nvSpPr>
        <p:spPr>
          <a:xfrm>
            <a:off x="336466" y="2628325"/>
            <a:ext cx="11562151" cy="738664"/>
          </a:xfrm>
          <a:prstGeom prst="rect">
            <a:avLst/>
          </a:prstGeom>
        </p:spPr>
        <p:txBody>
          <a:bodyPr lIns="0" tIns="0" rIns="0" bIns="0" anchor="ctr" anchorCtr="0">
            <a:spAutoFit/>
          </a:bodyPr>
          <a:lstStyle>
            <a:lvl1pPr marL="0" indent="0" algn="l">
              <a:buFont typeface="Arial"/>
              <a:buNone/>
              <a:defRPr sz="4799">
                <a:solidFill>
                  <a:schemeClr val="tx2"/>
                </a:solidFill>
                <a:latin typeface="Arial Rounded MT Std"/>
              </a:defRPr>
            </a:lvl1pPr>
          </a:lstStyle>
          <a:p>
            <a:r>
              <a:rPr lang="en-US" dirty="0"/>
              <a:t>Click To Edit Master Title Style</a:t>
            </a:r>
          </a:p>
        </p:txBody>
      </p:sp>
      <p:sp>
        <p:nvSpPr>
          <p:cNvPr id="9" name="Subtitle 2"/>
          <p:cNvSpPr>
            <a:spLocks noGrp="1"/>
          </p:cNvSpPr>
          <p:nvPr>
            <p:ph type="subTitle" idx="1" hasCustomPrompt="1"/>
          </p:nvPr>
        </p:nvSpPr>
        <p:spPr>
          <a:xfrm>
            <a:off x="336466" y="3421692"/>
            <a:ext cx="11562151" cy="410369"/>
          </a:xfrm>
          <a:prstGeom prst="rect">
            <a:avLst/>
          </a:prstGeom>
        </p:spPr>
        <p:txBody>
          <a:bodyPr lIns="0" tIns="0" rIns="0" bIns="0">
            <a:spAutoFit/>
          </a:bodyPr>
          <a:lstStyle>
            <a:lvl1pPr marL="0" indent="0" algn="l">
              <a:buNone/>
              <a:defRPr sz="2666" baseline="0">
                <a:solidFill>
                  <a:schemeClr val="tx1">
                    <a:tint val="75000"/>
                  </a:schemeClr>
                </a:solidFill>
                <a:latin typeface="Arial Rounded MT Std"/>
              </a:defRPr>
            </a:lvl1pPr>
            <a:lvl2pPr marL="609433" indent="0" algn="ctr">
              <a:buNone/>
              <a:defRPr>
                <a:solidFill>
                  <a:schemeClr val="tx1">
                    <a:tint val="75000"/>
                  </a:schemeClr>
                </a:solidFill>
              </a:defRPr>
            </a:lvl2pPr>
            <a:lvl3pPr marL="1218866" indent="0" algn="ctr">
              <a:buNone/>
              <a:defRPr>
                <a:solidFill>
                  <a:schemeClr val="tx1">
                    <a:tint val="75000"/>
                  </a:schemeClr>
                </a:solidFill>
              </a:defRPr>
            </a:lvl3pPr>
            <a:lvl4pPr marL="1828297" indent="0" algn="ctr">
              <a:buNone/>
              <a:defRPr>
                <a:solidFill>
                  <a:schemeClr val="tx1">
                    <a:tint val="75000"/>
                  </a:schemeClr>
                </a:solidFill>
              </a:defRPr>
            </a:lvl4pPr>
            <a:lvl5pPr marL="2437729" indent="0" algn="ctr">
              <a:buNone/>
              <a:defRPr>
                <a:solidFill>
                  <a:schemeClr val="tx1">
                    <a:tint val="75000"/>
                  </a:schemeClr>
                </a:solidFill>
              </a:defRPr>
            </a:lvl5pPr>
            <a:lvl6pPr marL="3047162" indent="0" algn="ctr">
              <a:buNone/>
              <a:defRPr>
                <a:solidFill>
                  <a:schemeClr val="tx1">
                    <a:tint val="75000"/>
                  </a:schemeClr>
                </a:solidFill>
              </a:defRPr>
            </a:lvl6pPr>
            <a:lvl7pPr marL="3656595" indent="0" algn="ctr">
              <a:buNone/>
              <a:defRPr>
                <a:solidFill>
                  <a:schemeClr val="tx1">
                    <a:tint val="75000"/>
                  </a:schemeClr>
                </a:solidFill>
              </a:defRPr>
            </a:lvl7pPr>
            <a:lvl8pPr marL="4266027" indent="0" algn="ctr">
              <a:buNone/>
              <a:defRPr>
                <a:solidFill>
                  <a:schemeClr val="tx1">
                    <a:tint val="75000"/>
                  </a:schemeClr>
                </a:solidFill>
              </a:defRPr>
            </a:lvl8pPr>
            <a:lvl9pPr marL="4875459" indent="0" algn="ctr">
              <a:buNone/>
              <a:defRPr>
                <a:solidFill>
                  <a:schemeClr val="tx1">
                    <a:tint val="75000"/>
                  </a:schemeClr>
                </a:solidFill>
              </a:defRPr>
            </a:lvl9pPr>
          </a:lstStyle>
          <a:p>
            <a:r>
              <a:rPr lang="en-US" dirty="0"/>
              <a:t>Click to Edit Optional Subtitle</a:t>
            </a:r>
          </a:p>
        </p:txBody>
      </p:sp>
      <p:sp>
        <p:nvSpPr>
          <p:cNvPr id="12" name="Text Placeholder 13"/>
          <p:cNvSpPr>
            <a:spLocks noGrp="1"/>
          </p:cNvSpPr>
          <p:nvPr>
            <p:ph type="body" sz="quarter" idx="11" hasCustomPrompt="1"/>
          </p:nvPr>
        </p:nvSpPr>
        <p:spPr>
          <a:xfrm>
            <a:off x="336466" y="5272340"/>
            <a:ext cx="5812968" cy="246221"/>
          </a:xfrm>
          <a:prstGeom prst="rect">
            <a:avLst/>
          </a:prstGeom>
        </p:spPr>
        <p:txBody>
          <a:bodyPr lIns="0" tIns="0" rIns="0" bIns="0" anchor="ctr" anchorCtr="0">
            <a:spAutoFit/>
          </a:bodyPr>
          <a:lstStyle>
            <a:lvl1pPr marL="0" indent="0">
              <a:buNone/>
              <a:defRPr sz="1600">
                <a:solidFill>
                  <a:schemeClr val="bg1"/>
                </a:solidFill>
                <a:latin typeface="Arial Rounded MT Std"/>
              </a:defRPr>
            </a:lvl1pPr>
          </a:lstStyle>
          <a:p>
            <a:pPr lvl="0"/>
            <a:r>
              <a:rPr lang="en-US" dirty="0"/>
              <a:t>Presented by:</a:t>
            </a:r>
          </a:p>
        </p:txBody>
      </p:sp>
      <p:sp>
        <p:nvSpPr>
          <p:cNvPr id="18" name="Footer Placeholder 4"/>
          <p:cNvSpPr>
            <a:spLocks noGrp="1"/>
          </p:cNvSpPr>
          <p:nvPr>
            <p:ph type="ftr" sz="quarter" idx="3"/>
          </p:nvPr>
        </p:nvSpPr>
        <p:spPr>
          <a:xfrm>
            <a:off x="336465" y="6476207"/>
            <a:ext cx="2006852" cy="123111"/>
          </a:xfrm>
          <a:prstGeom prst="rect">
            <a:avLst/>
          </a:prstGeom>
        </p:spPr>
        <p:txBody>
          <a:bodyPr vert="horz" wrap="square" lIns="0" tIns="0" rIns="0" bIns="0" rtlCol="0" anchor="ctr">
            <a:spAutoFit/>
          </a:bodyPr>
          <a:lstStyle>
            <a:lvl1pPr algn="l">
              <a:defRPr sz="800">
                <a:solidFill>
                  <a:srgbClr val="4F5156"/>
                </a:solidFill>
                <a:latin typeface="Arial Rounded MT Std"/>
                <a:cs typeface="Arial"/>
              </a:defRPr>
            </a:lvl1pPr>
          </a:lstStyle>
          <a:p>
            <a:r>
              <a:rPr lang="en-US" dirty="0"/>
              <a:t>Confidential Property of Schneider Electric |</a:t>
            </a:r>
          </a:p>
        </p:txBody>
      </p:sp>
      <p:pic>
        <p:nvPicPr>
          <p:cNvPr id="15" name="Picture 14"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37" y="6012788"/>
            <a:ext cx="2562395" cy="706672"/>
          </a:xfrm>
          <a:prstGeom prst="rect">
            <a:avLst/>
          </a:prstGeom>
        </p:spPr>
      </p:pic>
    </p:spTree>
    <p:extLst>
      <p:ext uri="{BB962C8B-B14F-4D97-AF65-F5344CB8AC3E}">
        <p14:creationId xmlns:p14="http://schemas.microsoft.com/office/powerpoint/2010/main" val="167227020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w/ Image 3">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6149431" y="-1"/>
            <a:ext cx="6039396"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2">
                    <a:lumMod val="60000"/>
                    <a:lumOff val="40000"/>
                  </a:schemeClr>
                </a:solidFill>
                <a:latin typeface="Arial Rounded MT Std"/>
              </a:defRPr>
            </a:lvl1pPr>
            <a:lvl2pPr marL="590388" indent="-353386">
              <a:buFont typeface="Arial"/>
              <a:buChar char="•"/>
              <a:defRPr sz="2399">
                <a:solidFill>
                  <a:schemeClr val="accent1"/>
                </a:solidFill>
              </a:defRPr>
            </a:lvl2pPr>
            <a:lvl3pPr marL="943775" indent="-304716">
              <a:buFont typeface="Lucida Grande"/>
              <a:buChar char="–"/>
              <a:defRPr sz="2133">
                <a:solidFill>
                  <a:schemeClr val="accent1"/>
                </a:solidFill>
              </a:defRPr>
            </a:lvl3pPr>
            <a:lvl4pPr marL="1301393" indent="-304716">
              <a:buFont typeface="Lucida Grande"/>
              <a:buChar char="–"/>
              <a:defRPr sz="1866">
                <a:solidFill>
                  <a:schemeClr val="accent1"/>
                </a:solidFill>
              </a:defRPr>
            </a:lvl4pPr>
            <a:lvl5pPr marL="1678055" indent="-308949" defTabSz="418986">
              <a:buFont typeface="Lucida Grande"/>
              <a:buChar char="–"/>
              <a:defRPr sz="1866">
                <a:solidFill>
                  <a:schemeClr val="accent1"/>
                </a:solidFill>
              </a:defRPr>
            </a:lvl5pPr>
          </a:lstStyle>
          <a:p>
            <a:pPr lvl="0"/>
            <a:r>
              <a:rPr lang="en-US" dirty="0"/>
              <a:t>Insert Your Content Here</a:t>
            </a:r>
          </a:p>
        </p:txBody>
      </p:sp>
      <p:sp>
        <p:nvSpPr>
          <p:cNvPr id="15" name="Rectangle 14"/>
          <p:cNvSpPr/>
          <p:nvPr userDrawn="1"/>
        </p:nvSpPr>
        <p:spPr>
          <a:xfrm rot="5400000">
            <a:off x="-383395" y="325172"/>
            <a:ext cx="6858000" cy="620765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9" dirty="0">
              <a:latin typeface="Arial Rounded MT Std"/>
            </a:endParaRPr>
          </a:p>
        </p:txBody>
      </p:sp>
      <p:sp>
        <p:nvSpPr>
          <p:cNvPr id="16" name="Content Placeholder 12"/>
          <p:cNvSpPr>
            <a:spLocks noGrp="1"/>
          </p:cNvSpPr>
          <p:nvPr>
            <p:ph sz="quarter" idx="11"/>
          </p:nvPr>
        </p:nvSpPr>
        <p:spPr>
          <a:xfrm>
            <a:off x="-58221" y="-3"/>
            <a:ext cx="6704939" cy="6858003"/>
          </a:xfrm>
          <a:prstGeom prst="rect">
            <a:avLst/>
          </a:prstGeom>
          <a:solidFill>
            <a:schemeClr val="tx2">
              <a:alpha val="80000"/>
            </a:schemeClr>
          </a:solidFill>
        </p:spPr>
        <p:txBody>
          <a:bodyPr vert="horz" lIns="252000" tIns="252000" rIns="252000" bIns="252000"/>
          <a:lstStyle>
            <a:lvl1pPr marL="0" indent="0">
              <a:buNone/>
              <a:defRPr sz="3199">
                <a:solidFill>
                  <a:schemeClr val="bg1"/>
                </a:solidFill>
                <a:latin typeface="Arial Rounded MT Std"/>
              </a:defRPr>
            </a:lvl1pPr>
            <a:lvl2pPr marL="590388" indent="-353386">
              <a:buFont typeface="Arial"/>
              <a:buChar char="•"/>
              <a:defRPr sz="2666">
                <a:solidFill>
                  <a:schemeClr val="bg1"/>
                </a:solidFill>
                <a:latin typeface="Arial Rounded MT Std"/>
              </a:defRPr>
            </a:lvl2pPr>
            <a:lvl3pPr marL="943775" indent="-304716">
              <a:buFont typeface="Lucida Grande"/>
              <a:buChar char="–"/>
              <a:defRPr sz="2399">
                <a:solidFill>
                  <a:schemeClr val="bg1"/>
                </a:solidFill>
                <a:latin typeface="Arial Rounded MT Std"/>
              </a:defRPr>
            </a:lvl3pPr>
            <a:lvl4pPr marL="1301393" indent="-304716">
              <a:buFont typeface="Lucida Grande"/>
              <a:buChar char="–"/>
              <a:defRPr sz="2133">
                <a:solidFill>
                  <a:schemeClr val="bg1"/>
                </a:solidFill>
                <a:latin typeface="Arial Rounded MT Std"/>
              </a:defRPr>
            </a:lvl4pPr>
            <a:lvl5pPr marL="1678055" indent="-308949" defTabSz="418986">
              <a:buFont typeface="Lucida Grande"/>
              <a:buChar char="–"/>
              <a:defRPr sz="2133">
                <a:solidFill>
                  <a:schemeClr val="bg1"/>
                </a:solidFill>
                <a:latin typeface="Arial Rounded MT St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29915" y="6476209"/>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dirty="0">
                <a:latin typeface="Arial Rounded MT Std"/>
              </a:rPr>
              <a:t>Page </a:t>
            </a:r>
            <a:fld id="{5A9C12DC-491F-9444-86A2-13AC5C62A2FC}" type="slidenum">
              <a:rPr lang="en-US" smtClean="0">
                <a:latin typeface="Arial Rounded MT Std"/>
              </a:rPr>
              <a:pPr/>
              <a:t>‹#›</a:t>
            </a:fld>
            <a:endParaRPr lang="en-US" dirty="0">
              <a:latin typeface="Arial Rounded MT Std"/>
            </a:endParaRPr>
          </a:p>
        </p:txBody>
      </p:sp>
      <p:sp>
        <p:nvSpPr>
          <p:cNvPr id="8" name="Footer Placeholder 4"/>
          <p:cNvSpPr>
            <a:spLocks noGrp="1"/>
          </p:cNvSpPr>
          <p:nvPr>
            <p:ph type="ftr" sz="quarter" idx="3"/>
          </p:nvPr>
        </p:nvSpPr>
        <p:spPr>
          <a:xfrm>
            <a:off x="336465" y="6476207"/>
            <a:ext cx="2012498" cy="123111"/>
          </a:xfrm>
          <a:prstGeom prst="rect">
            <a:avLst/>
          </a:prstGeom>
        </p:spPr>
        <p:txBody>
          <a:bodyPr vert="horz" wrap="square" lIns="0" tIns="0" rIns="0" bIns="0" rtlCol="0" anchor="ctr">
            <a:spAutoFit/>
          </a:bodyPr>
          <a:lstStyle>
            <a:lvl1pPr algn="l">
              <a:defRPr sz="800">
                <a:solidFill>
                  <a:srgbClr val="FFFFFF"/>
                </a:solidFill>
                <a:latin typeface="Arial Rounded MT Std"/>
                <a:cs typeface="Arial"/>
              </a:defRPr>
            </a:lvl1pPr>
          </a:lstStyle>
          <a:p>
            <a:r>
              <a:rPr lang="en-US" dirty="0"/>
              <a:t>Confidential Property of Schneider Electric |</a:t>
            </a:r>
          </a:p>
        </p:txBody>
      </p:sp>
      <p:pic>
        <p:nvPicPr>
          <p:cNvPr id="10" name="Picture 9"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37" y="6012788"/>
            <a:ext cx="2562395" cy="706672"/>
          </a:xfrm>
          <a:prstGeom prst="rect">
            <a:avLst/>
          </a:prstGeom>
        </p:spPr>
      </p:pic>
    </p:spTree>
    <p:extLst>
      <p:ext uri="{BB962C8B-B14F-4D97-AF65-F5344CB8AC3E}">
        <p14:creationId xmlns:p14="http://schemas.microsoft.com/office/powerpoint/2010/main" val="5938974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3" name="Picture 2" descr="schneider_LIO_White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2450" y="2752784"/>
            <a:ext cx="4903927" cy="1352435"/>
          </a:xfrm>
          <a:prstGeom prst="rect">
            <a:avLst/>
          </a:prstGeom>
        </p:spPr>
      </p:pic>
    </p:spTree>
    <p:extLst>
      <p:ext uri="{BB962C8B-B14F-4D97-AF65-F5344CB8AC3E}">
        <p14:creationId xmlns:p14="http://schemas.microsoft.com/office/powerpoint/2010/main" val="41495715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29916" y="6476234"/>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solidFill>
                  <a:srgbClr val="3DCD58"/>
                </a:solidFill>
                <a:latin typeface="Arial Rounded MT Std"/>
              </a:rPr>
              <a:t>Page </a:t>
            </a:r>
            <a:fld id="{5A9C12DC-491F-9444-86A2-13AC5C62A2FC}" type="slidenum">
              <a:rPr lang="en-US" smtClean="0">
                <a:solidFill>
                  <a:srgbClr val="3DCD58"/>
                </a:solidFill>
                <a:latin typeface="Arial Rounded MT Std"/>
              </a:rPr>
              <a:pPr/>
              <a:t>‹#›</a:t>
            </a:fld>
            <a:endParaRPr lang="en-US" dirty="0">
              <a:solidFill>
                <a:srgbClr val="3DCD58"/>
              </a:solidFill>
              <a:latin typeface="Arial Rounded MT Std"/>
            </a:endParaRPr>
          </a:p>
        </p:txBody>
      </p:sp>
      <p:sp>
        <p:nvSpPr>
          <p:cNvPr id="5" name="Footer Placeholder 4"/>
          <p:cNvSpPr>
            <a:spLocks noGrp="1"/>
          </p:cNvSpPr>
          <p:nvPr>
            <p:ph type="ftr" sz="quarter" idx="3"/>
          </p:nvPr>
        </p:nvSpPr>
        <p:spPr>
          <a:xfrm>
            <a:off x="336489" y="6476234"/>
            <a:ext cx="2012498" cy="123111"/>
          </a:xfrm>
          <a:prstGeom prst="rect">
            <a:avLst/>
          </a:prstGeom>
        </p:spPr>
        <p:txBody>
          <a:bodyPr vert="horz" wrap="square" lIns="0" tIns="0" rIns="0" bIns="0" rtlCol="0" anchor="ctr">
            <a:spAutoFit/>
          </a:bodyPr>
          <a:lstStyle>
            <a:lvl1pPr algn="l">
              <a:defRPr sz="800">
                <a:solidFill>
                  <a:schemeClr val="accent1"/>
                </a:solidFill>
                <a:latin typeface="Arial Rounded MT Std"/>
                <a:cs typeface="Arial"/>
              </a:defRPr>
            </a:lvl1pPr>
          </a:lstStyle>
          <a:p>
            <a:r>
              <a:rPr lang="en-US" dirty="0">
                <a:solidFill>
                  <a:srgbClr val="626469"/>
                </a:solidFill>
              </a:rPr>
              <a:t>Confidential Property of Schneider Electric |</a:t>
            </a:r>
          </a:p>
        </p:txBody>
      </p:sp>
      <p:sp>
        <p:nvSpPr>
          <p:cNvPr id="8" name="Content Placeholder 2"/>
          <p:cNvSpPr>
            <a:spLocks noGrp="1"/>
          </p:cNvSpPr>
          <p:nvPr>
            <p:ph sz="quarter" idx="31"/>
          </p:nvPr>
        </p:nvSpPr>
        <p:spPr>
          <a:xfrm>
            <a:off x="343984" y="1604434"/>
            <a:ext cx="11569746" cy="4235452"/>
          </a:xfrm>
        </p:spPr>
        <p:txBody>
          <a:bodyPr wrap="square">
            <a:noAutofit/>
          </a:bodyPr>
          <a:lstStyle>
            <a:lvl1pPr>
              <a:defRPr>
                <a:latin typeface="Arial Rounded MT Std"/>
              </a:defRPr>
            </a:lvl1pPr>
            <a:lvl2pPr>
              <a:defRPr>
                <a:latin typeface="Arial Rounded MT Std"/>
              </a:defRPr>
            </a:lvl2pPr>
            <a:lvl3pPr>
              <a:defRPr>
                <a:latin typeface="Arial Rounded MT Std"/>
              </a:defRPr>
            </a:lvl3pPr>
            <a:lvl4pPr>
              <a:defRPr>
                <a:latin typeface="Arial Rounded MT Std"/>
              </a:defRPr>
            </a:lvl4pPr>
            <a:lvl5pPr>
              <a:defRPr>
                <a:latin typeface="Arial Rounded MT St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336466" y="306917"/>
            <a:ext cx="11526480" cy="492443"/>
          </a:xfrm>
        </p:spPr>
        <p:txBody>
          <a:bodyPr/>
          <a:lstStyle>
            <a:lvl1pPr>
              <a:buFontTx/>
              <a:buNone/>
              <a:defRPr sz="3199">
                <a:solidFill>
                  <a:schemeClr val="tx2"/>
                </a:solidFill>
                <a:latin typeface="Arial Rounded MT Std"/>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466" y="911181"/>
            <a:ext cx="11526480" cy="328295"/>
          </a:xfrm>
        </p:spPr>
        <p:txBody>
          <a:bodyPr/>
          <a:lstStyle>
            <a:lvl1pPr marL="477931" indent="-456776">
              <a:buFontTx/>
              <a:buNone/>
              <a:defRPr sz="2099" baseline="0">
                <a:solidFill>
                  <a:schemeClr val="accent1"/>
                </a:solidFill>
                <a:latin typeface="Arial Rounded MT Std"/>
              </a:defRPr>
            </a:lvl1pPr>
            <a:lvl2pPr marL="543493" indent="-304516">
              <a:buFontTx/>
              <a:buNone/>
              <a:defRPr/>
            </a:lvl2pPr>
            <a:lvl3pPr marL="782447" indent="-304516">
              <a:buFontTx/>
              <a:buNone/>
              <a:defRPr/>
            </a:lvl3pPr>
            <a:lvl4pPr marL="1023539" indent="-304516">
              <a:buFontTx/>
              <a:buNone/>
              <a:defRPr/>
            </a:lvl4pPr>
            <a:lvl5pPr marL="1251914" indent="-304516">
              <a:buFontTx/>
              <a:buNone/>
              <a:defRPr/>
            </a:lvl5pPr>
          </a:lstStyle>
          <a:p>
            <a:pPr lvl="0"/>
            <a:r>
              <a:rPr lang="en-US" dirty="0"/>
              <a:t>Click to edit Master text styles</a:t>
            </a:r>
          </a:p>
        </p:txBody>
      </p:sp>
    </p:spTree>
    <p:extLst>
      <p:ext uri="{BB962C8B-B14F-4D97-AF65-F5344CB8AC3E}">
        <p14:creationId xmlns:p14="http://schemas.microsoft.com/office/powerpoint/2010/main" val="372437748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9" y="2119"/>
          <a:ext cx="2115" cy="2116"/>
        </p:xfrm>
        <a:graphic>
          <a:graphicData uri="http://schemas.openxmlformats.org/presentationml/2006/ole">
            <mc:AlternateContent xmlns:mc="http://schemas.openxmlformats.org/markup-compatibility/2006">
              <mc:Choice xmlns:v="urn:schemas-microsoft-com:vml" Requires="v">
                <p:oleObj spid="_x0000_s41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9" y="2119"/>
                        <a:ext cx="2115" cy="2116"/>
                      </a:xfrm>
                      <a:prstGeom prst="rect">
                        <a:avLst/>
                      </a:prstGeom>
                    </p:spPr>
                  </p:pic>
                </p:oleObj>
              </mc:Fallback>
            </mc:AlternateContent>
          </a:graphicData>
        </a:graphic>
      </p:graphicFrame>
      <p:sp>
        <p:nvSpPr>
          <p:cNvPr id="3" name="Content Placeholder 2"/>
          <p:cNvSpPr>
            <a:spLocks noGrp="1"/>
          </p:cNvSpPr>
          <p:nvPr>
            <p:ph idx="1" hasCustomPrompt="1"/>
          </p:nvPr>
        </p:nvSpPr>
        <p:spPr>
          <a:xfrm>
            <a:off x="608013" y="1166829"/>
            <a:ext cx="10969943" cy="4992455"/>
          </a:xfrm>
          <a:prstGeom prst="rect">
            <a:avLst/>
          </a:prstGeom>
        </p:spPr>
        <p:txBody>
          <a:bodyPr/>
          <a:lstStyle>
            <a:lvl1pPr>
              <a:buFont typeface="Arial" pitchFamily="34" charset="0"/>
              <a:buNone/>
              <a:defRPr sz="2666">
                <a:solidFill>
                  <a:schemeClr val="tx1">
                    <a:lumMod val="50000"/>
                    <a:lumOff val="50000"/>
                  </a:schemeClr>
                </a:solidFill>
                <a:latin typeface="Arial Rounded MT Std"/>
              </a:defRPr>
            </a:lvl1pPr>
            <a:lvl2pPr marL="990279" indent="-380877">
              <a:buFont typeface="Arial" panose="020B0604020202020204" pitchFamily="34" charset="0"/>
              <a:buChar char="•"/>
              <a:defRPr sz="2399">
                <a:solidFill>
                  <a:schemeClr val="tx1">
                    <a:lumMod val="50000"/>
                    <a:lumOff val="50000"/>
                  </a:schemeClr>
                </a:solidFill>
                <a:latin typeface="Arial Rounded MT Std"/>
              </a:defRPr>
            </a:lvl2pPr>
            <a:lvl3pPr marL="1523506" indent="-304700">
              <a:buFont typeface="Arial" panose="020B0604020202020204" pitchFamily="34" charset="0"/>
              <a:buChar char="̵"/>
              <a:defRPr sz="2133">
                <a:solidFill>
                  <a:schemeClr val="tx1">
                    <a:lumMod val="50000"/>
                    <a:lumOff val="50000"/>
                  </a:schemeClr>
                </a:solidFill>
                <a:latin typeface="Arial Rounded MT Std"/>
              </a:defRPr>
            </a:lvl3pPr>
            <a:lvl5pPr>
              <a:defRPr/>
            </a:lvl5pPr>
          </a:lstStyle>
          <a:p>
            <a:pPr lvl="0"/>
            <a:r>
              <a:rPr lang="en-US" noProof="0" dirty="0"/>
              <a:t>Click to edit Master text styles</a:t>
            </a:r>
          </a:p>
          <a:p>
            <a:pPr lvl="1"/>
            <a:r>
              <a:rPr lang="en-US" noProof="0" dirty="0"/>
              <a:t>Second level</a:t>
            </a:r>
          </a:p>
          <a:p>
            <a:pPr lvl="2"/>
            <a:r>
              <a:rPr lang="en-US" noProof="0" dirty="0"/>
              <a:t>Third level</a:t>
            </a:r>
          </a:p>
        </p:txBody>
      </p:sp>
      <p:cxnSp>
        <p:nvCxnSpPr>
          <p:cNvPr id="8" name="Straight Connector 7"/>
          <p:cNvCxnSpPr/>
          <p:nvPr userDrawn="1"/>
        </p:nvCxnSpPr>
        <p:spPr>
          <a:xfrm flipV="1">
            <a:off x="11205970" y="6205699"/>
            <a:ext cx="0" cy="357447"/>
          </a:xfrm>
          <a:prstGeom prst="line">
            <a:avLst/>
          </a:prstGeom>
          <a:ln w="127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609441" y="265115"/>
            <a:ext cx="10969943" cy="834252"/>
          </a:xfrm>
          <a:prstGeom prst="rect">
            <a:avLst/>
          </a:prstGeom>
        </p:spPr>
        <p:txBody>
          <a:bodyPr vert="horz" lIns="0" tIns="0" rIns="0" bIns="0" rtlCol="0" anchor="t" anchorCtr="0">
            <a:noAutofit/>
          </a:bodyPr>
          <a:lstStyle>
            <a:lvl1pPr algn="l">
              <a:defRPr sz="4266">
                <a:solidFill>
                  <a:srgbClr val="36C746"/>
                </a:solidFill>
                <a:latin typeface="Arial Rounded MT Std"/>
              </a:defRPr>
            </a:lvl1pPr>
          </a:lstStyle>
          <a:p>
            <a:r>
              <a:rPr lang="en-US" noProof="0" dirty="0"/>
              <a:t>Headline</a:t>
            </a:r>
            <a:br>
              <a:rPr lang="en-US" noProof="0" dirty="0"/>
            </a:br>
            <a:endParaRPr lang="en-US" noProof="0" dirty="0"/>
          </a:p>
        </p:txBody>
      </p:sp>
      <p:pic>
        <p:nvPicPr>
          <p:cNvPr id="7" name="Picture 6" descr="schneider_LIO_Life-Green_RGB.png"/>
          <p:cNvPicPr>
            <a:picLocks noChangeAspect="1"/>
          </p:cNvPicPr>
          <p:nvPr userDrawn="1"/>
        </p:nvPicPr>
        <p:blipFill>
          <a:blip r:embed="rId6" cstate="print"/>
          <a:stretch>
            <a:fillRect/>
          </a:stretch>
        </p:blipFill>
        <p:spPr>
          <a:xfrm>
            <a:off x="9420258" y="5993331"/>
            <a:ext cx="2721688" cy="750604"/>
          </a:xfrm>
          <a:prstGeom prst="rect">
            <a:avLst/>
          </a:prstGeom>
        </p:spPr>
      </p:pic>
      <p:sp>
        <p:nvSpPr>
          <p:cNvPr id="9" name="Slide Number Placeholder 1"/>
          <p:cNvSpPr>
            <a:spLocks noGrp="1"/>
          </p:cNvSpPr>
          <p:nvPr>
            <p:ph type="sldNum" sz="quarter" idx="4"/>
          </p:nvPr>
        </p:nvSpPr>
        <p:spPr>
          <a:xfrm>
            <a:off x="2329916" y="6476235"/>
            <a:ext cx="700737" cy="123111"/>
          </a:xfrm>
          <a:prstGeom prst="rect">
            <a:avLst/>
          </a:prstGeom>
        </p:spPr>
        <p:txBody>
          <a:bodyPr/>
          <a:lstStyle/>
          <a:p>
            <a:pPr defTabSz="609394">
              <a:defRPr/>
            </a:pPr>
            <a:r>
              <a:rPr lang="en-US" sz="800">
                <a:solidFill>
                  <a:srgbClr val="3DCD58"/>
                </a:solidFill>
                <a:latin typeface="Arial Rounded MT Std"/>
                <a:cs typeface="Arial"/>
              </a:rPr>
              <a:t>Page </a:t>
            </a:r>
            <a:fld id="{5A9C12DC-491F-9444-86A2-13AC5C62A2FC}" type="slidenum">
              <a:rPr lang="en-US" sz="800" smtClean="0">
                <a:solidFill>
                  <a:srgbClr val="3DCD58"/>
                </a:solidFill>
                <a:latin typeface="Arial Rounded MT Std"/>
                <a:cs typeface="Arial"/>
              </a:rPr>
              <a:pPr defTabSz="609394">
                <a:defRPr/>
              </a:pPr>
              <a:t>‹#›</a:t>
            </a:fld>
            <a:endParaRPr lang="en-US" sz="800" dirty="0">
              <a:solidFill>
                <a:srgbClr val="3DCD58"/>
              </a:solidFill>
              <a:latin typeface="Arial Rounded MT Std"/>
              <a:cs typeface="Arial"/>
            </a:endParaRPr>
          </a:p>
        </p:txBody>
      </p:sp>
      <p:sp>
        <p:nvSpPr>
          <p:cNvPr id="11" name="Footer Placeholder 2"/>
          <p:cNvSpPr>
            <a:spLocks noGrp="1"/>
          </p:cNvSpPr>
          <p:nvPr>
            <p:ph type="ftr" sz="quarter" idx="3"/>
          </p:nvPr>
        </p:nvSpPr>
        <p:spPr>
          <a:xfrm>
            <a:off x="336490" y="6476235"/>
            <a:ext cx="2279032" cy="123111"/>
          </a:xfrm>
          <a:prstGeom prst="rect">
            <a:avLst/>
          </a:prstGeom>
        </p:spPr>
        <p:txBody>
          <a:bodyPr/>
          <a:lstStyle>
            <a:lvl1pPr>
              <a:defRPr>
                <a:latin typeface="Arial Rounded MT Std"/>
              </a:defRPr>
            </a:lvl1pPr>
          </a:lstStyle>
          <a:p>
            <a:pPr defTabSz="609394">
              <a:defRPr/>
            </a:pPr>
            <a:r>
              <a:rPr lang="en-US" sz="800">
                <a:solidFill>
                  <a:srgbClr val="626469"/>
                </a:solidFill>
                <a:cs typeface="Arial"/>
              </a:rPr>
              <a:t>Confidential Property of Schneider Electric |</a:t>
            </a:r>
            <a:endParaRPr lang="en-US" sz="800" dirty="0">
              <a:solidFill>
                <a:srgbClr val="626469"/>
              </a:solidFill>
              <a:cs typeface="Arial"/>
            </a:endParaRPr>
          </a:p>
        </p:txBody>
      </p:sp>
    </p:spTree>
    <p:extLst>
      <p:ext uri="{BB962C8B-B14F-4D97-AF65-F5344CB8AC3E}">
        <p14:creationId xmlns:p14="http://schemas.microsoft.com/office/powerpoint/2010/main" val="379900381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43192" y="358073"/>
            <a:ext cx="11102471" cy="599931"/>
          </a:xfrm>
          <a:prstGeom prst="rect">
            <a:avLst/>
          </a:prstGeom>
        </p:spPr>
        <p:txBody>
          <a:bodyPr lIns="0" tIns="0" rIns="0" bIns="0"/>
          <a:lstStyle>
            <a:lvl1pPr>
              <a:defRPr sz="2299" b="1" i="0">
                <a:solidFill>
                  <a:schemeClr val="bg1"/>
                </a:solidFill>
                <a:latin typeface="Arial Rounded MT Std"/>
                <a:cs typeface="Arial"/>
              </a:defRPr>
            </a:lvl1pPr>
          </a:lstStyle>
          <a:p>
            <a:endParaRPr dirty="0"/>
          </a:p>
        </p:txBody>
      </p:sp>
      <p:sp>
        <p:nvSpPr>
          <p:cNvPr id="3" name="Holder 3"/>
          <p:cNvSpPr>
            <a:spLocks noGrp="1"/>
          </p:cNvSpPr>
          <p:nvPr>
            <p:ph type="body" idx="1"/>
          </p:nvPr>
        </p:nvSpPr>
        <p:spPr>
          <a:xfrm>
            <a:off x="522723" y="2383553"/>
            <a:ext cx="11143401" cy="3444787"/>
          </a:xfrm>
          <a:prstGeom prst="rect">
            <a:avLst/>
          </a:prstGeom>
        </p:spPr>
        <p:txBody>
          <a:bodyPr lIns="0" tIns="0" rIns="0" bIns="0"/>
          <a:lstStyle>
            <a:lvl1pPr>
              <a:defRPr sz="2299" b="1" i="0">
                <a:solidFill>
                  <a:schemeClr val="bg1"/>
                </a:solidFill>
                <a:latin typeface="Arial Rounded MT Std"/>
                <a:cs typeface="Arial"/>
              </a:defRPr>
            </a:lvl1pPr>
          </a:lstStyle>
          <a:p>
            <a:endParaRPr dirty="0"/>
          </a:p>
        </p:txBody>
      </p:sp>
      <p:sp>
        <p:nvSpPr>
          <p:cNvPr id="4" name="Holder 4"/>
          <p:cNvSpPr>
            <a:spLocks noGrp="1"/>
          </p:cNvSpPr>
          <p:nvPr>
            <p:ph type="ftr" sz="quarter" idx="5"/>
          </p:nvPr>
        </p:nvSpPr>
        <p:spPr>
          <a:xfrm>
            <a:off x="4144202" y="6377943"/>
            <a:ext cx="3900424" cy="342900"/>
          </a:xfrm>
          <a:prstGeom prst="rect">
            <a:avLst/>
          </a:prstGeom>
        </p:spPr>
        <p:txBody>
          <a:bodyPr lIns="0" tIns="0" rIns="0" bIns="0"/>
          <a:lstStyle>
            <a:lvl1pPr algn="ctr" defTabSz="608391">
              <a:defRPr sz="2399">
                <a:solidFill>
                  <a:prstClr val="black">
                    <a:tint val="75000"/>
                  </a:prstClr>
                </a:solidFill>
                <a:latin typeface="Arial Rounded MT Std"/>
              </a:defRPr>
            </a:lvl1pPr>
          </a:lstStyle>
          <a:p>
            <a:pPr>
              <a:defRPr/>
            </a:pPr>
            <a:endParaRPr lang="en-US" dirty="0"/>
          </a:p>
        </p:txBody>
      </p:sp>
      <p:sp>
        <p:nvSpPr>
          <p:cNvPr id="5" name="Holder 5"/>
          <p:cNvSpPr>
            <a:spLocks noGrp="1"/>
          </p:cNvSpPr>
          <p:nvPr>
            <p:ph type="dt" sz="half" idx="6"/>
          </p:nvPr>
        </p:nvSpPr>
        <p:spPr>
          <a:xfrm>
            <a:off x="609441" y="6377943"/>
            <a:ext cx="2803430" cy="342900"/>
          </a:xfrm>
          <a:prstGeom prst="rect">
            <a:avLst/>
          </a:prstGeom>
        </p:spPr>
        <p:txBody>
          <a:bodyPr lIns="0" tIns="0" rIns="0" bIns="0"/>
          <a:lstStyle>
            <a:lvl1pPr algn="l" defTabSz="608391">
              <a:defRPr>
                <a:solidFill>
                  <a:schemeClr val="tx1">
                    <a:tint val="75000"/>
                  </a:schemeClr>
                </a:solidFill>
                <a:latin typeface="Arial Rounded MT Std"/>
              </a:defRPr>
            </a:lvl1pPr>
          </a:lstStyle>
          <a:p>
            <a:pPr>
              <a:defRPr/>
            </a:pPr>
            <a:fld id="{1D8BD707-D9CF-40AE-B4C6-C98DA3205C09}" type="datetimeFigureOut">
              <a:rPr lang="en-US" smtClean="0">
                <a:solidFill>
                  <a:prstClr val="black">
                    <a:tint val="75000"/>
                  </a:prstClr>
                </a:solidFill>
              </a:rPr>
              <a:pPr>
                <a:defRPr/>
              </a:pPr>
              <a:t>2/27/2018</a:t>
            </a:fld>
            <a:endParaRPr lang="en-US" dirty="0">
              <a:solidFill>
                <a:prstClr val="black">
                  <a:tint val="75000"/>
                </a:prstClr>
              </a:solidFill>
            </a:endParaRPr>
          </a:p>
        </p:txBody>
      </p:sp>
      <p:sp>
        <p:nvSpPr>
          <p:cNvPr id="6" name="Holder 6"/>
          <p:cNvSpPr>
            <a:spLocks noGrp="1"/>
          </p:cNvSpPr>
          <p:nvPr>
            <p:ph type="sldNum" sz="quarter" idx="7"/>
          </p:nvPr>
        </p:nvSpPr>
        <p:spPr>
          <a:xfrm>
            <a:off x="8775955" y="6377943"/>
            <a:ext cx="2803430" cy="342900"/>
          </a:xfrm>
          <a:prstGeom prst="rect">
            <a:avLst/>
          </a:prstGeom>
        </p:spPr>
        <p:txBody>
          <a:bodyPr lIns="0" tIns="0" rIns="0" bIns="0"/>
          <a:lstStyle>
            <a:lvl1pPr algn="r" defTabSz="608391">
              <a:defRPr sz="2399">
                <a:solidFill>
                  <a:prstClr val="black">
                    <a:tint val="75000"/>
                  </a:prstClr>
                </a:solidFill>
                <a:latin typeface="Arial Rounded MT Std"/>
              </a:defRPr>
            </a:lvl1pPr>
          </a:lstStyle>
          <a:p>
            <a:pPr>
              <a:defRPr/>
            </a:pPr>
            <a:fld id="{B6F15528-21DE-4FAA-801E-634DDDAF4B2B}" type="slidenum">
              <a:rPr lang="en-US" smtClean="0"/>
              <a:pPr>
                <a:defRPr/>
              </a:pPr>
              <a:t>‹#›</a:t>
            </a:fld>
            <a:endParaRPr lang="en-US" dirty="0"/>
          </a:p>
        </p:txBody>
      </p:sp>
    </p:spTree>
    <p:extLst>
      <p:ext uri="{BB962C8B-B14F-4D97-AF65-F5344CB8AC3E}">
        <p14:creationId xmlns:p14="http://schemas.microsoft.com/office/powerpoint/2010/main" val="294205695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cSld name="1_Title Only">
    <p:spTree>
      <p:nvGrpSpPr>
        <p:cNvPr id="1" name=""/>
        <p:cNvGrpSpPr/>
        <p:nvPr/>
      </p:nvGrpSpPr>
      <p:grpSpPr>
        <a:xfrm>
          <a:off x="0" y="0"/>
          <a:ext cx="0" cy="0"/>
          <a:chOff x="0" y="0"/>
          <a:chExt cx="0" cy="0"/>
        </a:xfrm>
      </p:grpSpPr>
      <p:sp>
        <p:nvSpPr>
          <p:cNvPr id="2" name="Holder 2"/>
          <p:cNvSpPr>
            <a:spLocks noGrp="1"/>
          </p:cNvSpPr>
          <p:nvPr>
            <p:ph type="title"/>
          </p:nvPr>
        </p:nvSpPr>
        <p:spPr>
          <a:xfrm>
            <a:off x="575815" y="77512"/>
            <a:ext cx="11037200" cy="1151785"/>
          </a:xfrm>
          <a:prstGeom prst="rect">
            <a:avLst/>
          </a:prstGeom>
        </p:spPr>
        <p:txBody>
          <a:bodyPr lIns="0" tIns="0" rIns="0" bIns="0"/>
          <a:lstStyle>
            <a:lvl1pPr>
              <a:defRPr sz="3066" b="0" i="0">
                <a:solidFill>
                  <a:srgbClr val="3DCD58"/>
                </a:solidFill>
                <a:latin typeface="Arial Rounded MT Std"/>
                <a:cs typeface="Arial"/>
              </a:defRPr>
            </a:lvl1pPr>
          </a:lstStyle>
          <a:p>
            <a:endParaRPr dirty="0"/>
          </a:p>
        </p:txBody>
      </p:sp>
      <p:sp>
        <p:nvSpPr>
          <p:cNvPr id="3" name="Holder 3"/>
          <p:cNvSpPr>
            <a:spLocks noGrp="1"/>
          </p:cNvSpPr>
          <p:nvPr>
            <p:ph type="ftr" sz="quarter" idx="5"/>
          </p:nvPr>
        </p:nvSpPr>
        <p:spPr>
          <a:xfrm>
            <a:off x="4163935" y="6355741"/>
            <a:ext cx="3860958" cy="365843"/>
          </a:xfrm>
          <a:prstGeom prst="rect">
            <a:avLst/>
          </a:prstGeom>
        </p:spPr>
        <p:txBody>
          <a:bodyPr lIns="0" tIns="0" rIns="0" bIns="0"/>
          <a:lstStyle>
            <a:lvl1pPr algn="ctr">
              <a:defRPr>
                <a:solidFill>
                  <a:schemeClr val="tx1">
                    <a:tint val="75000"/>
                  </a:schemeClr>
                </a:solidFill>
                <a:latin typeface="Arial Rounded MT Std"/>
              </a:defRPr>
            </a:lvl1pPr>
          </a:lstStyle>
          <a:p>
            <a:endParaRPr lang="en-SG" dirty="0">
              <a:solidFill>
                <a:prstClr val="black">
                  <a:tint val="75000"/>
                </a:prstClr>
              </a:solidFill>
            </a:endParaRPr>
          </a:p>
        </p:txBody>
      </p:sp>
      <p:sp>
        <p:nvSpPr>
          <p:cNvPr id="4" name="Holder 4"/>
          <p:cNvSpPr>
            <a:spLocks noGrp="1"/>
          </p:cNvSpPr>
          <p:nvPr>
            <p:ph type="dt" sz="half" idx="6"/>
          </p:nvPr>
        </p:nvSpPr>
        <p:spPr>
          <a:xfrm>
            <a:off x="609441" y="6377943"/>
            <a:ext cx="2803430" cy="342900"/>
          </a:xfrm>
          <a:prstGeom prst="rect">
            <a:avLst/>
          </a:prstGeom>
        </p:spPr>
        <p:txBody>
          <a:bodyPr lIns="0" tIns="0" rIns="0" bIns="0"/>
          <a:lstStyle>
            <a:lvl1pPr algn="l">
              <a:defRPr>
                <a:solidFill>
                  <a:schemeClr val="tx1">
                    <a:tint val="75000"/>
                  </a:schemeClr>
                </a:solidFill>
                <a:latin typeface="Arial Rounded MT Std"/>
              </a:defRPr>
            </a:lvl1pPr>
          </a:lstStyle>
          <a:p>
            <a:fld id="{1D8BD707-D9CF-40AE-B4C6-C98DA3205C09}" type="datetimeFigureOut">
              <a:rPr lang="en-US" smtClean="0">
                <a:solidFill>
                  <a:prstClr val="black">
                    <a:tint val="75000"/>
                  </a:prstClr>
                </a:solidFill>
              </a:rPr>
              <a:pPr/>
              <a:t>2/27/2018</a:t>
            </a:fld>
            <a:endParaRPr lang="en-US" dirty="0">
              <a:solidFill>
                <a:prstClr val="black">
                  <a:tint val="75000"/>
                </a:prstClr>
              </a:solidFill>
            </a:endParaRPr>
          </a:p>
        </p:txBody>
      </p:sp>
      <p:sp>
        <p:nvSpPr>
          <p:cNvPr id="5" name="Holder 5"/>
          <p:cNvSpPr>
            <a:spLocks noGrp="1"/>
          </p:cNvSpPr>
          <p:nvPr>
            <p:ph type="sldNum" sz="quarter" idx="7"/>
          </p:nvPr>
        </p:nvSpPr>
        <p:spPr>
          <a:xfrm>
            <a:off x="8775955" y="6377943"/>
            <a:ext cx="2803430" cy="342900"/>
          </a:xfrm>
          <a:prstGeom prst="rect">
            <a:avLst/>
          </a:prstGeom>
        </p:spPr>
        <p:txBody>
          <a:bodyPr lIns="0" tIns="0" rIns="0" bIns="0"/>
          <a:lstStyle>
            <a:lvl1pPr algn="r">
              <a:defRPr>
                <a:solidFill>
                  <a:schemeClr val="tx1">
                    <a:tint val="75000"/>
                  </a:schemeClr>
                </a:solidFill>
                <a:latin typeface="Arial Rounded MT Std"/>
              </a:defRPr>
            </a:lvl1pPr>
          </a:lstStyle>
          <a:p>
            <a:fld id="{B6F15528-21DE-4FAA-801E-634DDDAF4B2B}" type="slidenum">
              <a:rPr lang="en-SG" smtClean="0">
                <a:solidFill>
                  <a:prstClr val="black">
                    <a:tint val="75000"/>
                  </a:prstClr>
                </a:solidFill>
              </a:rPr>
              <a:pPr/>
              <a:t>‹#›</a:t>
            </a:fld>
            <a:endParaRPr lang="en-SG" dirty="0">
              <a:solidFill>
                <a:prstClr val="black">
                  <a:tint val="75000"/>
                </a:prstClr>
              </a:solidFill>
            </a:endParaRPr>
          </a:p>
        </p:txBody>
      </p:sp>
    </p:spTree>
    <p:extLst>
      <p:ext uri="{BB962C8B-B14F-4D97-AF65-F5344CB8AC3E}">
        <p14:creationId xmlns:p14="http://schemas.microsoft.com/office/powerpoint/2010/main" val="40987369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orizontal Split Page Spruce Green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9530"/>
                </a:solidFill>
              </a:defRPr>
            </a:lvl1pPr>
          </a:lstStyle>
          <a:p>
            <a:r>
              <a:rPr lang="en-US" dirty="0"/>
              <a:t>Click to edit Master title style</a:t>
            </a:r>
            <a:endParaRPr lang="en-US" noProof="0" dirty="0"/>
          </a:p>
        </p:txBody>
      </p:sp>
      <p:sp>
        <p:nvSpPr>
          <p:cNvPr id="3" name="Content Placeholder 2"/>
          <p:cNvSpPr>
            <a:spLocks noGrp="1"/>
          </p:cNvSpPr>
          <p:nvPr>
            <p:ph idx="1"/>
          </p:nvPr>
        </p:nvSpPr>
        <p:spPr>
          <a:xfrm>
            <a:off x="609441" y="1509723"/>
            <a:ext cx="10969943" cy="3057525"/>
          </a:xfrm>
          <a:prstGeom prst="rect">
            <a:avLst/>
          </a:prstGeom>
        </p:spPr>
        <p:txBody>
          <a:bodyPr/>
          <a:lstStyle>
            <a:lvl1pPr>
              <a:buFont typeface="Arial" pitchFamily="34" charset="0"/>
              <a:buChar char="&gt;"/>
              <a:defRPr/>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4" name="TextBox 3"/>
          <p:cNvSpPr txBox="1"/>
          <p:nvPr userDrawn="1"/>
        </p:nvSpPr>
        <p:spPr>
          <a:xfrm>
            <a:off x="473081" y="6340063"/>
            <a:ext cx="2839902" cy="215444"/>
          </a:xfrm>
          <a:prstGeom prst="rect">
            <a:avLst/>
          </a:prstGeom>
          <a:noFill/>
        </p:spPr>
        <p:txBody>
          <a:bodyPr wrap="square" lIns="91432" tIns="45717" rIns="91432" bIns="45717" rtlCol="0">
            <a:spAutoFit/>
          </a:bodyPr>
          <a:lstStyle/>
          <a:p>
            <a:r>
              <a:rPr lang="en-US" sz="800" dirty="0">
                <a:solidFill>
                  <a:srgbClr val="626469"/>
                </a:solidFill>
                <a:latin typeface="Arial" pitchFamily="34" charset="0"/>
                <a:cs typeface="Arial" pitchFamily="34" charset="0"/>
              </a:rPr>
              <a:t>Confidential Property of Schneider Electric</a:t>
            </a:r>
          </a:p>
        </p:txBody>
      </p:sp>
      <p:sp>
        <p:nvSpPr>
          <p:cNvPr id="6" name="Rectangle 5"/>
          <p:cNvSpPr/>
          <p:nvPr userDrawn="1"/>
        </p:nvSpPr>
        <p:spPr>
          <a:xfrm>
            <a:off x="0" y="4567239"/>
            <a:ext cx="12188825" cy="23034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p>
        </p:txBody>
      </p:sp>
      <p:sp>
        <p:nvSpPr>
          <p:cNvPr id="9"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
        <p:nvSpPr>
          <p:cNvPr id="13" name="Content Placeholder 2"/>
          <p:cNvSpPr>
            <a:spLocks noGrp="1"/>
          </p:cNvSpPr>
          <p:nvPr>
            <p:ph sz="half" idx="10"/>
          </p:nvPr>
        </p:nvSpPr>
        <p:spPr>
          <a:xfrm>
            <a:off x="609441" y="4567248"/>
            <a:ext cx="10969943" cy="1643781"/>
          </a:xfrm>
        </p:spPr>
        <p:txBody>
          <a:bodyPr rIns="0">
            <a:noAutofit/>
          </a:bodyPr>
          <a:lstStyle>
            <a:lvl1pPr marL="0" indent="0" algn="l">
              <a:buNone/>
              <a:defRPr sz="2300">
                <a:solidFill>
                  <a:srgbClr val="FFFFFF"/>
                </a:solidFill>
              </a:defRPr>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dirty="0"/>
              <a:t>Click to edit Master text styles</a:t>
            </a:r>
          </a:p>
        </p:txBody>
      </p:sp>
      <p:sp>
        <p:nvSpPr>
          <p:cNvPr id="10" name="TextBox 9"/>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chemeClr val="bg1"/>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14063633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12188825" cy="6858000"/>
          </a:xfrm>
          <a:prstGeom prst="rect">
            <a:avLst/>
          </a:prstGeom>
          <a:solidFill>
            <a:srgbClr val="8E8F93">
              <a:alpha val="20000"/>
            </a:srgbClr>
          </a:solidFill>
        </p:spPr>
        <p:txBody>
          <a:bodyPr lIns="91328" tIns="45664" rIns="91328" bIns="45664"/>
          <a:lstStyle>
            <a:lvl1pPr marL="0" indent="0">
              <a:buNone/>
              <a:defRPr sz="1466">
                <a:solidFill>
                  <a:schemeClr val="accent2">
                    <a:lumMod val="60000"/>
                    <a:lumOff val="40000"/>
                  </a:schemeClr>
                </a:solidFill>
                <a:latin typeface="Arial Rounded MT Std"/>
              </a:defRPr>
            </a:lvl1pPr>
          </a:lstStyle>
          <a:p>
            <a:r>
              <a:rPr lang="en-GB" dirty="0"/>
              <a:t>Drag Your Image Here</a:t>
            </a:r>
          </a:p>
        </p:txBody>
      </p:sp>
      <p:sp>
        <p:nvSpPr>
          <p:cNvPr id="8" name="Title 1"/>
          <p:cNvSpPr>
            <a:spLocks noGrp="1"/>
          </p:cNvSpPr>
          <p:nvPr>
            <p:ph type="ctrTitle" hasCustomPrompt="1"/>
          </p:nvPr>
        </p:nvSpPr>
        <p:spPr>
          <a:xfrm>
            <a:off x="336466" y="2628325"/>
            <a:ext cx="11562151" cy="738664"/>
          </a:xfrm>
          <a:prstGeom prst="rect">
            <a:avLst/>
          </a:prstGeom>
        </p:spPr>
        <p:txBody>
          <a:bodyPr lIns="0" tIns="0" rIns="0" bIns="0" anchor="ctr" anchorCtr="0">
            <a:spAutoFit/>
          </a:bodyPr>
          <a:lstStyle>
            <a:lvl1pPr marL="0" indent="0" algn="l">
              <a:buFont typeface="Arial"/>
              <a:buNone/>
              <a:defRPr sz="4799">
                <a:solidFill>
                  <a:schemeClr val="tx2"/>
                </a:solidFill>
                <a:latin typeface="Arial Rounded MT Std"/>
              </a:defRPr>
            </a:lvl1pPr>
          </a:lstStyle>
          <a:p>
            <a:r>
              <a:rPr lang="en-GB" dirty="0"/>
              <a:t>Click To Edit Master Title Style</a:t>
            </a:r>
          </a:p>
        </p:txBody>
      </p:sp>
      <p:sp>
        <p:nvSpPr>
          <p:cNvPr id="9" name="Subtitle 2"/>
          <p:cNvSpPr>
            <a:spLocks noGrp="1"/>
          </p:cNvSpPr>
          <p:nvPr>
            <p:ph type="subTitle" idx="1" hasCustomPrompt="1"/>
          </p:nvPr>
        </p:nvSpPr>
        <p:spPr>
          <a:xfrm>
            <a:off x="336466" y="3421689"/>
            <a:ext cx="11562151" cy="415499"/>
          </a:xfrm>
          <a:prstGeom prst="rect">
            <a:avLst/>
          </a:prstGeom>
        </p:spPr>
        <p:txBody>
          <a:bodyPr lIns="0" tIns="0" rIns="0" bIns="0">
            <a:spAutoFit/>
          </a:bodyPr>
          <a:lstStyle>
            <a:lvl1pPr marL="0" indent="0" algn="l">
              <a:buNone/>
              <a:defRPr sz="2666" baseline="0">
                <a:solidFill>
                  <a:schemeClr val="tx1">
                    <a:tint val="75000"/>
                  </a:schemeClr>
                </a:solidFill>
                <a:latin typeface="Arial Rounded MT Std"/>
              </a:defRPr>
            </a:lvl1pPr>
            <a:lvl2pPr marL="608722" indent="0" algn="ctr">
              <a:buNone/>
              <a:defRPr>
                <a:solidFill>
                  <a:schemeClr val="tx1">
                    <a:tint val="75000"/>
                  </a:schemeClr>
                </a:solidFill>
              </a:defRPr>
            </a:lvl2pPr>
            <a:lvl3pPr marL="1217446" indent="0" algn="ctr">
              <a:buNone/>
              <a:defRPr>
                <a:solidFill>
                  <a:schemeClr val="tx1">
                    <a:tint val="75000"/>
                  </a:schemeClr>
                </a:solidFill>
              </a:defRPr>
            </a:lvl3pPr>
            <a:lvl4pPr marL="1826170" indent="0" algn="ctr">
              <a:buNone/>
              <a:defRPr>
                <a:solidFill>
                  <a:schemeClr val="tx1">
                    <a:tint val="75000"/>
                  </a:schemeClr>
                </a:solidFill>
              </a:defRPr>
            </a:lvl4pPr>
            <a:lvl5pPr marL="2434887" indent="0" algn="ctr">
              <a:buNone/>
              <a:defRPr>
                <a:solidFill>
                  <a:schemeClr val="tx1">
                    <a:tint val="75000"/>
                  </a:schemeClr>
                </a:solidFill>
              </a:defRPr>
            </a:lvl5pPr>
            <a:lvl6pPr marL="3043599" indent="0" algn="ctr">
              <a:buNone/>
              <a:defRPr>
                <a:solidFill>
                  <a:schemeClr val="tx1">
                    <a:tint val="75000"/>
                  </a:schemeClr>
                </a:solidFill>
              </a:defRPr>
            </a:lvl6pPr>
            <a:lvl7pPr marL="3652337" indent="0" algn="ctr">
              <a:buNone/>
              <a:defRPr>
                <a:solidFill>
                  <a:schemeClr val="tx1">
                    <a:tint val="75000"/>
                  </a:schemeClr>
                </a:solidFill>
              </a:defRPr>
            </a:lvl7pPr>
            <a:lvl8pPr marL="4261046" indent="0" algn="ctr">
              <a:buNone/>
              <a:defRPr>
                <a:solidFill>
                  <a:schemeClr val="tx1">
                    <a:tint val="75000"/>
                  </a:schemeClr>
                </a:solidFill>
              </a:defRPr>
            </a:lvl8pPr>
            <a:lvl9pPr marL="4869758" indent="0" algn="ctr">
              <a:buNone/>
              <a:defRPr>
                <a:solidFill>
                  <a:schemeClr val="tx1">
                    <a:tint val="75000"/>
                  </a:schemeClr>
                </a:solidFill>
              </a:defRPr>
            </a:lvl9pPr>
          </a:lstStyle>
          <a:p>
            <a:r>
              <a:rPr lang="en-GB" dirty="0"/>
              <a:t>Click to Edit Optional Subtitle</a:t>
            </a:r>
          </a:p>
        </p:txBody>
      </p:sp>
      <p:sp>
        <p:nvSpPr>
          <p:cNvPr id="12" name="Text Placeholder 13"/>
          <p:cNvSpPr>
            <a:spLocks noGrp="1"/>
          </p:cNvSpPr>
          <p:nvPr>
            <p:ph type="body" sz="quarter" idx="11" hasCustomPrompt="1"/>
          </p:nvPr>
        </p:nvSpPr>
        <p:spPr>
          <a:xfrm>
            <a:off x="336466" y="5272340"/>
            <a:ext cx="5812968" cy="246221"/>
          </a:xfrm>
          <a:prstGeom prst="rect">
            <a:avLst/>
          </a:prstGeom>
        </p:spPr>
        <p:txBody>
          <a:bodyPr lIns="0" tIns="0" rIns="0" bIns="0" anchor="ctr" anchorCtr="0">
            <a:spAutoFit/>
          </a:bodyPr>
          <a:lstStyle>
            <a:lvl1pPr marL="0" indent="0">
              <a:buNone/>
              <a:defRPr sz="1600">
                <a:solidFill>
                  <a:schemeClr val="bg1"/>
                </a:solidFill>
                <a:latin typeface="Arial Rounded MT Std"/>
              </a:defRPr>
            </a:lvl1pPr>
          </a:lstStyle>
          <a:p>
            <a:pPr lvl="0"/>
            <a:r>
              <a:rPr lang="en-GB" dirty="0"/>
              <a:t>Presented by:</a:t>
            </a:r>
          </a:p>
        </p:txBody>
      </p:sp>
      <p:sp>
        <p:nvSpPr>
          <p:cNvPr id="18" name="Footer Placeholder 4"/>
          <p:cNvSpPr>
            <a:spLocks noGrp="1"/>
          </p:cNvSpPr>
          <p:nvPr>
            <p:ph type="ftr" sz="quarter" idx="3"/>
          </p:nvPr>
        </p:nvSpPr>
        <p:spPr>
          <a:xfrm>
            <a:off x="336468" y="6476245"/>
            <a:ext cx="2006852" cy="123111"/>
          </a:xfrm>
          <a:prstGeom prst="rect">
            <a:avLst/>
          </a:prstGeom>
        </p:spPr>
        <p:txBody>
          <a:bodyPr vert="horz" wrap="square" lIns="0" tIns="0" rIns="0" bIns="0" rtlCol="0" anchor="ctr">
            <a:spAutoFit/>
          </a:bodyPr>
          <a:lstStyle>
            <a:lvl1pPr algn="l">
              <a:defRPr sz="800">
                <a:solidFill>
                  <a:srgbClr val="4F5156"/>
                </a:solidFill>
                <a:latin typeface="Arial Rounded MT Std"/>
                <a:cs typeface="Arial"/>
              </a:defRPr>
            </a:lvl1pPr>
          </a:lstStyle>
          <a:p>
            <a:pPr defTabSz="609410">
              <a:defRPr/>
            </a:pPr>
            <a:r>
              <a:rPr lang="en-GB"/>
              <a:t>Confidential Property of Schneider Electric |</a:t>
            </a:r>
            <a:endParaRPr lang="en-GB" dirty="0"/>
          </a:p>
        </p:txBody>
      </p:sp>
    </p:spTree>
    <p:extLst>
      <p:ext uri="{BB962C8B-B14F-4D97-AF65-F5344CB8AC3E}">
        <p14:creationId xmlns:p14="http://schemas.microsoft.com/office/powerpoint/2010/main" val="108010749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343990" y="306922"/>
            <a:ext cx="11508377" cy="410369"/>
          </a:xfrm>
        </p:spPr>
        <p:txBody>
          <a:bodyPr>
            <a:spAutoFit/>
          </a:bodyPr>
          <a:lstStyle>
            <a:lvl1pPr>
              <a:defRPr sz="2666"/>
            </a:lvl1pPr>
          </a:lstStyle>
          <a:p>
            <a:r>
              <a:rPr lang="en-US" dirty="0"/>
              <a:t>Click To Edit Master Title Style</a:t>
            </a:r>
          </a:p>
        </p:txBody>
      </p:sp>
      <p:sp>
        <p:nvSpPr>
          <p:cNvPr id="20" name="Text Placeholder 11"/>
          <p:cNvSpPr>
            <a:spLocks noGrp="1"/>
          </p:cNvSpPr>
          <p:nvPr>
            <p:ph type="body" sz="quarter" idx="13" hasCustomPrompt="1"/>
          </p:nvPr>
        </p:nvSpPr>
        <p:spPr>
          <a:xfrm>
            <a:off x="336468" y="5421739"/>
            <a:ext cx="7438144" cy="164148"/>
          </a:xfrm>
          <a:prstGeom prst="rect">
            <a:avLst/>
          </a:prstGeom>
        </p:spPr>
        <p:txBody>
          <a:bodyPr lIns="0" tIns="0" rIns="0" bIns="0" anchor="b" anchorCtr="0">
            <a:spAutoFit/>
          </a:bodyPr>
          <a:lstStyle>
            <a:lvl1pPr marL="21156" indent="0">
              <a:buNone/>
              <a:defRPr sz="1066"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343988" y="806584"/>
            <a:ext cx="11508377" cy="225703"/>
          </a:xfrm>
          <a:prstGeom prst="rect">
            <a:avLst/>
          </a:prstGeom>
        </p:spPr>
        <p:txBody>
          <a:bodyPr lIns="0" tIns="0" rIns="0" bIns="0" anchor="t">
            <a:spAutoFit/>
          </a:bodyPr>
          <a:lstStyle>
            <a:lvl1pPr marL="0" indent="0">
              <a:spcBef>
                <a:spcPts val="0"/>
              </a:spcBef>
              <a:spcAft>
                <a:spcPts val="0"/>
              </a:spcAft>
              <a:buNone/>
              <a:defRPr sz="1466" b="0" baseline="0">
                <a:solidFill>
                  <a:schemeClr val="accent6"/>
                </a:solidFill>
              </a:defRPr>
            </a:lvl1pPr>
            <a:lvl2pPr marL="609266" indent="0">
              <a:buNone/>
              <a:defRPr sz="2666" b="1"/>
            </a:lvl2pPr>
            <a:lvl3pPr marL="1218530" indent="0">
              <a:buNone/>
              <a:defRPr sz="2398" b="1"/>
            </a:lvl3pPr>
            <a:lvl4pPr marL="1827795" indent="0">
              <a:buNone/>
              <a:defRPr sz="2133" b="1"/>
            </a:lvl4pPr>
            <a:lvl5pPr marL="2437061" indent="0">
              <a:buNone/>
              <a:defRPr sz="2133" b="1"/>
            </a:lvl5pPr>
            <a:lvl6pPr marL="3046325" indent="0">
              <a:buNone/>
              <a:defRPr sz="2133" b="1"/>
            </a:lvl6pPr>
            <a:lvl7pPr marL="3655589" indent="0">
              <a:buNone/>
              <a:defRPr sz="2133" b="1"/>
            </a:lvl7pPr>
            <a:lvl8pPr marL="4264854" indent="0">
              <a:buNone/>
              <a:defRPr sz="2133" b="1"/>
            </a:lvl8pPr>
            <a:lvl9pPr marL="4874118" indent="0">
              <a:buNone/>
              <a:defRPr sz="2133" b="1"/>
            </a:lvl9pPr>
          </a:lstStyle>
          <a:p>
            <a:pPr lvl="0"/>
            <a:r>
              <a:rPr lang="en-US" dirty="0"/>
              <a:t>Click To Edit Master Text Styles</a:t>
            </a:r>
          </a:p>
        </p:txBody>
      </p:sp>
      <p:sp>
        <p:nvSpPr>
          <p:cNvPr id="4" name="Content Placeholder 3"/>
          <p:cNvSpPr>
            <a:spLocks noGrp="1"/>
          </p:cNvSpPr>
          <p:nvPr>
            <p:ph sz="quarter" idx="17"/>
          </p:nvPr>
        </p:nvSpPr>
        <p:spPr>
          <a:xfrm>
            <a:off x="336466" y="1604439"/>
            <a:ext cx="7438145" cy="1907959"/>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29916" y="6476211"/>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0" name="Footer Placeholder 4"/>
          <p:cNvSpPr>
            <a:spLocks noGrp="1"/>
          </p:cNvSpPr>
          <p:nvPr>
            <p:ph type="ftr" sz="quarter" idx="3"/>
          </p:nvPr>
        </p:nvSpPr>
        <p:spPr>
          <a:xfrm>
            <a:off x="336468" y="6476210"/>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Tree>
    <p:extLst>
      <p:ext uri="{BB962C8B-B14F-4D97-AF65-F5344CB8AC3E}">
        <p14:creationId xmlns:p14="http://schemas.microsoft.com/office/powerpoint/2010/main" val="23227749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ransitio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2436823"/>
            <a:ext cx="10969943" cy="1255711"/>
          </a:xfrm>
        </p:spPr>
        <p:txBody>
          <a:bodyPr anchor="b" anchorCtr="0">
            <a:normAutofit/>
          </a:bodyPr>
          <a:lstStyle>
            <a:lvl1pPr>
              <a:defRPr>
                <a:solidFill>
                  <a:srgbClr val="FFFFFF"/>
                </a:solidFill>
              </a:defRPr>
            </a:lvl1pPr>
          </a:lstStyle>
          <a:p>
            <a:r>
              <a:rPr lang="en-US" dirty="0"/>
              <a:t>Transition Slide Headline</a:t>
            </a:r>
          </a:p>
        </p:txBody>
      </p:sp>
      <p:pic>
        <p:nvPicPr>
          <p:cNvPr id="5" name="Picture 23" descr="C:\Users\Kurt\Desktop\Untitled-1cc.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10073504" y="6132083"/>
            <a:ext cx="1131079" cy="336983"/>
          </a:xfrm>
          <a:prstGeom prst="rect">
            <a:avLst/>
          </a:prstGeom>
          <a:noFill/>
        </p:spPr>
      </p:pic>
      <p:sp>
        <p:nvSpPr>
          <p:cNvPr id="7" name="Text Placeholder 6"/>
          <p:cNvSpPr>
            <a:spLocks noGrp="1"/>
          </p:cNvSpPr>
          <p:nvPr>
            <p:ph type="body" sz="quarter" idx="10" hasCustomPrompt="1"/>
          </p:nvPr>
        </p:nvSpPr>
        <p:spPr>
          <a:xfrm>
            <a:off x="603248" y="3765551"/>
            <a:ext cx="10972800" cy="1228724"/>
          </a:xfrm>
        </p:spPr>
        <p:txBody>
          <a:bodyPr rIns="0">
            <a:noAutofit/>
          </a:bodyPr>
          <a:lstStyle>
            <a:lvl1pPr marL="0" indent="0" algn="l">
              <a:buNone/>
              <a:defRPr sz="230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necessary</a:t>
            </a:r>
          </a:p>
        </p:txBody>
      </p:sp>
      <p:sp>
        <p:nvSpPr>
          <p:cNvPr id="11" name="Freeform 10"/>
          <p:cNvSpPr/>
          <p:nvPr userDrawn="1"/>
        </p:nvSpPr>
        <p:spPr>
          <a:xfrm>
            <a:off x="11289034" y="6252907"/>
            <a:ext cx="45719" cy="21615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chemeClr val="bg1"/>
            </a:solidFill>
            <a:prstDash val="solid"/>
          </a:ln>
          <a:effectLst/>
        </p:spPr>
        <p:txBody>
          <a:bodyPr lIns="91432" tIns="45717" rIns="91432" bIns="45717" rtlCol="0" anchor="ctr"/>
          <a:lstStyle/>
          <a:p>
            <a:pPr marL="0" marR="0" lvl="0" indent="0" algn="ctr" defTabSz="121888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a:endParaRPr>
          </a:p>
        </p:txBody>
      </p:sp>
      <p:sp>
        <p:nvSpPr>
          <p:cNvPr id="12"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4010383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arge Object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74"/>
            <a:ext cx="10969943" cy="1095375"/>
          </a:xfrm>
        </p:spPr>
        <p:txBody>
          <a:bodyPr>
            <a:noAutofit/>
          </a:bodyPr>
          <a:lstStyle>
            <a:lvl1pPr>
              <a:defRPr>
                <a:solidFill>
                  <a:srgbClr val="FFFFFF"/>
                </a:solidFill>
              </a:defRPr>
            </a:lvl1pPr>
          </a:lstStyle>
          <a:p>
            <a:r>
              <a:rPr lang="en-US" dirty="0"/>
              <a:t>Click to edit Master title style</a:t>
            </a:r>
          </a:p>
        </p:txBody>
      </p:sp>
      <p:sp>
        <p:nvSpPr>
          <p:cNvPr id="3" name="Content Placeholder 2"/>
          <p:cNvSpPr>
            <a:spLocks noGrp="1"/>
          </p:cNvSpPr>
          <p:nvPr>
            <p:ph sz="half" idx="1"/>
          </p:nvPr>
        </p:nvSpPr>
        <p:spPr>
          <a:xfrm>
            <a:off x="609441" y="1509713"/>
            <a:ext cx="10969943" cy="4701307"/>
          </a:xfrm>
        </p:spPr>
        <p:txBody>
          <a:bodyPr rIns="0">
            <a:noAutofit/>
          </a:bodyPr>
          <a:lstStyle>
            <a:lvl1pPr marL="0" indent="0" algn="l">
              <a:buNone/>
              <a:defRPr sz="2300">
                <a:solidFill>
                  <a:srgbClr val="FFFFFF"/>
                </a:solidFill>
              </a:defRPr>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dirty="0"/>
              <a:t>Click to edit Master text styles</a:t>
            </a:r>
          </a:p>
        </p:txBody>
      </p:sp>
      <p:sp>
        <p:nvSpPr>
          <p:cNvPr id="6" name="TextBox 5"/>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chemeClr val="bg1"/>
                </a:solidFill>
                <a:latin typeface="Arial" pitchFamily="34" charset="0"/>
                <a:cs typeface="Arial" pitchFamily="34" charset="0"/>
              </a:rPr>
              <a:t>Confidential Property of Schneider Electric</a:t>
            </a:r>
          </a:p>
        </p:txBody>
      </p:sp>
      <p:sp>
        <p:nvSpPr>
          <p:cNvPr id="8"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1462071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plit Page Spruce Green">
    <p:bg>
      <p:bgPr>
        <a:solidFill>
          <a:srgbClr val="009530"/>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08019" y="261941"/>
            <a:ext cx="5175249" cy="1271587"/>
          </a:xfrm>
        </p:spPr>
        <p:txBody>
          <a:bodyPr anchor="t" anchorCtr="0"/>
          <a:lstStyle>
            <a:lvl1pPr algn="l">
              <a:defRPr>
                <a:solidFill>
                  <a:schemeClr val="bg1"/>
                </a:solidFill>
              </a:defRPr>
            </a:lvl1pPr>
          </a:lstStyle>
          <a:p>
            <a:r>
              <a:rPr lang="en-US" dirty="0"/>
              <a:t>Click to edit title</a:t>
            </a:r>
          </a:p>
        </p:txBody>
      </p:sp>
      <p:sp>
        <p:nvSpPr>
          <p:cNvPr id="3" name="Rectangle 2"/>
          <p:cNvSpPr/>
          <p:nvPr userDrawn="1"/>
        </p:nvSpPr>
        <p:spPr>
          <a:xfrm>
            <a:off x="6094412" y="0"/>
            <a:ext cx="6094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p>
        </p:txBody>
      </p:sp>
      <p:sp>
        <p:nvSpPr>
          <p:cNvPr id="15" name="Content Placeholder 14"/>
          <p:cNvSpPr>
            <a:spLocks noGrp="1"/>
          </p:cNvSpPr>
          <p:nvPr>
            <p:ph sz="quarter" idx="12" hasCustomPrompt="1"/>
          </p:nvPr>
        </p:nvSpPr>
        <p:spPr>
          <a:xfrm>
            <a:off x="6094411" y="0"/>
            <a:ext cx="6094413" cy="6858000"/>
          </a:xfrm>
        </p:spPr>
        <p:txBody>
          <a:bodyPr lIns="274296" tIns="1691499" anchor="t" anchorCtr="0">
            <a:noAutofit/>
          </a:bodyPr>
          <a:lstStyle>
            <a:lvl1pPr>
              <a:buClr>
                <a:srgbClr val="009530"/>
              </a:buClr>
              <a:buFont typeface="Arial" pitchFamily="34" charset="0"/>
              <a:buChar char="&gt;"/>
              <a:defRPr sz="2000">
                <a:solidFill>
                  <a:srgbClr val="009530"/>
                </a:solidFill>
              </a:defRPr>
            </a:lvl1pPr>
            <a:lvl2pPr marL="461923" indent="-222232">
              <a:buClr>
                <a:srgbClr val="626469"/>
              </a:buClr>
              <a:buFont typeface="SE Rounded Medium" pitchFamily="50" charset="0"/>
              <a:buChar char="&gt;"/>
              <a:defRPr sz="1900">
                <a:solidFill>
                  <a:srgbClr val="626469"/>
                </a:solidFill>
              </a:defRPr>
            </a:lvl2pPr>
            <a:lvl3pPr marL="685744" marR="0" indent="-217470" algn="l" defTabSz="914323" rtl="0" eaLnBrk="1" fontAlgn="auto" latinLnBrk="0" hangingPunct="1">
              <a:lnSpc>
                <a:spcPct val="100000"/>
              </a:lnSpc>
              <a:spcBef>
                <a:spcPct val="20000"/>
              </a:spcBef>
              <a:spcAft>
                <a:spcPts val="0"/>
              </a:spcAft>
              <a:buClr>
                <a:srgbClr val="626469"/>
              </a:buClr>
              <a:buSzTx/>
              <a:buFont typeface="Arial" pitchFamily="34" charset="0"/>
              <a:buChar char="-"/>
              <a:tabLst/>
              <a:defRPr sz="1600">
                <a:solidFill>
                  <a:srgbClr val="626469"/>
                </a:solidFill>
              </a:defRPr>
            </a:lvl3pPr>
            <a:lvl4pPr marL="914323" indent="-228581">
              <a:buClr>
                <a:srgbClr val="626469"/>
              </a:buClr>
              <a:buFont typeface="Arial" pitchFamily="34" charset="0"/>
              <a:buChar char="-"/>
              <a:defRPr sz="1500">
                <a:solidFill>
                  <a:srgbClr val="626469"/>
                </a:solidFill>
              </a:defRPr>
            </a:lvl4pPr>
            <a:lvl5pPr>
              <a:defRPr sz="2000">
                <a:solidFill>
                  <a:schemeClr val="bg1"/>
                </a:solidFill>
              </a:defRPr>
            </a:lvl5pPr>
          </a:lstStyle>
          <a:p>
            <a:pPr lvl="0"/>
            <a:r>
              <a:rPr lang="en-US" dirty="0"/>
              <a:t>Paragraph, bullets or photography can be used here.</a:t>
            </a:r>
          </a:p>
          <a:p>
            <a:pPr lvl="1"/>
            <a:r>
              <a:rPr lang="en-US" dirty="0"/>
              <a:t>Bullet</a:t>
            </a:r>
          </a:p>
          <a:p>
            <a:pPr lvl="2"/>
            <a:r>
              <a:rPr lang="en-US" dirty="0"/>
              <a:t>Second level</a:t>
            </a:r>
          </a:p>
          <a:p>
            <a:pPr lvl="3"/>
            <a:r>
              <a:rPr lang="en-US" dirty="0"/>
              <a:t>Third level</a:t>
            </a:r>
          </a:p>
        </p:txBody>
      </p:sp>
      <p:sp>
        <p:nvSpPr>
          <p:cNvPr id="10" name="Text Placeholder 11"/>
          <p:cNvSpPr>
            <a:spLocks noGrp="1"/>
          </p:cNvSpPr>
          <p:nvPr>
            <p:ph type="body" sz="quarter" idx="15" hasCustomPrompt="1"/>
          </p:nvPr>
        </p:nvSpPr>
        <p:spPr>
          <a:xfrm>
            <a:off x="608323" y="1630363"/>
            <a:ext cx="5186057" cy="4421188"/>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9" name="TextBox 8"/>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626469"/>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626469"/>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1610325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plit Page with Caption Spruce Green">
    <p:bg>
      <p:bgPr>
        <a:solidFill>
          <a:srgbClr val="009530"/>
        </a:solidFill>
        <a:effectLst/>
      </p:bgPr>
    </p:bg>
    <p:spTree>
      <p:nvGrpSpPr>
        <p:cNvPr id="1" name=""/>
        <p:cNvGrpSpPr/>
        <p:nvPr/>
      </p:nvGrpSpPr>
      <p:grpSpPr>
        <a:xfrm>
          <a:off x="0" y="0"/>
          <a:ext cx="0" cy="0"/>
          <a:chOff x="0" y="0"/>
          <a:chExt cx="0" cy="0"/>
        </a:xfrm>
      </p:grpSpPr>
      <p:sp>
        <p:nvSpPr>
          <p:cNvPr id="10" name="Rectangle 9"/>
          <p:cNvSpPr/>
          <p:nvPr userDrawn="1"/>
        </p:nvSpPr>
        <p:spPr>
          <a:xfrm>
            <a:off x="6056313" y="5434376"/>
            <a:ext cx="6132512" cy="144938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p>
        </p:txBody>
      </p:sp>
      <p:sp>
        <p:nvSpPr>
          <p:cNvPr id="12" name="Text Placeholder 11"/>
          <p:cNvSpPr>
            <a:spLocks noGrp="1"/>
          </p:cNvSpPr>
          <p:nvPr>
            <p:ph type="body" sz="quarter" idx="15" hasCustomPrompt="1"/>
          </p:nvPr>
        </p:nvSpPr>
        <p:spPr>
          <a:xfrm>
            <a:off x="608014" y="1630369"/>
            <a:ext cx="5186362" cy="4421187"/>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3" name="Picture Placeholder 12"/>
          <p:cNvSpPr>
            <a:spLocks noGrp="1"/>
          </p:cNvSpPr>
          <p:nvPr>
            <p:ph type="pic" sz="quarter" idx="16" hasCustomPrompt="1"/>
          </p:nvPr>
        </p:nvSpPr>
        <p:spPr>
          <a:xfrm>
            <a:off x="6056313" y="8"/>
            <a:ext cx="6132512" cy="5434013"/>
          </a:xfrm>
        </p:spPr>
        <p:txBody>
          <a:bodyPr/>
          <a:lstStyle>
            <a:lvl1pPr marL="225406" marR="0" indent="-225406" algn="l" defTabSz="914323" rtl="0" eaLnBrk="1" fontAlgn="auto" latinLnBrk="0" hangingPunct="1">
              <a:lnSpc>
                <a:spcPct val="100000"/>
              </a:lnSpc>
              <a:spcBef>
                <a:spcPct val="20000"/>
              </a:spcBef>
              <a:spcAft>
                <a:spcPts val="0"/>
              </a:spcAft>
              <a:buClr>
                <a:srgbClr val="009530"/>
              </a:buClr>
              <a:buSzTx/>
              <a:buFont typeface="Arial" panose="020B0604020202020204" pitchFamily="34" charset="0"/>
              <a:buNone/>
              <a:tabLst/>
              <a:defRPr sz="1900">
                <a:solidFill>
                  <a:schemeClr val="bg1"/>
                </a:solidFill>
              </a:defRPr>
            </a:lvl1pPr>
          </a:lstStyle>
          <a:p>
            <a:r>
              <a:rPr lang="en-US" dirty="0"/>
              <a:t>Drag picture to placeholder or click icon to add</a:t>
            </a:r>
          </a:p>
          <a:p>
            <a:endParaRPr lang="en-US" dirty="0"/>
          </a:p>
        </p:txBody>
      </p:sp>
      <p:sp>
        <p:nvSpPr>
          <p:cNvPr id="16" name="Text Placeholder 15"/>
          <p:cNvSpPr>
            <a:spLocks noGrp="1"/>
          </p:cNvSpPr>
          <p:nvPr>
            <p:ph type="body" sz="quarter" idx="17"/>
          </p:nvPr>
        </p:nvSpPr>
        <p:spPr>
          <a:xfrm>
            <a:off x="6056313" y="5434377"/>
            <a:ext cx="5316538" cy="1476375"/>
          </a:xfrm>
        </p:spPr>
        <p:txBody>
          <a:bodyPr/>
          <a:lstStyle>
            <a:lvl1pPr>
              <a:buClr>
                <a:srgbClr val="000000"/>
              </a:buClr>
              <a:defRPr sz="1600" i="1">
                <a:solidFill>
                  <a:schemeClr val="bg1"/>
                </a:solidFill>
              </a:defRPr>
            </a:lvl1pPr>
            <a:lvl2pPr marL="461923" indent="-230169">
              <a:buClr>
                <a:srgbClr val="FFFFFF"/>
              </a:buClr>
              <a:buFont typeface="Arial" pitchFamily="34" charset="0"/>
              <a:buChar char="&gt;"/>
              <a:defRPr sz="15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11" name="Title 10"/>
          <p:cNvSpPr>
            <a:spLocks noGrp="1"/>
          </p:cNvSpPr>
          <p:nvPr>
            <p:ph type="title" hasCustomPrompt="1"/>
          </p:nvPr>
        </p:nvSpPr>
        <p:spPr>
          <a:xfrm>
            <a:off x="608014" y="261941"/>
            <a:ext cx="5186362" cy="1271587"/>
          </a:xfrm>
        </p:spPr>
        <p:txBody>
          <a:bodyPr anchor="t" anchorCtr="0"/>
          <a:lstStyle>
            <a:lvl1pPr algn="l">
              <a:defRPr>
                <a:solidFill>
                  <a:schemeClr val="bg1"/>
                </a:solidFill>
              </a:defRPr>
            </a:lvl1pPr>
          </a:lstStyle>
          <a:p>
            <a:r>
              <a:rPr lang="en-US" dirty="0"/>
              <a:t>Click to edit title</a:t>
            </a:r>
          </a:p>
        </p:txBody>
      </p:sp>
      <p:sp>
        <p:nvSpPr>
          <p:cNvPr id="9" name="TextBox 8"/>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chemeClr val="bg1"/>
                </a:solidFill>
                <a:latin typeface="Arial" pitchFamily="34" charset="0"/>
                <a:cs typeface="Arial" pitchFamily="34" charset="0"/>
              </a:rPr>
              <a:t>Confidential Property of Schneider Electric</a:t>
            </a:r>
          </a:p>
        </p:txBody>
      </p:sp>
      <p:sp>
        <p:nvSpPr>
          <p:cNvPr id="15"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1610325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Spruce Green">
    <p:bg>
      <p:bgPr>
        <a:solidFill>
          <a:srgbClr val="009530"/>
        </a:solidFill>
        <a:effectLst/>
      </p:bgPr>
    </p:bg>
    <p:spTree>
      <p:nvGrpSpPr>
        <p:cNvPr id="1" name=""/>
        <p:cNvGrpSpPr/>
        <p:nvPr/>
      </p:nvGrpSpPr>
      <p:grpSpPr>
        <a:xfrm>
          <a:off x="0" y="0"/>
          <a:ext cx="0" cy="0"/>
          <a:chOff x="0" y="0"/>
          <a:chExt cx="0" cy="0"/>
        </a:xfrm>
      </p:grpSpPr>
      <p:sp>
        <p:nvSpPr>
          <p:cNvPr id="6" name="Rectangle 5"/>
          <p:cNvSpPr/>
          <p:nvPr/>
        </p:nvSpPr>
        <p:spPr>
          <a:xfrm>
            <a:off x="11215283" y="6206806"/>
            <a:ext cx="619933" cy="524519"/>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p>
        </p:txBody>
      </p:sp>
      <p:sp>
        <p:nvSpPr>
          <p:cNvPr id="2" name="Title 1"/>
          <p:cNvSpPr>
            <a:spLocks noGrp="1"/>
          </p:cNvSpPr>
          <p:nvPr>
            <p:ph type="ctrTitle" hasCustomPrompt="1"/>
          </p:nvPr>
        </p:nvSpPr>
        <p:spPr>
          <a:xfrm>
            <a:off x="599918" y="2130442"/>
            <a:ext cx="10979309" cy="1470025"/>
          </a:xfrm>
        </p:spPr>
        <p:txBody>
          <a:bodyPr lIns="0" anchor="b" anchorCtr="0">
            <a:noAutofit/>
          </a:bodyPr>
          <a:lstStyle>
            <a:lvl1pPr algn="l">
              <a:defRPr sz="3600" b="1">
                <a:solidFill>
                  <a:schemeClr val="bg1"/>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599918" y="3644659"/>
            <a:ext cx="10979309" cy="1099871"/>
          </a:xfrm>
        </p:spPr>
        <p:txBody>
          <a:bodyPr lIns="0">
            <a:noAutofit/>
          </a:bodyPr>
          <a:lstStyle>
            <a:lvl1pPr marL="0" indent="0" algn="l">
              <a:buNone/>
              <a:defRPr sz="2300">
                <a:solidFill>
                  <a:schemeClr val="bg1"/>
                </a:solidFill>
                <a:latin typeface="Arial" pitchFamily="34" charset="0"/>
                <a:cs typeface="Arial" pitchFamily="34" charset="0"/>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5" indent="0" algn="ctr">
              <a:buNone/>
              <a:defRPr>
                <a:solidFill>
                  <a:schemeClr val="tx1">
                    <a:tint val="75000"/>
                  </a:schemeClr>
                </a:solidFill>
              </a:defRPr>
            </a:lvl4pPr>
            <a:lvl5pPr marL="1828648" indent="0" algn="ctr">
              <a:buNone/>
              <a:defRPr>
                <a:solidFill>
                  <a:schemeClr val="tx1">
                    <a:tint val="75000"/>
                  </a:schemeClr>
                </a:solidFill>
              </a:defRPr>
            </a:lvl5pPr>
            <a:lvl6pPr marL="2285809" indent="0" algn="ctr">
              <a:buNone/>
              <a:defRPr>
                <a:solidFill>
                  <a:schemeClr val="tx1">
                    <a:tint val="75000"/>
                  </a:schemeClr>
                </a:solidFill>
              </a:defRPr>
            </a:lvl6pPr>
            <a:lvl7pPr marL="2742971"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600082" y="5124587"/>
            <a:ext cx="8586159" cy="1120775"/>
          </a:xfrm>
        </p:spPr>
        <p:txBody>
          <a:bodyPr>
            <a:normAutofit/>
          </a:bodyPr>
          <a:lstStyle>
            <a:lvl1pPr marL="0" indent="0">
              <a:buNone/>
              <a:defRPr sz="16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9686420" y="5902135"/>
            <a:ext cx="1892808" cy="566928"/>
          </a:xfrm>
          <a:prstGeom prst="rect">
            <a:avLst/>
          </a:prstGeom>
          <a:noFill/>
        </p:spPr>
      </p:pic>
    </p:spTree>
    <p:extLst>
      <p:ext uri="{BB962C8B-B14F-4D97-AF65-F5344CB8AC3E}">
        <p14:creationId xmlns:p14="http://schemas.microsoft.com/office/powerpoint/2010/main" val="12688631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74"/>
            <a:ext cx="10969943" cy="1095375"/>
          </a:xfrm>
        </p:spPr>
        <p:txBody>
          <a:bodyPr/>
          <a:lstStyle>
            <a:lvl1pPr>
              <a:defRPr>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609446" y="1509713"/>
            <a:ext cx="5184935" cy="517525"/>
          </a:xfrm>
        </p:spPr>
        <p:txBody>
          <a:bodyPr rIns="0" anchor="t" anchorCtr="0"/>
          <a:lstStyle>
            <a:lvl1pPr marL="0" indent="0" algn="l">
              <a:buNone/>
              <a:defRPr sz="2300" b="1">
                <a:solidFill>
                  <a:srgbClr val="FFFFFF"/>
                </a:solidFill>
                <a:latin typeface="Arial" pitchFamily="34" charset="0"/>
                <a:cs typeface="Arial" pitchFamily="34" charset="0"/>
              </a:defRPr>
            </a:lvl1pPr>
            <a:lvl2pPr marL="457161" indent="0">
              <a:buNone/>
              <a:defRPr sz="2000" b="1"/>
            </a:lvl2pPr>
            <a:lvl3pPr marL="914323" indent="0">
              <a:buNone/>
              <a:defRPr sz="1900" b="1"/>
            </a:lvl3pPr>
            <a:lvl4pPr marL="1371485" indent="0">
              <a:buNone/>
              <a:defRPr sz="1600" b="1"/>
            </a:lvl4pPr>
            <a:lvl5pPr marL="1828648" indent="0">
              <a:buNone/>
              <a:defRPr sz="1600" b="1"/>
            </a:lvl5pPr>
            <a:lvl6pPr marL="2285809" indent="0">
              <a:buNone/>
              <a:defRPr sz="1600" b="1"/>
            </a:lvl6pPr>
            <a:lvl7pPr marL="2742971" indent="0">
              <a:buNone/>
              <a:defRPr sz="1600" b="1"/>
            </a:lvl7pPr>
            <a:lvl8pPr marL="3200133" indent="0">
              <a:buNone/>
              <a:defRPr sz="1600" b="1"/>
            </a:lvl8pPr>
            <a:lvl9pPr marL="3657296" indent="0">
              <a:buNone/>
              <a:defRPr sz="1600" b="1"/>
            </a:lvl9pPr>
          </a:lstStyle>
          <a:p>
            <a:pPr lvl="0"/>
            <a:r>
              <a:rPr lang="en-US" dirty="0"/>
              <a:t>Click to edit Master text styles</a:t>
            </a:r>
          </a:p>
        </p:txBody>
      </p:sp>
      <p:sp>
        <p:nvSpPr>
          <p:cNvPr id="5" name="Text Placeholder 4"/>
          <p:cNvSpPr>
            <a:spLocks noGrp="1"/>
          </p:cNvSpPr>
          <p:nvPr>
            <p:ph type="body" sz="quarter" idx="3"/>
          </p:nvPr>
        </p:nvSpPr>
        <p:spPr>
          <a:xfrm>
            <a:off x="6191754" y="1509713"/>
            <a:ext cx="5387630" cy="517525"/>
          </a:xfrm>
        </p:spPr>
        <p:txBody>
          <a:bodyPr rIns="0" anchor="t" anchorCtr="0"/>
          <a:lstStyle>
            <a:lvl1pPr marL="0" indent="0" algn="l">
              <a:buNone/>
              <a:defRPr sz="2300" b="1">
                <a:solidFill>
                  <a:srgbClr val="FFFFFF"/>
                </a:solidFill>
                <a:latin typeface="Arial" pitchFamily="34" charset="0"/>
                <a:cs typeface="Arial" pitchFamily="34" charset="0"/>
              </a:defRPr>
            </a:lvl1pPr>
            <a:lvl2pPr marL="457161" indent="0">
              <a:buNone/>
              <a:defRPr sz="2000" b="1"/>
            </a:lvl2pPr>
            <a:lvl3pPr marL="914323" indent="0">
              <a:buNone/>
              <a:defRPr sz="1900" b="1"/>
            </a:lvl3pPr>
            <a:lvl4pPr marL="1371485" indent="0">
              <a:buNone/>
              <a:defRPr sz="1600" b="1"/>
            </a:lvl4pPr>
            <a:lvl5pPr marL="1828648" indent="0">
              <a:buNone/>
              <a:defRPr sz="1600" b="1"/>
            </a:lvl5pPr>
            <a:lvl6pPr marL="2285809" indent="0">
              <a:buNone/>
              <a:defRPr sz="1600" b="1"/>
            </a:lvl6pPr>
            <a:lvl7pPr marL="2742971" indent="0">
              <a:buNone/>
              <a:defRPr sz="1600" b="1"/>
            </a:lvl7pPr>
            <a:lvl8pPr marL="3200133" indent="0">
              <a:buNone/>
              <a:defRPr sz="1600" b="1"/>
            </a:lvl8pPr>
            <a:lvl9pPr marL="3657296" indent="0">
              <a:buNone/>
              <a:defRPr sz="1600" b="1"/>
            </a:lvl9pPr>
          </a:lstStyle>
          <a:p>
            <a:pPr lvl="0"/>
            <a:r>
              <a:rPr lang="en-US" dirty="0"/>
              <a:t>Click to edit Master text styles</a:t>
            </a:r>
          </a:p>
        </p:txBody>
      </p:sp>
      <p:sp>
        <p:nvSpPr>
          <p:cNvPr id="9" name="Text Placeholder 8"/>
          <p:cNvSpPr>
            <a:spLocks noGrp="1"/>
          </p:cNvSpPr>
          <p:nvPr>
            <p:ph type="body" sz="quarter" idx="10"/>
          </p:nvPr>
        </p:nvSpPr>
        <p:spPr>
          <a:xfrm>
            <a:off x="609605" y="2144716"/>
            <a:ext cx="5184775" cy="4027487"/>
          </a:xfrm>
        </p:spPr>
        <p:txBody>
          <a:bodyPr/>
          <a:lstStyle>
            <a:lvl1pPr>
              <a:buClr>
                <a:schemeClr val="bg1"/>
              </a:buClr>
              <a:defRPr sz="2000">
                <a:solidFill>
                  <a:schemeClr val="bg1"/>
                </a:solidFill>
              </a:defRPr>
            </a:lvl1pPr>
            <a:lvl2pPr>
              <a:buClr>
                <a:schemeClr val="bg1"/>
              </a:buClr>
              <a:defRPr sz="1900">
                <a:solidFill>
                  <a:schemeClr val="bg1"/>
                </a:solidFill>
              </a:defRPr>
            </a:lvl2pPr>
            <a:lvl3pPr>
              <a:buClr>
                <a:schemeClr val="bg1"/>
              </a:buClr>
              <a:defRPr sz="1600">
                <a:solidFill>
                  <a:schemeClr val="bg1"/>
                </a:solidFill>
              </a:defRPr>
            </a:lvl3pPr>
            <a:lvl4pPr>
              <a:buClr>
                <a:schemeClr val="bg1"/>
              </a:buClr>
              <a:defRPr sz="15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1"/>
          </p:nvPr>
        </p:nvSpPr>
        <p:spPr>
          <a:xfrm>
            <a:off x="6191252" y="2143212"/>
            <a:ext cx="5399088" cy="4095671"/>
          </a:xfrm>
        </p:spPr>
        <p:txBody>
          <a:bodyPr/>
          <a:lstStyle>
            <a:lvl1pPr>
              <a:buClr>
                <a:schemeClr val="bg1"/>
              </a:buClr>
              <a:defRPr sz="2000">
                <a:solidFill>
                  <a:schemeClr val="bg1"/>
                </a:solidFill>
              </a:defRPr>
            </a:lvl1pPr>
            <a:lvl2pPr>
              <a:buClr>
                <a:schemeClr val="bg1"/>
              </a:buClr>
              <a:defRPr sz="1900">
                <a:solidFill>
                  <a:schemeClr val="bg1"/>
                </a:solidFill>
              </a:defRPr>
            </a:lvl2pPr>
            <a:lvl3pPr>
              <a:buClr>
                <a:schemeClr val="bg1"/>
              </a:buClr>
              <a:defRPr sz="1600">
                <a:solidFill>
                  <a:schemeClr val="bg1"/>
                </a:solidFill>
              </a:defRPr>
            </a:lvl3pPr>
            <a:lvl4pPr>
              <a:buClr>
                <a:schemeClr val="bg1"/>
              </a:buClr>
              <a:defRPr sz="15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18574054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 Colum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66"/>
            <a:ext cx="10969943" cy="1095375"/>
          </a:xfrm>
        </p:spPr>
        <p:txBody>
          <a:bodyPr/>
          <a:lstStyle>
            <a:lvl1pPr>
              <a:defRPr>
                <a:solidFill>
                  <a:srgbClr val="FFFFFF"/>
                </a:solidFill>
              </a:defRPr>
            </a:lvl1pPr>
          </a:lstStyle>
          <a:p>
            <a:r>
              <a:rPr lang="en-US" dirty="0"/>
              <a:t>Click to edit Master title style</a:t>
            </a:r>
          </a:p>
        </p:txBody>
      </p:sp>
      <p:sp>
        <p:nvSpPr>
          <p:cNvPr id="10" name="Picture Placeholder 9"/>
          <p:cNvSpPr>
            <a:spLocks noGrp="1"/>
          </p:cNvSpPr>
          <p:nvPr>
            <p:ph type="pic" sz="quarter" idx="10"/>
          </p:nvPr>
        </p:nvSpPr>
        <p:spPr>
          <a:xfrm>
            <a:off x="609443" y="2202085"/>
            <a:ext cx="1706722" cy="1737360"/>
          </a:xfrm>
        </p:spPr>
        <p:txBody>
          <a:bodyPr>
            <a:noAutofit/>
          </a:bodyPr>
          <a:lstStyle>
            <a:lvl1pPr marL="0" indent="0" algn="ctr">
              <a:buNone/>
              <a:defRPr sz="2000">
                <a:solidFill>
                  <a:srgbClr val="FFFFFF"/>
                </a:solidFill>
              </a:defRPr>
            </a:lvl1pPr>
          </a:lstStyle>
          <a:p>
            <a:r>
              <a:rPr lang="en-US" dirty="0"/>
              <a:t>Drag picture to placeholder or click icon to add</a:t>
            </a:r>
          </a:p>
        </p:txBody>
      </p:sp>
      <p:sp>
        <p:nvSpPr>
          <p:cNvPr id="11" name="Picture Placeholder 9"/>
          <p:cNvSpPr>
            <a:spLocks noGrp="1"/>
          </p:cNvSpPr>
          <p:nvPr>
            <p:ph type="pic" sz="quarter" idx="11"/>
          </p:nvPr>
        </p:nvSpPr>
        <p:spPr>
          <a:xfrm>
            <a:off x="2459045" y="2202085"/>
            <a:ext cx="1712911" cy="1737360"/>
          </a:xfrm>
        </p:spPr>
        <p:txBody>
          <a:bodyPr>
            <a:noAutofit/>
          </a:bodyPr>
          <a:lstStyle>
            <a:lvl1pPr marL="0" indent="0" algn="ctr">
              <a:buNone/>
              <a:defRPr sz="2000">
                <a:solidFill>
                  <a:srgbClr val="FFFFFF"/>
                </a:solidFill>
              </a:defRPr>
            </a:lvl1pPr>
          </a:lstStyle>
          <a:p>
            <a:r>
              <a:rPr lang="en-US" dirty="0"/>
              <a:t>Drag picture to placeholder or click icon to add</a:t>
            </a:r>
          </a:p>
        </p:txBody>
      </p:sp>
      <p:sp>
        <p:nvSpPr>
          <p:cNvPr id="12" name="Picture Placeholder 9"/>
          <p:cNvSpPr>
            <a:spLocks noGrp="1"/>
          </p:cNvSpPr>
          <p:nvPr>
            <p:ph type="pic" sz="quarter" idx="12"/>
          </p:nvPr>
        </p:nvSpPr>
        <p:spPr>
          <a:xfrm>
            <a:off x="4313239" y="2202085"/>
            <a:ext cx="1711325" cy="1737360"/>
          </a:xfrm>
        </p:spPr>
        <p:txBody>
          <a:bodyPr>
            <a:noAutofit/>
          </a:bodyPr>
          <a:lstStyle>
            <a:lvl1pPr marL="0" indent="0" algn="ctr">
              <a:buNone/>
              <a:defRPr sz="2000">
                <a:solidFill>
                  <a:srgbClr val="FFFFFF"/>
                </a:solidFill>
              </a:defRPr>
            </a:lvl1pPr>
          </a:lstStyle>
          <a:p>
            <a:r>
              <a:rPr lang="en-US" dirty="0"/>
              <a:t>Drag picture to placeholder or click icon to add</a:t>
            </a:r>
          </a:p>
        </p:txBody>
      </p:sp>
      <p:sp>
        <p:nvSpPr>
          <p:cNvPr id="13" name="Picture Placeholder 9"/>
          <p:cNvSpPr>
            <a:spLocks noGrp="1"/>
          </p:cNvSpPr>
          <p:nvPr>
            <p:ph type="pic" sz="quarter" idx="13"/>
          </p:nvPr>
        </p:nvSpPr>
        <p:spPr>
          <a:xfrm>
            <a:off x="6165850" y="2202085"/>
            <a:ext cx="1709928" cy="1737360"/>
          </a:xfrm>
        </p:spPr>
        <p:txBody>
          <a:bodyPr>
            <a:noAutofit/>
          </a:bodyPr>
          <a:lstStyle>
            <a:lvl1pPr marL="0" indent="0" algn="ctr">
              <a:buNone/>
              <a:defRPr sz="2000">
                <a:solidFill>
                  <a:srgbClr val="FFFFFF"/>
                </a:solidFill>
              </a:defRPr>
            </a:lvl1pPr>
          </a:lstStyle>
          <a:p>
            <a:r>
              <a:rPr lang="en-US" dirty="0"/>
              <a:t>Drag picture to placeholder or click icon to add</a:t>
            </a:r>
          </a:p>
        </p:txBody>
      </p:sp>
      <p:sp>
        <p:nvSpPr>
          <p:cNvPr id="14" name="Picture Placeholder 9"/>
          <p:cNvSpPr>
            <a:spLocks noGrp="1"/>
          </p:cNvSpPr>
          <p:nvPr>
            <p:ph type="pic" sz="quarter" idx="14"/>
          </p:nvPr>
        </p:nvSpPr>
        <p:spPr>
          <a:xfrm>
            <a:off x="8018470" y="2202085"/>
            <a:ext cx="1712911" cy="1737360"/>
          </a:xfrm>
        </p:spPr>
        <p:txBody>
          <a:bodyPr>
            <a:noAutofit/>
          </a:bodyPr>
          <a:lstStyle>
            <a:lvl1pPr marL="0" indent="0" algn="ctr">
              <a:buNone/>
              <a:defRPr sz="2000">
                <a:solidFill>
                  <a:srgbClr val="FFFFFF"/>
                </a:solidFill>
              </a:defRPr>
            </a:lvl1pPr>
          </a:lstStyle>
          <a:p>
            <a:r>
              <a:rPr lang="en-US" dirty="0"/>
              <a:t>Drag picture to placeholder or click icon to add</a:t>
            </a:r>
          </a:p>
        </p:txBody>
      </p:sp>
      <p:sp>
        <p:nvSpPr>
          <p:cNvPr id="15" name="Picture Placeholder 9"/>
          <p:cNvSpPr>
            <a:spLocks noGrp="1"/>
          </p:cNvSpPr>
          <p:nvPr>
            <p:ph type="pic" sz="quarter" idx="15"/>
          </p:nvPr>
        </p:nvSpPr>
        <p:spPr>
          <a:xfrm>
            <a:off x="9871077" y="2202085"/>
            <a:ext cx="1708150" cy="1737360"/>
          </a:xfrm>
        </p:spPr>
        <p:txBody>
          <a:bodyPr>
            <a:noAutofit/>
          </a:bodyPr>
          <a:lstStyle>
            <a:lvl1pPr marL="0" indent="0" algn="ctr">
              <a:buNone/>
              <a:defRPr sz="2000">
                <a:solidFill>
                  <a:srgbClr val="FFFFFF"/>
                </a:solidFill>
              </a:defRPr>
            </a:lvl1pPr>
          </a:lstStyle>
          <a:p>
            <a:r>
              <a:rPr lang="en-US" dirty="0"/>
              <a:t>Drag picture to placeholder or click icon to add</a:t>
            </a:r>
          </a:p>
        </p:txBody>
      </p:sp>
      <p:sp>
        <p:nvSpPr>
          <p:cNvPr id="17" name="Text Placeholder 16"/>
          <p:cNvSpPr>
            <a:spLocks noGrp="1"/>
          </p:cNvSpPr>
          <p:nvPr>
            <p:ph type="body" sz="quarter" idx="16"/>
          </p:nvPr>
        </p:nvSpPr>
        <p:spPr>
          <a:xfrm>
            <a:off x="609443" y="4089401"/>
            <a:ext cx="1706722"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dirty="0"/>
              <a:t>Click to edit Master text styles</a:t>
            </a:r>
          </a:p>
        </p:txBody>
      </p:sp>
      <p:sp>
        <p:nvSpPr>
          <p:cNvPr id="18" name="Text Placeholder 16"/>
          <p:cNvSpPr>
            <a:spLocks noGrp="1"/>
          </p:cNvSpPr>
          <p:nvPr>
            <p:ph type="body" sz="quarter" idx="17"/>
          </p:nvPr>
        </p:nvSpPr>
        <p:spPr>
          <a:xfrm>
            <a:off x="2459039" y="4089401"/>
            <a:ext cx="1712912"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dirty="0"/>
              <a:t>Click to edit Master text styles</a:t>
            </a:r>
          </a:p>
        </p:txBody>
      </p:sp>
      <p:sp>
        <p:nvSpPr>
          <p:cNvPr id="19" name="Text Placeholder 16"/>
          <p:cNvSpPr>
            <a:spLocks noGrp="1"/>
          </p:cNvSpPr>
          <p:nvPr>
            <p:ph type="body" sz="quarter" idx="18"/>
          </p:nvPr>
        </p:nvSpPr>
        <p:spPr>
          <a:xfrm>
            <a:off x="4313242" y="4089401"/>
            <a:ext cx="1711324"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dirty="0"/>
              <a:t>Click to edit Master text styles</a:t>
            </a:r>
          </a:p>
        </p:txBody>
      </p:sp>
      <p:sp>
        <p:nvSpPr>
          <p:cNvPr id="20" name="Text Placeholder 16"/>
          <p:cNvSpPr>
            <a:spLocks noGrp="1"/>
          </p:cNvSpPr>
          <p:nvPr>
            <p:ph type="body" sz="quarter" idx="19"/>
          </p:nvPr>
        </p:nvSpPr>
        <p:spPr>
          <a:xfrm>
            <a:off x="6165850" y="4089401"/>
            <a:ext cx="1709928"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dirty="0"/>
              <a:t>Click to edit Master text styles</a:t>
            </a:r>
          </a:p>
        </p:txBody>
      </p:sp>
      <p:sp>
        <p:nvSpPr>
          <p:cNvPr id="21" name="Text Placeholder 16"/>
          <p:cNvSpPr>
            <a:spLocks noGrp="1"/>
          </p:cNvSpPr>
          <p:nvPr>
            <p:ph type="body" sz="quarter" idx="20"/>
          </p:nvPr>
        </p:nvSpPr>
        <p:spPr>
          <a:xfrm>
            <a:off x="8018470" y="4089401"/>
            <a:ext cx="1712911"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dirty="0"/>
              <a:t>Click to edit Master text styles</a:t>
            </a:r>
          </a:p>
        </p:txBody>
      </p:sp>
      <p:sp>
        <p:nvSpPr>
          <p:cNvPr id="22" name="Text Placeholder 16"/>
          <p:cNvSpPr>
            <a:spLocks noGrp="1"/>
          </p:cNvSpPr>
          <p:nvPr>
            <p:ph type="body" sz="quarter" idx="21"/>
          </p:nvPr>
        </p:nvSpPr>
        <p:spPr>
          <a:xfrm>
            <a:off x="9871083" y="4089401"/>
            <a:ext cx="1708308"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dirty="0"/>
              <a:t>Click to edit Master text styles</a:t>
            </a:r>
          </a:p>
        </p:txBody>
      </p:sp>
      <p:sp>
        <p:nvSpPr>
          <p:cNvPr id="23" name="TextBox 22"/>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chemeClr val="bg1"/>
                </a:solidFill>
                <a:latin typeface="Arial" pitchFamily="34" charset="0"/>
                <a:cs typeface="Arial" pitchFamily="34" charset="0"/>
              </a:rPr>
              <a:t>Confidential Property of Schneider Electric</a:t>
            </a:r>
          </a:p>
        </p:txBody>
      </p:sp>
      <p:sp>
        <p:nvSpPr>
          <p:cNvPr id="25"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6984531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ransitio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2436823"/>
            <a:ext cx="10969943" cy="1255711"/>
          </a:xfrm>
        </p:spPr>
        <p:txBody>
          <a:bodyPr anchor="b" anchorCtr="0">
            <a:noAutofit/>
          </a:bodyPr>
          <a:lstStyle>
            <a:lvl1pPr>
              <a:defRPr>
                <a:solidFill>
                  <a:srgbClr val="FFFFFF"/>
                </a:solidFill>
              </a:defRPr>
            </a:lvl1pPr>
          </a:lstStyle>
          <a:p>
            <a:r>
              <a:rPr lang="en-US" dirty="0"/>
              <a:t>Transition Slide Headline</a:t>
            </a:r>
          </a:p>
        </p:txBody>
      </p:sp>
      <p:sp>
        <p:nvSpPr>
          <p:cNvPr id="7" name="Text Placeholder 6"/>
          <p:cNvSpPr>
            <a:spLocks noGrp="1"/>
          </p:cNvSpPr>
          <p:nvPr>
            <p:ph type="body" sz="quarter" idx="10" hasCustomPrompt="1"/>
          </p:nvPr>
        </p:nvSpPr>
        <p:spPr>
          <a:xfrm>
            <a:off x="603248" y="3763974"/>
            <a:ext cx="10972800" cy="1074737"/>
          </a:xfrm>
        </p:spPr>
        <p:txBody>
          <a:bodyPr rIns="0">
            <a:noAutofit/>
          </a:bodyPr>
          <a:lstStyle>
            <a:lvl1pPr marL="0" indent="0" algn="l">
              <a:buNone/>
              <a:defRPr sz="230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necessary</a:t>
            </a:r>
          </a:p>
        </p:txBody>
      </p:sp>
      <p:pic>
        <p:nvPicPr>
          <p:cNvPr id="8" name="Picture 23" descr="C:\Users\Kurt\Desktop\Untitled-1cc.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10073504" y="6132083"/>
            <a:ext cx="1131079" cy="336983"/>
          </a:xfrm>
          <a:prstGeom prst="rect">
            <a:avLst/>
          </a:prstGeom>
          <a:noFill/>
        </p:spPr>
      </p:pic>
      <p:sp>
        <p:nvSpPr>
          <p:cNvPr id="9" name="Freeform 8"/>
          <p:cNvSpPr/>
          <p:nvPr userDrawn="1"/>
        </p:nvSpPr>
        <p:spPr>
          <a:xfrm>
            <a:off x="11289034" y="6252907"/>
            <a:ext cx="45719" cy="21615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chemeClr val="bg1"/>
            </a:solidFill>
            <a:prstDash val="solid"/>
          </a:ln>
          <a:effectLst/>
        </p:spPr>
        <p:txBody>
          <a:bodyPr lIns="91432" tIns="45717" rIns="91432" bIns="45717" rtlCol="0" anchor="ctr"/>
          <a:lstStyle/>
          <a:p>
            <a:pPr marL="0" marR="0" lvl="0" indent="0" algn="ctr" defTabSz="121888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a:endParaRPr>
          </a:p>
        </p:txBody>
      </p:sp>
      <p:sp>
        <p:nvSpPr>
          <p:cNvPr id="10"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4010383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arge Object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6" y="271474"/>
            <a:ext cx="10969784" cy="1095375"/>
          </a:xfrm>
        </p:spPr>
        <p:txBody>
          <a:bodyPr>
            <a:noAutofit/>
          </a:bodyPr>
          <a:lstStyle>
            <a:lvl1pPr>
              <a:defRPr>
                <a:solidFill>
                  <a:srgbClr val="FFFFFF"/>
                </a:solidFill>
              </a:defRPr>
            </a:lvl1pPr>
          </a:lstStyle>
          <a:p>
            <a:r>
              <a:rPr lang="en-US" dirty="0"/>
              <a:t>Click to edit Master title style</a:t>
            </a:r>
          </a:p>
        </p:txBody>
      </p:sp>
      <p:sp>
        <p:nvSpPr>
          <p:cNvPr id="3" name="Content Placeholder 2"/>
          <p:cNvSpPr>
            <a:spLocks noGrp="1"/>
          </p:cNvSpPr>
          <p:nvPr>
            <p:ph sz="half" idx="1"/>
          </p:nvPr>
        </p:nvSpPr>
        <p:spPr>
          <a:xfrm>
            <a:off x="609446" y="1509713"/>
            <a:ext cx="10969784" cy="4701307"/>
          </a:xfrm>
        </p:spPr>
        <p:txBody>
          <a:bodyPr rIns="0">
            <a:noAutofit/>
          </a:bodyPr>
          <a:lstStyle>
            <a:lvl1pPr marL="0" indent="0" algn="l">
              <a:buNone/>
              <a:defRPr sz="2300">
                <a:solidFill>
                  <a:srgbClr val="FFFFFF"/>
                </a:solidFill>
              </a:defRPr>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dirty="0"/>
              <a:t>Click to edit Master text styles</a:t>
            </a:r>
          </a:p>
        </p:txBody>
      </p:sp>
      <p:sp>
        <p:nvSpPr>
          <p:cNvPr id="6" name="TextBox 5"/>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chemeClr val="bg1"/>
                </a:solidFill>
                <a:latin typeface="Arial" pitchFamily="34" charset="0"/>
                <a:cs typeface="Arial" pitchFamily="34" charset="0"/>
              </a:rPr>
              <a:t>Confidential Property of Schneider Electric</a:t>
            </a:r>
          </a:p>
        </p:txBody>
      </p:sp>
      <p:sp>
        <p:nvSpPr>
          <p:cNvPr id="8"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14620713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Horizontal Split Page Dark Gray Top">
    <p:spTree>
      <p:nvGrpSpPr>
        <p:cNvPr id="1" name=""/>
        <p:cNvGrpSpPr/>
        <p:nvPr/>
      </p:nvGrpSpPr>
      <p:grpSpPr>
        <a:xfrm>
          <a:off x="0" y="0"/>
          <a:ext cx="0" cy="0"/>
          <a:chOff x="0" y="0"/>
          <a:chExt cx="0" cy="0"/>
        </a:xfrm>
      </p:grpSpPr>
      <p:sp>
        <p:nvSpPr>
          <p:cNvPr id="5" name="Rectangle 4"/>
          <p:cNvSpPr/>
          <p:nvPr userDrawn="1"/>
        </p:nvSpPr>
        <p:spPr>
          <a:xfrm>
            <a:off x="0" y="1"/>
            <a:ext cx="12188825" cy="2268539"/>
          </a:xfrm>
          <a:prstGeom prst="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p>
        </p:txBody>
      </p:sp>
      <p:sp>
        <p:nvSpPr>
          <p:cNvPr id="2" name="Title 1"/>
          <p:cNvSpPr>
            <a:spLocks noGrp="1"/>
          </p:cNvSpPr>
          <p:nvPr>
            <p:ph type="title"/>
          </p:nvPr>
        </p:nvSpPr>
        <p:spPr>
          <a:xfrm>
            <a:off x="609441" y="271464"/>
            <a:ext cx="10969943" cy="1096963"/>
          </a:xfrm>
        </p:spPr>
        <p:txBody>
          <a:bodyPr/>
          <a:lstStyle>
            <a:lvl1pPr algn="l">
              <a:defRPr>
                <a:solidFill>
                  <a:schemeClr val="bg1"/>
                </a:solidFill>
              </a:defRPr>
            </a:lvl1pPr>
          </a:lstStyle>
          <a:p>
            <a:r>
              <a:rPr lang="en-US" dirty="0"/>
              <a:t>Click to edit Master title style</a:t>
            </a:r>
            <a:endParaRPr lang="en-US" noProof="0" dirty="0"/>
          </a:p>
        </p:txBody>
      </p:sp>
      <p:sp>
        <p:nvSpPr>
          <p:cNvPr id="3" name="Content Placeholder 2"/>
          <p:cNvSpPr>
            <a:spLocks noGrp="1"/>
          </p:cNvSpPr>
          <p:nvPr>
            <p:ph idx="1"/>
          </p:nvPr>
        </p:nvSpPr>
        <p:spPr>
          <a:xfrm>
            <a:off x="609441" y="2476502"/>
            <a:ext cx="10969943" cy="3682767"/>
          </a:xfrm>
          <a:prstGeom prst="rect">
            <a:avLst/>
          </a:prstGeom>
        </p:spPr>
        <p:txBody>
          <a:bodyPr/>
          <a:lstStyle>
            <a:lvl1pPr>
              <a:buFont typeface="Arial" pitchFamily="34" charset="0"/>
              <a:buChar char="&gt;"/>
              <a:defRPr/>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TextBox 5"/>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1406363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orizontal Split Page Dark Gray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9530"/>
                </a:solidFill>
              </a:defRPr>
            </a:lvl1pPr>
          </a:lstStyle>
          <a:p>
            <a:r>
              <a:rPr lang="en-US" dirty="0"/>
              <a:t>Click to edit Master title style</a:t>
            </a:r>
            <a:endParaRPr lang="en-US" noProof="0" dirty="0"/>
          </a:p>
        </p:txBody>
      </p:sp>
      <p:sp>
        <p:nvSpPr>
          <p:cNvPr id="3" name="Content Placeholder 2"/>
          <p:cNvSpPr>
            <a:spLocks noGrp="1"/>
          </p:cNvSpPr>
          <p:nvPr>
            <p:ph idx="1"/>
          </p:nvPr>
        </p:nvSpPr>
        <p:spPr>
          <a:xfrm>
            <a:off x="609441" y="1509723"/>
            <a:ext cx="10969943" cy="3057525"/>
          </a:xfrm>
          <a:prstGeom prst="rect">
            <a:avLst/>
          </a:prstGeom>
        </p:spPr>
        <p:txBody>
          <a:bodyPr/>
          <a:lstStyle>
            <a:lvl1pPr>
              <a:buFont typeface="Arial" pitchFamily="34" charset="0"/>
              <a:buChar char="&gt;"/>
              <a:defRPr/>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4" name="TextBox 3"/>
          <p:cNvSpPr txBox="1"/>
          <p:nvPr userDrawn="1"/>
        </p:nvSpPr>
        <p:spPr>
          <a:xfrm>
            <a:off x="473081" y="6340063"/>
            <a:ext cx="2839902" cy="215444"/>
          </a:xfrm>
          <a:prstGeom prst="rect">
            <a:avLst/>
          </a:prstGeom>
          <a:noFill/>
        </p:spPr>
        <p:txBody>
          <a:bodyPr wrap="square" lIns="91432" tIns="45717" rIns="91432" bIns="45717" rtlCol="0">
            <a:spAutoFit/>
          </a:bodyPr>
          <a:lstStyle/>
          <a:p>
            <a:r>
              <a:rPr lang="en-US" sz="800" dirty="0">
                <a:solidFill>
                  <a:srgbClr val="626469"/>
                </a:solidFill>
                <a:latin typeface="Arial" pitchFamily="34" charset="0"/>
                <a:cs typeface="Arial" pitchFamily="34" charset="0"/>
              </a:rPr>
              <a:t>Confidential Property of Schneider Electric</a:t>
            </a:r>
          </a:p>
        </p:txBody>
      </p:sp>
      <p:sp>
        <p:nvSpPr>
          <p:cNvPr id="6" name="Rectangle 5"/>
          <p:cNvSpPr/>
          <p:nvPr userDrawn="1"/>
        </p:nvSpPr>
        <p:spPr>
          <a:xfrm>
            <a:off x="0" y="4567239"/>
            <a:ext cx="12188825" cy="2303463"/>
          </a:xfrm>
          <a:prstGeom prst="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p>
        </p:txBody>
      </p:sp>
      <p:sp>
        <p:nvSpPr>
          <p:cNvPr id="10" name="Content Placeholder 2"/>
          <p:cNvSpPr>
            <a:spLocks noGrp="1"/>
          </p:cNvSpPr>
          <p:nvPr>
            <p:ph sz="half" idx="10"/>
          </p:nvPr>
        </p:nvSpPr>
        <p:spPr>
          <a:xfrm>
            <a:off x="609441" y="4567248"/>
            <a:ext cx="10969943" cy="1643781"/>
          </a:xfrm>
        </p:spPr>
        <p:txBody>
          <a:bodyPr rIns="0">
            <a:noAutofit/>
          </a:bodyPr>
          <a:lstStyle>
            <a:lvl1pPr marL="0" indent="0" algn="l">
              <a:buNone/>
              <a:defRPr sz="2300">
                <a:solidFill>
                  <a:srgbClr val="FFFFFF"/>
                </a:solidFill>
              </a:defRPr>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dirty="0"/>
              <a:t>Click to edit Master text styles</a:t>
            </a:r>
          </a:p>
        </p:txBody>
      </p:sp>
      <p:sp>
        <p:nvSpPr>
          <p:cNvPr id="11" name="TextBox 10"/>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1406363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plit Page Dark Gray">
    <p:bg>
      <p:bgPr>
        <a:solidFill>
          <a:srgbClr val="626469"/>
        </a:solidFill>
        <a:effectLst/>
      </p:bgPr>
    </p:bg>
    <p:spTree>
      <p:nvGrpSpPr>
        <p:cNvPr id="1" name=""/>
        <p:cNvGrpSpPr/>
        <p:nvPr/>
      </p:nvGrpSpPr>
      <p:grpSpPr>
        <a:xfrm>
          <a:off x="0" y="0"/>
          <a:ext cx="0" cy="0"/>
          <a:chOff x="0" y="0"/>
          <a:chExt cx="0" cy="0"/>
        </a:xfrm>
      </p:grpSpPr>
      <p:sp>
        <p:nvSpPr>
          <p:cNvPr id="6" name="Rectangle 5"/>
          <p:cNvSpPr/>
          <p:nvPr userDrawn="1"/>
        </p:nvSpPr>
        <p:spPr>
          <a:xfrm>
            <a:off x="6094412" y="0"/>
            <a:ext cx="6094413"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marL="0" algn="ctr" defTabSz="914323" rtl="0" eaLnBrk="1" latinLnBrk="0" hangingPunct="1"/>
            <a:endParaRPr lang="en-US" sz="1900" kern="1200" dirty="0">
              <a:solidFill>
                <a:schemeClr val="lt1"/>
              </a:solidFill>
              <a:latin typeface="+mn-lt"/>
              <a:ea typeface="+mn-ea"/>
              <a:cs typeface="+mn-cs"/>
            </a:endParaRPr>
          </a:p>
        </p:txBody>
      </p:sp>
      <p:sp>
        <p:nvSpPr>
          <p:cNvPr id="15" name="Content Placeholder 14"/>
          <p:cNvSpPr>
            <a:spLocks noGrp="1"/>
          </p:cNvSpPr>
          <p:nvPr>
            <p:ph sz="quarter" idx="12" hasCustomPrompt="1"/>
          </p:nvPr>
        </p:nvSpPr>
        <p:spPr>
          <a:xfrm>
            <a:off x="6094412" y="0"/>
            <a:ext cx="6094413" cy="6858000"/>
          </a:xfrm>
        </p:spPr>
        <p:txBody>
          <a:bodyPr lIns="274296" tIns="1691499" anchor="t" anchorCtr="0">
            <a:noAutofit/>
          </a:bodyPr>
          <a:lstStyle>
            <a:lvl1pPr>
              <a:buClr>
                <a:srgbClr val="009530"/>
              </a:buClr>
              <a:buFont typeface="Arial" pitchFamily="34" charset="0"/>
              <a:buChar char="&gt;"/>
              <a:defRPr sz="2000">
                <a:solidFill>
                  <a:srgbClr val="009530"/>
                </a:solidFill>
              </a:defRPr>
            </a:lvl1pPr>
            <a:lvl2pPr marL="461923" indent="-222232">
              <a:buClr>
                <a:srgbClr val="626469"/>
              </a:buClr>
              <a:buFont typeface="SE Rounded Medium" pitchFamily="50" charset="0"/>
              <a:buChar char="&gt;"/>
              <a:defRPr sz="1900">
                <a:solidFill>
                  <a:srgbClr val="626469"/>
                </a:solidFill>
              </a:defRPr>
            </a:lvl2pPr>
            <a:lvl3pPr marL="685744" marR="0" indent="-217470" algn="l" defTabSz="914323" rtl="0" eaLnBrk="1" fontAlgn="auto" latinLnBrk="0" hangingPunct="1">
              <a:lnSpc>
                <a:spcPct val="100000"/>
              </a:lnSpc>
              <a:spcBef>
                <a:spcPct val="20000"/>
              </a:spcBef>
              <a:spcAft>
                <a:spcPts val="0"/>
              </a:spcAft>
              <a:buClr>
                <a:srgbClr val="626469"/>
              </a:buClr>
              <a:buSzTx/>
              <a:buFont typeface="Arial" panose="020B0604020202020204" pitchFamily="34" charset="0"/>
              <a:buChar char="-"/>
              <a:tabLst/>
              <a:defRPr sz="1600">
                <a:solidFill>
                  <a:srgbClr val="626469"/>
                </a:solidFill>
              </a:defRPr>
            </a:lvl3pPr>
            <a:lvl4pPr marL="914323" indent="-228581">
              <a:buClr>
                <a:srgbClr val="626469"/>
              </a:buClr>
              <a:buFont typeface="Arial" pitchFamily="34" charset="0"/>
              <a:buChar char="-"/>
              <a:tabLst>
                <a:tab pos="914323" algn="l"/>
              </a:tabLst>
              <a:defRPr sz="1500">
                <a:solidFill>
                  <a:srgbClr val="626469"/>
                </a:solidFill>
              </a:defRPr>
            </a:lvl4pPr>
            <a:lvl5pPr>
              <a:defRPr sz="2000">
                <a:solidFill>
                  <a:schemeClr val="bg1"/>
                </a:solidFill>
              </a:defRPr>
            </a:lvl5pPr>
          </a:lstStyle>
          <a:p>
            <a:pPr lvl="0"/>
            <a:r>
              <a:rPr lang="en-US" dirty="0"/>
              <a:t>Paragraph, bullets or photography can be used here.</a:t>
            </a:r>
          </a:p>
          <a:p>
            <a:pPr lvl="1"/>
            <a:r>
              <a:rPr lang="en-US" dirty="0"/>
              <a:t>Bullet</a:t>
            </a:r>
          </a:p>
          <a:p>
            <a:pPr lvl="2"/>
            <a:r>
              <a:rPr lang="en-US" dirty="0"/>
              <a:t>Second level</a:t>
            </a:r>
          </a:p>
          <a:p>
            <a:pPr lvl="3"/>
            <a:r>
              <a:rPr lang="en-US" dirty="0"/>
              <a:t>Third level</a:t>
            </a:r>
          </a:p>
        </p:txBody>
      </p:sp>
      <p:sp>
        <p:nvSpPr>
          <p:cNvPr id="9" name="Text Placeholder 8"/>
          <p:cNvSpPr>
            <a:spLocks noGrp="1"/>
          </p:cNvSpPr>
          <p:nvPr>
            <p:ph type="body" sz="quarter" idx="14" hasCustomPrompt="1"/>
          </p:nvPr>
        </p:nvSpPr>
        <p:spPr>
          <a:xfrm>
            <a:off x="608013" y="1630369"/>
            <a:ext cx="5186362" cy="4421187"/>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1" name="Title 10"/>
          <p:cNvSpPr>
            <a:spLocks noGrp="1"/>
          </p:cNvSpPr>
          <p:nvPr>
            <p:ph type="title" hasCustomPrompt="1"/>
          </p:nvPr>
        </p:nvSpPr>
        <p:spPr>
          <a:xfrm>
            <a:off x="608013" y="261941"/>
            <a:ext cx="5186362" cy="1271587"/>
          </a:xfrm>
        </p:spPr>
        <p:txBody>
          <a:bodyPr anchor="t" anchorCtr="0"/>
          <a:lstStyle>
            <a:lvl1pPr algn="l">
              <a:defRPr>
                <a:solidFill>
                  <a:schemeClr val="bg1"/>
                </a:solidFill>
              </a:defRPr>
            </a:lvl1pPr>
          </a:lstStyle>
          <a:p>
            <a:r>
              <a:rPr lang="en-US" dirty="0"/>
              <a:t>Click to edit title</a:t>
            </a:r>
          </a:p>
        </p:txBody>
      </p:sp>
      <p:sp>
        <p:nvSpPr>
          <p:cNvPr id="12" name="TextBox 11"/>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chemeClr val="bg1"/>
                </a:solidFill>
                <a:latin typeface="Arial" pitchFamily="34" charset="0"/>
                <a:cs typeface="Arial" pitchFamily="34" charset="0"/>
              </a:rPr>
              <a:t>Confidential Property of Schneider Electric</a:t>
            </a:r>
          </a:p>
        </p:txBody>
      </p:sp>
      <p:sp>
        <p:nvSpPr>
          <p:cNvPr id="13"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626469"/>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626469"/>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1610325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plit Page with Caption Dark Gray">
    <p:bg>
      <p:bgPr>
        <a:solidFill>
          <a:srgbClr val="626469"/>
        </a:solidFill>
        <a:effectLst/>
      </p:bgPr>
    </p:bg>
    <p:spTree>
      <p:nvGrpSpPr>
        <p:cNvPr id="1" name=""/>
        <p:cNvGrpSpPr/>
        <p:nvPr/>
      </p:nvGrpSpPr>
      <p:grpSpPr>
        <a:xfrm>
          <a:off x="0" y="0"/>
          <a:ext cx="0" cy="0"/>
          <a:chOff x="0" y="0"/>
          <a:chExt cx="0" cy="0"/>
        </a:xfrm>
      </p:grpSpPr>
      <p:sp>
        <p:nvSpPr>
          <p:cNvPr id="10" name="Rectangle 9"/>
          <p:cNvSpPr/>
          <p:nvPr userDrawn="1"/>
        </p:nvSpPr>
        <p:spPr>
          <a:xfrm>
            <a:off x="6056313" y="5434376"/>
            <a:ext cx="6132512" cy="144938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p>
        </p:txBody>
      </p:sp>
      <p:sp>
        <p:nvSpPr>
          <p:cNvPr id="12" name="Text Placeholder 11"/>
          <p:cNvSpPr>
            <a:spLocks noGrp="1"/>
          </p:cNvSpPr>
          <p:nvPr>
            <p:ph type="body" sz="quarter" idx="15" hasCustomPrompt="1"/>
          </p:nvPr>
        </p:nvSpPr>
        <p:spPr>
          <a:xfrm>
            <a:off x="608013" y="1630369"/>
            <a:ext cx="5186362" cy="4421187"/>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3" name="Picture Placeholder 12"/>
          <p:cNvSpPr>
            <a:spLocks noGrp="1"/>
          </p:cNvSpPr>
          <p:nvPr>
            <p:ph type="pic" sz="quarter" idx="16" hasCustomPrompt="1"/>
          </p:nvPr>
        </p:nvSpPr>
        <p:spPr>
          <a:xfrm>
            <a:off x="6056313" y="8"/>
            <a:ext cx="6132512" cy="5434013"/>
          </a:xfrm>
        </p:spPr>
        <p:txBody>
          <a:bodyPr/>
          <a:lstStyle>
            <a:lvl1pPr marL="225406" marR="0" indent="-225406" algn="l" defTabSz="914323" rtl="0" eaLnBrk="1" fontAlgn="auto" latinLnBrk="0" hangingPunct="1">
              <a:lnSpc>
                <a:spcPct val="100000"/>
              </a:lnSpc>
              <a:spcBef>
                <a:spcPct val="20000"/>
              </a:spcBef>
              <a:spcAft>
                <a:spcPts val="0"/>
              </a:spcAft>
              <a:buClr>
                <a:srgbClr val="009530"/>
              </a:buClr>
              <a:buSzTx/>
              <a:buFont typeface="Arial" panose="020B0604020202020204" pitchFamily="34" charset="0"/>
              <a:buNone/>
              <a:tabLst/>
              <a:defRPr sz="1900">
                <a:solidFill>
                  <a:schemeClr val="bg1"/>
                </a:solidFill>
              </a:defRPr>
            </a:lvl1pPr>
          </a:lstStyle>
          <a:p>
            <a:r>
              <a:rPr lang="en-US" dirty="0"/>
              <a:t>Drag picture to placeholder or click icon to add</a:t>
            </a:r>
          </a:p>
          <a:p>
            <a:endParaRPr lang="en-US" dirty="0"/>
          </a:p>
        </p:txBody>
      </p:sp>
      <p:sp>
        <p:nvSpPr>
          <p:cNvPr id="14" name="Text Placeholder 13"/>
          <p:cNvSpPr>
            <a:spLocks noGrp="1"/>
          </p:cNvSpPr>
          <p:nvPr>
            <p:ph type="body" sz="quarter" idx="17"/>
          </p:nvPr>
        </p:nvSpPr>
        <p:spPr>
          <a:xfrm>
            <a:off x="6056315" y="5434021"/>
            <a:ext cx="5534026" cy="1449387"/>
          </a:xfrm>
        </p:spPr>
        <p:txBody>
          <a:bodyPr/>
          <a:lstStyle>
            <a:lvl1pPr>
              <a:buClr>
                <a:srgbClr val="000000"/>
              </a:buClr>
              <a:defRPr sz="1600" i="1">
                <a:solidFill>
                  <a:schemeClr val="bg1"/>
                </a:solidFill>
              </a:defRPr>
            </a:lvl1pPr>
            <a:lvl2pPr marL="461923" indent="-230169">
              <a:buClr>
                <a:schemeClr val="bg1"/>
              </a:buClr>
              <a:buFont typeface="Arial" pitchFamily="34" charset="0"/>
              <a:buChar char="&gt;"/>
              <a:defRPr sz="15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11" name="Title 10"/>
          <p:cNvSpPr>
            <a:spLocks noGrp="1"/>
          </p:cNvSpPr>
          <p:nvPr>
            <p:ph type="title" hasCustomPrompt="1"/>
          </p:nvPr>
        </p:nvSpPr>
        <p:spPr>
          <a:xfrm>
            <a:off x="608014" y="261941"/>
            <a:ext cx="5186362" cy="1271587"/>
          </a:xfrm>
        </p:spPr>
        <p:txBody>
          <a:bodyPr anchor="t" anchorCtr="0"/>
          <a:lstStyle>
            <a:lvl1pPr algn="l">
              <a:defRPr>
                <a:solidFill>
                  <a:schemeClr val="bg1"/>
                </a:solidFill>
              </a:defRPr>
            </a:lvl1pPr>
          </a:lstStyle>
          <a:p>
            <a:r>
              <a:rPr lang="en-US" dirty="0"/>
              <a:t>Click to edit title</a:t>
            </a:r>
          </a:p>
        </p:txBody>
      </p:sp>
      <p:sp>
        <p:nvSpPr>
          <p:cNvPr id="9" name="TextBox 8"/>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chemeClr val="bg1"/>
                </a:solidFill>
                <a:latin typeface="Arial" pitchFamily="34" charset="0"/>
                <a:cs typeface="Arial" pitchFamily="34" charset="0"/>
              </a:rPr>
              <a:t>Confidential Property of Schneider Electric</a:t>
            </a:r>
          </a:p>
        </p:txBody>
      </p:sp>
      <p:sp>
        <p:nvSpPr>
          <p:cNvPr id="16"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1610325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mpariso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74"/>
            <a:ext cx="10969943" cy="1095375"/>
          </a:xfrm>
        </p:spPr>
        <p:txBody>
          <a:bodyPr>
            <a:noAutofit/>
          </a:bodyPr>
          <a:lstStyle>
            <a:lvl1pPr>
              <a:defRPr>
                <a:solidFill>
                  <a:srgbClr val="FFFFFF"/>
                </a:solidFill>
                <a:latin typeface="Arial" pitchFamily="34" charset="0"/>
                <a:cs typeface="Arial" pitchFamily="34" charset="0"/>
              </a:defRPr>
            </a:lvl1pPr>
          </a:lstStyle>
          <a:p>
            <a:r>
              <a:rPr lang="en-US" dirty="0"/>
              <a:t>Click to edit Master title style</a:t>
            </a:r>
          </a:p>
        </p:txBody>
      </p:sp>
      <p:sp>
        <p:nvSpPr>
          <p:cNvPr id="3" name="Text Placeholder 2"/>
          <p:cNvSpPr>
            <a:spLocks noGrp="1"/>
          </p:cNvSpPr>
          <p:nvPr>
            <p:ph type="body" idx="1"/>
          </p:nvPr>
        </p:nvSpPr>
        <p:spPr>
          <a:xfrm>
            <a:off x="609446" y="1509715"/>
            <a:ext cx="5184935" cy="520700"/>
          </a:xfrm>
        </p:spPr>
        <p:txBody>
          <a:bodyPr rIns="0" anchor="t" anchorCtr="0">
            <a:noAutofit/>
          </a:bodyPr>
          <a:lstStyle>
            <a:lvl1pPr marL="0" indent="0" algn="l">
              <a:buNone/>
              <a:defRPr sz="2300" b="1">
                <a:solidFill>
                  <a:srgbClr val="FFFFFF"/>
                </a:solidFill>
                <a:latin typeface="Arial" pitchFamily="34" charset="0"/>
                <a:cs typeface="Arial" pitchFamily="34" charset="0"/>
              </a:defRPr>
            </a:lvl1pPr>
            <a:lvl2pPr marL="457161" indent="0">
              <a:buNone/>
              <a:defRPr sz="2000" b="1"/>
            </a:lvl2pPr>
            <a:lvl3pPr marL="914323" indent="0">
              <a:buNone/>
              <a:defRPr sz="1900" b="1"/>
            </a:lvl3pPr>
            <a:lvl4pPr marL="1371485" indent="0">
              <a:buNone/>
              <a:defRPr sz="1600" b="1"/>
            </a:lvl4pPr>
            <a:lvl5pPr marL="1828648" indent="0">
              <a:buNone/>
              <a:defRPr sz="1600" b="1"/>
            </a:lvl5pPr>
            <a:lvl6pPr marL="2285809" indent="0">
              <a:buNone/>
              <a:defRPr sz="1600" b="1"/>
            </a:lvl6pPr>
            <a:lvl7pPr marL="2742971" indent="0">
              <a:buNone/>
              <a:defRPr sz="1600" b="1"/>
            </a:lvl7pPr>
            <a:lvl8pPr marL="3200133" indent="0">
              <a:buNone/>
              <a:defRPr sz="1600" b="1"/>
            </a:lvl8pPr>
            <a:lvl9pPr marL="3657296" indent="0">
              <a:buNone/>
              <a:defRPr sz="1600" b="1"/>
            </a:lvl9pPr>
          </a:lstStyle>
          <a:p>
            <a:pPr lvl="0"/>
            <a:r>
              <a:rPr lang="en-US" dirty="0"/>
              <a:t>Click to edit Master text styles</a:t>
            </a:r>
          </a:p>
        </p:txBody>
      </p:sp>
      <p:sp>
        <p:nvSpPr>
          <p:cNvPr id="5" name="Text Placeholder 4"/>
          <p:cNvSpPr>
            <a:spLocks noGrp="1"/>
          </p:cNvSpPr>
          <p:nvPr>
            <p:ph type="body" sz="quarter" idx="3"/>
          </p:nvPr>
        </p:nvSpPr>
        <p:spPr>
          <a:xfrm>
            <a:off x="6191754" y="1509715"/>
            <a:ext cx="5387630" cy="520700"/>
          </a:xfrm>
        </p:spPr>
        <p:txBody>
          <a:bodyPr rIns="0" anchor="t" anchorCtr="0">
            <a:noAutofit/>
          </a:bodyPr>
          <a:lstStyle>
            <a:lvl1pPr marL="0" indent="0" algn="l">
              <a:buNone/>
              <a:defRPr sz="2300" b="1">
                <a:solidFill>
                  <a:srgbClr val="FFFFFF"/>
                </a:solidFill>
                <a:latin typeface="Arial" pitchFamily="34" charset="0"/>
                <a:cs typeface="Arial" pitchFamily="34" charset="0"/>
              </a:defRPr>
            </a:lvl1pPr>
            <a:lvl2pPr marL="457161" indent="0">
              <a:buNone/>
              <a:defRPr sz="2000" b="1"/>
            </a:lvl2pPr>
            <a:lvl3pPr marL="914323" indent="0">
              <a:buNone/>
              <a:defRPr sz="1900" b="1"/>
            </a:lvl3pPr>
            <a:lvl4pPr marL="1371485" indent="0">
              <a:buNone/>
              <a:defRPr sz="1600" b="1"/>
            </a:lvl4pPr>
            <a:lvl5pPr marL="1828648" indent="0">
              <a:buNone/>
              <a:defRPr sz="1600" b="1"/>
            </a:lvl5pPr>
            <a:lvl6pPr marL="2285809" indent="0">
              <a:buNone/>
              <a:defRPr sz="1600" b="1"/>
            </a:lvl6pPr>
            <a:lvl7pPr marL="2742971" indent="0">
              <a:buNone/>
              <a:defRPr sz="1600" b="1"/>
            </a:lvl7pPr>
            <a:lvl8pPr marL="3200133" indent="0">
              <a:buNone/>
              <a:defRPr sz="1600" b="1"/>
            </a:lvl8pPr>
            <a:lvl9pPr marL="3657296" indent="0">
              <a:buNone/>
              <a:defRPr sz="1600" b="1"/>
            </a:lvl9pPr>
          </a:lstStyle>
          <a:p>
            <a:pPr lvl="0"/>
            <a:r>
              <a:rPr lang="en-US" dirty="0"/>
              <a:t>Click to edit Master text styles</a:t>
            </a:r>
          </a:p>
        </p:txBody>
      </p:sp>
      <p:sp>
        <p:nvSpPr>
          <p:cNvPr id="9" name="Text Placeholder 8"/>
          <p:cNvSpPr>
            <a:spLocks noGrp="1"/>
          </p:cNvSpPr>
          <p:nvPr>
            <p:ph type="body" sz="quarter" idx="10"/>
          </p:nvPr>
        </p:nvSpPr>
        <p:spPr>
          <a:xfrm>
            <a:off x="609605" y="2144714"/>
            <a:ext cx="5184775" cy="4127500"/>
          </a:xfrm>
        </p:spPr>
        <p:txBody>
          <a:bodyPr/>
          <a:lstStyle>
            <a:lvl1pPr>
              <a:buClr>
                <a:schemeClr val="bg1"/>
              </a:buClr>
              <a:defRPr sz="2000">
                <a:solidFill>
                  <a:schemeClr val="bg1"/>
                </a:solidFill>
              </a:defRPr>
            </a:lvl1pPr>
            <a:lvl2pPr>
              <a:buClr>
                <a:schemeClr val="bg1"/>
              </a:buClr>
              <a:defRPr sz="1900">
                <a:solidFill>
                  <a:schemeClr val="bg1"/>
                </a:solidFill>
              </a:defRPr>
            </a:lvl2pPr>
            <a:lvl3pPr>
              <a:buClr>
                <a:schemeClr val="bg1"/>
              </a:buClr>
              <a:defRPr sz="1600">
                <a:solidFill>
                  <a:schemeClr val="bg1"/>
                </a:solidFill>
              </a:defRPr>
            </a:lvl3pPr>
            <a:lvl4pPr>
              <a:buClr>
                <a:schemeClr val="bg1"/>
              </a:buClr>
              <a:defRPr sz="15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1"/>
          </p:nvPr>
        </p:nvSpPr>
        <p:spPr>
          <a:xfrm>
            <a:off x="6191250" y="2144714"/>
            <a:ext cx="5387975" cy="4127500"/>
          </a:xfrm>
        </p:spPr>
        <p:txBody>
          <a:bodyPr/>
          <a:lstStyle>
            <a:lvl1pPr>
              <a:buClr>
                <a:schemeClr val="bg1"/>
              </a:buClr>
              <a:defRPr sz="2000">
                <a:solidFill>
                  <a:schemeClr val="bg1"/>
                </a:solidFill>
              </a:defRPr>
            </a:lvl1pPr>
            <a:lvl2pPr>
              <a:buClr>
                <a:schemeClr val="bg1"/>
              </a:buClr>
              <a:defRPr sz="1900">
                <a:solidFill>
                  <a:schemeClr val="bg1"/>
                </a:solidFill>
              </a:defRPr>
            </a:lvl2pPr>
            <a:lvl3pPr>
              <a:buClr>
                <a:schemeClr val="bg1"/>
              </a:buClr>
              <a:defRPr sz="1600">
                <a:solidFill>
                  <a:schemeClr val="bg1"/>
                </a:solidFill>
              </a:defRPr>
            </a:lvl3pPr>
            <a:lvl4pPr>
              <a:buClr>
                <a:schemeClr val="bg1"/>
              </a:buClr>
              <a:defRPr sz="15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chemeClr val="bg1"/>
                </a:solidFill>
                <a:latin typeface="Arial" pitchFamily="34" charset="0"/>
                <a:cs typeface="Arial" pitchFamily="34" charset="0"/>
              </a:rPr>
              <a:t>Confidential Property of Schneider Electric</a:t>
            </a:r>
          </a:p>
        </p:txBody>
      </p:sp>
      <p:sp>
        <p:nvSpPr>
          <p:cNvPr id="14"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18574054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6 Colum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74"/>
            <a:ext cx="10969943" cy="1095375"/>
          </a:xfrm>
        </p:spPr>
        <p:txBody>
          <a:bodyPr>
            <a:noAutofit/>
          </a:bodyPr>
          <a:lstStyle>
            <a:lvl1pPr>
              <a:defRPr>
                <a:solidFill>
                  <a:srgbClr val="FFFFFF"/>
                </a:solidFill>
              </a:defRPr>
            </a:lvl1pPr>
          </a:lstStyle>
          <a:p>
            <a:r>
              <a:rPr lang="en-US" dirty="0"/>
              <a:t>Click to edit Master title style</a:t>
            </a:r>
          </a:p>
        </p:txBody>
      </p:sp>
      <p:sp>
        <p:nvSpPr>
          <p:cNvPr id="10" name="Picture Placeholder 9"/>
          <p:cNvSpPr>
            <a:spLocks noGrp="1"/>
          </p:cNvSpPr>
          <p:nvPr>
            <p:ph type="pic" sz="quarter" idx="10"/>
          </p:nvPr>
        </p:nvSpPr>
        <p:spPr>
          <a:xfrm>
            <a:off x="606074" y="2202085"/>
            <a:ext cx="1709928" cy="1737360"/>
          </a:xfrm>
        </p:spPr>
        <p:txBody>
          <a:bodyPr>
            <a:noAutofit/>
          </a:bodyPr>
          <a:lstStyle>
            <a:lvl1pPr marL="0" indent="0" algn="ctr">
              <a:buNone/>
              <a:defRPr sz="1900">
                <a:solidFill>
                  <a:srgbClr val="FFFFFF"/>
                </a:solidFill>
              </a:defRPr>
            </a:lvl1pPr>
          </a:lstStyle>
          <a:p>
            <a:r>
              <a:rPr lang="en-US"/>
              <a:t>Drag picture to placeholder or click icon to add</a:t>
            </a:r>
          </a:p>
        </p:txBody>
      </p:sp>
      <p:sp>
        <p:nvSpPr>
          <p:cNvPr id="11" name="Picture Placeholder 9"/>
          <p:cNvSpPr>
            <a:spLocks noGrp="1"/>
          </p:cNvSpPr>
          <p:nvPr>
            <p:ph type="pic" sz="quarter" idx="11"/>
          </p:nvPr>
        </p:nvSpPr>
        <p:spPr>
          <a:xfrm>
            <a:off x="2459035" y="2202085"/>
            <a:ext cx="1709928" cy="1737360"/>
          </a:xfrm>
        </p:spPr>
        <p:txBody>
          <a:bodyPr>
            <a:noAutofit/>
          </a:bodyPr>
          <a:lstStyle>
            <a:lvl1pPr marL="0" indent="0" algn="ctr">
              <a:buNone/>
              <a:defRPr sz="1900">
                <a:solidFill>
                  <a:srgbClr val="FFFFFF"/>
                </a:solidFill>
              </a:defRPr>
            </a:lvl1pPr>
          </a:lstStyle>
          <a:p>
            <a:r>
              <a:rPr lang="en-US"/>
              <a:t>Drag picture to placeholder or click icon to add</a:t>
            </a:r>
          </a:p>
        </p:txBody>
      </p:sp>
      <p:sp>
        <p:nvSpPr>
          <p:cNvPr id="12" name="Picture Placeholder 9"/>
          <p:cNvSpPr>
            <a:spLocks noGrp="1"/>
          </p:cNvSpPr>
          <p:nvPr>
            <p:ph type="pic" sz="quarter" idx="12"/>
          </p:nvPr>
        </p:nvSpPr>
        <p:spPr>
          <a:xfrm>
            <a:off x="4313396" y="2202085"/>
            <a:ext cx="1709928" cy="1737360"/>
          </a:xfrm>
        </p:spPr>
        <p:txBody>
          <a:bodyPr>
            <a:noAutofit/>
          </a:bodyPr>
          <a:lstStyle>
            <a:lvl1pPr marL="0" indent="0" algn="ctr">
              <a:buNone/>
              <a:defRPr sz="1900">
                <a:solidFill>
                  <a:srgbClr val="FFFFFF"/>
                </a:solidFill>
              </a:defRPr>
            </a:lvl1pPr>
          </a:lstStyle>
          <a:p>
            <a:r>
              <a:rPr lang="en-US" dirty="0"/>
              <a:t>Drag picture to placeholder or click icon to add</a:t>
            </a:r>
          </a:p>
        </p:txBody>
      </p:sp>
      <p:sp>
        <p:nvSpPr>
          <p:cNvPr id="13" name="Picture Placeholder 9"/>
          <p:cNvSpPr>
            <a:spLocks noGrp="1"/>
          </p:cNvSpPr>
          <p:nvPr>
            <p:ph type="pic" sz="quarter" idx="13"/>
          </p:nvPr>
        </p:nvSpPr>
        <p:spPr>
          <a:xfrm>
            <a:off x="6166168" y="2202085"/>
            <a:ext cx="1709928" cy="1737360"/>
          </a:xfrm>
        </p:spPr>
        <p:txBody>
          <a:bodyPr>
            <a:noAutofit/>
          </a:bodyPr>
          <a:lstStyle>
            <a:lvl1pPr marL="0" indent="0" algn="ctr">
              <a:buNone/>
              <a:defRPr sz="1900">
                <a:solidFill>
                  <a:srgbClr val="FFFFFF"/>
                </a:solidFill>
              </a:defRPr>
            </a:lvl1pPr>
          </a:lstStyle>
          <a:p>
            <a:r>
              <a:rPr lang="en-US"/>
              <a:t>Drag picture to placeholder or click icon to add</a:t>
            </a:r>
          </a:p>
        </p:txBody>
      </p:sp>
      <p:sp>
        <p:nvSpPr>
          <p:cNvPr id="14" name="Picture Placeholder 9"/>
          <p:cNvSpPr>
            <a:spLocks noGrp="1"/>
          </p:cNvSpPr>
          <p:nvPr>
            <p:ph type="pic" sz="quarter" idx="14"/>
          </p:nvPr>
        </p:nvSpPr>
        <p:spPr>
          <a:xfrm>
            <a:off x="8013763" y="2202085"/>
            <a:ext cx="1709928" cy="1737360"/>
          </a:xfrm>
        </p:spPr>
        <p:txBody>
          <a:bodyPr>
            <a:noAutofit/>
          </a:bodyPr>
          <a:lstStyle>
            <a:lvl1pPr marL="0" indent="0" algn="ctr">
              <a:buNone/>
              <a:defRPr sz="1900">
                <a:solidFill>
                  <a:srgbClr val="FFFFFF"/>
                </a:solidFill>
              </a:defRPr>
            </a:lvl1pPr>
          </a:lstStyle>
          <a:p>
            <a:r>
              <a:rPr lang="en-US"/>
              <a:t>Drag picture to placeholder or click icon to add</a:t>
            </a:r>
          </a:p>
        </p:txBody>
      </p:sp>
      <p:sp>
        <p:nvSpPr>
          <p:cNvPr id="15" name="Picture Placeholder 9"/>
          <p:cNvSpPr>
            <a:spLocks noGrp="1"/>
          </p:cNvSpPr>
          <p:nvPr>
            <p:ph type="pic" sz="quarter" idx="15"/>
          </p:nvPr>
        </p:nvSpPr>
        <p:spPr>
          <a:xfrm>
            <a:off x="9869294" y="2202085"/>
            <a:ext cx="1709928" cy="1737360"/>
          </a:xfrm>
        </p:spPr>
        <p:txBody>
          <a:bodyPr>
            <a:noAutofit/>
          </a:bodyPr>
          <a:lstStyle>
            <a:lvl1pPr marL="0" indent="0" algn="ctr">
              <a:buNone/>
              <a:defRPr sz="1900">
                <a:solidFill>
                  <a:srgbClr val="FFFFFF"/>
                </a:solidFill>
              </a:defRPr>
            </a:lvl1pPr>
          </a:lstStyle>
          <a:p>
            <a:r>
              <a:rPr lang="en-US"/>
              <a:t>Drag picture to placeholder or click icon to add</a:t>
            </a:r>
          </a:p>
        </p:txBody>
      </p:sp>
      <p:sp>
        <p:nvSpPr>
          <p:cNvPr id="17" name="Text Placeholder 16"/>
          <p:cNvSpPr>
            <a:spLocks noGrp="1"/>
          </p:cNvSpPr>
          <p:nvPr>
            <p:ph type="body" sz="quarter" idx="16"/>
          </p:nvPr>
        </p:nvSpPr>
        <p:spPr>
          <a:xfrm>
            <a:off x="606234" y="4089401"/>
            <a:ext cx="1709928"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dirty="0"/>
              <a:t>Click to edit Master text styles</a:t>
            </a:r>
          </a:p>
        </p:txBody>
      </p:sp>
      <p:sp>
        <p:nvSpPr>
          <p:cNvPr id="18" name="Text Placeholder 16"/>
          <p:cNvSpPr>
            <a:spLocks noGrp="1"/>
          </p:cNvSpPr>
          <p:nvPr>
            <p:ph type="body" sz="quarter" idx="17"/>
          </p:nvPr>
        </p:nvSpPr>
        <p:spPr>
          <a:xfrm>
            <a:off x="2459038" y="4089401"/>
            <a:ext cx="1709928"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dirty="0"/>
              <a:t>Click to edit Master text styles</a:t>
            </a:r>
          </a:p>
        </p:txBody>
      </p:sp>
      <p:sp>
        <p:nvSpPr>
          <p:cNvPr id="19" name="Text Placeholder 16"/>
          <p:cNvSpPr>
            <a:spLocks noGrp="1"/>
          </p:cNvSpPr>
          <p:nvPr>
            <p:ph type="body" sz="quarter" idx="18"/>
          </p:nvPr>
        </p:nvSpPr>
        <p:spPr>
          <a:xfrm>
            <a:off x="4313238" y="4089401"/>
            <a:ext cx="1709928"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a:t>Click to edit Master text styles</a:t>
            </a:r>
          </a:p>
        </p:txBody>
      </p:sp>
      <p:sp>
        <p:nvSpPr>
          <p:cNvPr id="20" name="Text Placeholder 16"/>
          <p:cNvSpPr>
            <a:spLocks noGrp="1"/>
          </p:cNvSpPr>
          <p:nvPr>
            <p:ph type="body" sz="quarter" idx="19"/>
          </p:nvPr>
        </p:nvSpPr>
        <p:spPr>
          <a:xfrm>
            <a:off x="6165850" y="4089401"/>
            <a:ext cx="1709928"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a:t>Click to edit Master text styles</a:t>
            </a:r>
          </a:p>
        </p:txBody>
      </p:sp>
      <p:sp>
        <p:nvSpPr>
          <p:cNvPr id="21" name="Text Placeholder 16"/>
          <p:cNvSpPr>
            <a:spLocks noGrp="1"/>
          </p:cNvSpPr>
          <p:nvPr>
            <p:ph type="body" sz="quarter" idx="20"/>
          </p:nvPr>
        </p:nvSpPr>
        <p:spPr>
          <a:xfrm>
            <a:off x="8013447" y="4089401"/>
            <a:ext cx="1709928"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a:t>Click to edit Master text styles</a:t>
            </a:r>
          </a:p>
        </p:txBody>
      </p:sp>
      <p:sp>
        <p:nvSpPr>
          <p:cNvPr id="22" name="Text Placeholder 16"/>
          <p:cNvSpPr>
            <a:spLocks noGrp="1"/>
          </p:cNvSpPr>
          <p:nvPr>
            <p:ph type="body" sz="quarter" idx="21"/>
          </p:nvPr>
        </p:nvSpPr>
        <p:spPr>
          <a:xfrm>
            <a:off x="9869297" y="4089401"/>
            <a:ext cx="1709928"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a:t>Click to edit Master text styles</a:t>
            </a:r>
          </a:p>
        </p:txBody>
      </p:sp>
      <p:sp>
        <p:nvSpPr>
          <p:cNvPr id="23" name="TextBox 22"/>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chemeClr val="bg1"/>
                </a:solidFill>
                <a:latin typeface="Arial" pitchFamily="34" charset="0"/>
                <a:cs typeface="Arial" pitchFamily="34" charset="0"/>
              </a:rPr>
              <a:t>Confidential Property of Schneider Electric</a:t>
            </a:r>
          </a:p>
        </p:txBody>
      </p:sp>
      <p:sp>
        <p:nvSpPr>
          <p:cNvPr id="26"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6984531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Bubbles">
    <p:bg>
      <p:bgPr>
        <a:solidFill>
          <a:srgbClr val="009530"/>
        </a:solidFill>
        <a:effectLst/>
      </p:bgPr>
    </p:bg>
    <p:spTree>
      <p:nvGrpSpPr>
        <p:cNvPr id="1" name=""/>
        <p:cNvGrpSpPr/>
        <p:nvPr/>
      </p:nvGrpSpPr>
      <p:grpSpPr>
        <a:xfrm>
          <a:off x="0" y="0"/>
          <a:ext cx="0" cy="0"/>
          <a:chOff x="0" y="0"/>
          <a:chExt cx="0" cy="0"/>
        </a:xfrm>
      </p:grpSpPr>
      <p:pic>
        <p:nvPicPr>
          <p:cNvPr id="8" name="Picture 7" descr="023611862_prevstill.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5318" t="14066" r="17976" b="9228"/>
          <a:stretch/>
        </p:blipFill>
        <p:spPr>
          <a:xfrm>
            <a:off x="0" y="-20632"/>
            <a:ext cx="12188825" cy="6899263"/>
          </a:xfrm>
          <a:prstGeom prst="rect">
            <a:avLst/>
          </a:prstGeom>
        </p:spPr>
      </p:pic>
      <p:sp>
        <p:nvSpPr>
          <p:cNvPr id="2" name="Title 1"/>
          <p:cNvSpPr>
            <a:spLocks noGrp="1"/>
          </p:cNvSpPr>
          <p:nvPr>
            <p:ph type="ctrTitle" hasCustomPrompt="1"/>
          </p:nvPr>
        </p:nvSpPr>
        <p:spPr>
          <a:xfrm>
            <a:off x="599918" y="2130442"/>
            <a:ext cx="10979309" cy="1470025"/>
          </a:xfrm>
        </p:spPr>
        <p:txBody>
          <a:bodyPr lIns="0" anchor="b" anchorCtr="0">
            <a:noAutofit/>
          </a:bodyPr>
          <a:lstStyle>
            <a:lvl1pPr algn="l">
              <a:defRPr sz="3600" b="1">
                <a:solidFill>
                  <a:schemeClr val="bg1"/>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599918" y="3644659"/>
            <a:ext cx="10979309" cy="1099871"/>
          </a:xfrm>
        </p:spPr>
        <p:txBody>
          <a:bodyPr lIns="0">
            <a:noAutofit/>
          </a:bodyPr>
          <a:lstStyle>
            <a:lvl1pPr marL="0" indent="0" algn="l">
              <a:buNone/>
              <a:defRPr sz="2300">
                <a:solidFill>
                  <a:schemeClr val="bg1"/>
                </a:solidFill>
                <a:latin typeface="Arial" pitchFamily="34" charset="0"/>
                <a:cs typeface="Arial" pitchFamily="34" charset="0"/>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5" indent="0" algn="ctr">
              <a:buNone/>
              <a:defRPr>
                <a:solidFill>
                  <a:schemeClr val="tx1">
                    <a:tint val="75000"/>
                  </a:schemeClr>
                </a:solidFill>
              </a:defRPr>
            </a:lvl4pPr>
            <a:lvl5pPr marL="1828648" indent="0" algn="ctr">
              <a:buNone/>
              <a:defRPr>
                <a:solidFill>
                  <a:schemeClr val="tx1">
                    <a:tint val="75000"/>
                  </a:schemeClr>
                </a:solidFill>
              </a:defRPr>
            </a:lvl5pPr>
            <a:lvl6pPr marL="2285809" indent="0" algn="ctr">
              <a:buNone/>
              <a:defRPr>
                <a:solidFill>
                  <a:schemeClr val="tx1">
                    <a:tint val="75000"/>
                  </a:schemeClr>
                </a:solidFill>
              </a:defRPr>
            </a:lvl6pPr>
            <a:lvl7pPr marL="2742971"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600082" y="5124587"/>
            <a:ext cx="8586159" cy="1120775"/>
          </a:xfrm>
        </p:spPr>
        <p:txBody>
          <a:bodyPr>
            <a:normAutofit/>
          </a:bodyPr>
          <a:lstStyle>
            <a:lvl1pPr marL="0" indent="0">
              <a:buNone/>
              <a:defRPr sz="16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9686420" y="5902135"/>
            <a:ext cx="1892808" cy="566928"/>
          </a:xfrm>
          <a:prstGeom prst="rect">
            <a:avLst/>
          </a:prstGeom>
          <a:noFill/>
        </p:spPr>
      </p:pic>
    </p:spTree>
    <p:extLst>
      <p:ext uri="{BB962C8B-B14F-4D97-AF65-F5344CB8AC3E}">
        <p14:creationId xmlns:p14="http://schemas.microsoft.com/office/powerpoint/2010/main" val="12688631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arket Pictos_Green">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609441" y="271466"/>
            <a:ext cx="10969943" cy="1095375"/>
          </a:xfrm>
        </p:spPr>
        <p:txBody>
          <a:bodyPr/>
          <a:lstStyle>
            <a:lvl1pPr algn="l">
              <a:defRPr>
                <a:solidFill>
                  <a:srgbClr val="009530"/>
                </a:solidFill>
              </a:defRPr>
            </a:lvl1pPr>
          </a:lstStyle>
          <a:p>
            <a:r>
              <a:rPr lang="en-US" dirty="0"/>
              <a:t>Market </a:t>
            </a:r>
            <a:r>
              <a:rPr lang="en-US" dirty="0" err="1"/>
              <a:t>Pictos</a:t>
            </a:r>
            <a:endParaRPr lang="en-US" noProof="0" dirty="0"/>
          </a:p>
        </p:txBody>
      </p:sp>
      <p:sp>
        <p:nvSpPr>
          <p:cNvPr id="264" name="Freeform 156"/>
          <p:cNvSpPr>
            <a:spLocks noChangeAspect="1"/>
          </p:cNvSpPr>
          <p:nvPr userDrawn="1"/>
        </p:nvSpPr>
        <p:spPr bwMode="auto">
          <a:xfrm>
            <a:off x="10351087" y="2195360"/>
            <a:ext cx="391833" cy="393192"/>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65" name="Freeform 188"/>
          <p:cNvSpPr>
            <a:spLocks noChangeAspect="1" noEditPoints="1"/>
          </p:cNvSpPr>
          <p:nvPr userDrawn="1"/>
        </p:nvSpPr>
        <p:spPr bwMode="auto">
          <a:xfrm>
            <a:off x="10335262" y="3000095"/>
            <a:ext cx="422086" cy="393192"/>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66" name="Freeform 192"/>
          <p:cNvSpPr>
            <a:spLocks noChangeAspect="1" noEditPoints="1"/>
          </p:cNvSpPr>
          <p:nvPr userDrawn="1"/>
        </p:nvSpPr>
        <p:spPr bwMode="auto">
          <a:xfrm>
            <a:off x="8472430" y="2195360"/>
            <a:ext cx="394363" cy="393192"/>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67" name="Freeform 200"/>
          <p:cNvSpPr>
            <a:spLocks noChangeAspect="1"/>
          </p:cNvSpPr>
          <p:nvPr userDrawn="1"/>
        </p:nvSpPr>
        <p:spPr bwMode="auto">
          <a:xfrm>
            <a:off x="9512902" y="2195360"/>
            <a:ext cx="273024" cy="393192"/>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68" name="Freeform 204"/>
          <p:cNvSpPr>
            <a:spLocks noChangeAspect="1"/>
          </p:cNvSpPr>
          <p:nvPr userDrawn="1"/>
        </p:nvSpPr>
        <p:spPr bwMode="auto">
          <a:xfrm>
            <a:off x="7605970" y="3000095"/>
            <a:ext cx="231658" cy="393192"/>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69" name="Freeform 212"/>
          <p:cNvSpPr>
            <a:spLocks noChangeAspect="1"/>
          </p:cNvSpPr>
          <p:nvPr userDrawn="1"/>
        </p:nvSpPr>
        <p:spPr bwMode="auto">
          <a:xfrm>
            <a:off x="8576194" y="3838255"/>
            <a:ext cx="201481" cy="40436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70" name="Freeform 228"/>
          <p:cNvSpPr>
            <a:spLocks noChangeAspect="1"/>
          </p:cNvSpPr>
          <p:nvPr userDrawn="1"/>
        </p:nvSpPr>
        <p:spPr bwMode="auto">
          <a:xfrm>
            <a:off x="9461323" y="3000095"/>
            <a:ext cx="371653" cy="393192"/>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71" name="Freeform 208"/>
          <p:cNvSpPr>
            <a:spLocks noChangeAspect="1"/>
          </p:cNvSpPr>
          <p:nvPr userDrawn="1"/>
        </p:nvSpPr>
        <p:spPr bwMode="auto">
          <a:xfrm>
            <a:off x="8574378" y="2941499"/>
            <a:ext cx="254308" cy="451797"/>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72" name="Freeform 152"/>
          <p:cNvSpPr>
            <a:spLocks noChangeAspect="1"/>
          </p:cNvSpPr>
          <p:nvPr userDrawn="1"/>
        </p:nvSpPr>
        <p:spPr bwMode="auto">
          <a:xfrm>
            <a:off x="7471868" y="4723069"/>
            <a:ext cx="586683" cy="351304"/>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73" name="Freeform 176"/>
          <p:cNvSpPr>
            <a:spLocks noChangeAspect="1"/>
          </p:cNvSpPr>
          <p:nvPr userDrawn="1"/>
        </p:nvSpPr>
        <p:spPr bwMode="auto">
          <a:xfrm>
            <a:off x="11346413" y="2195360"/>
            <a:ext cx="383947" cy="393192"/>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74" name="Freeform 140"/>
          <p:cNvSpPr>
            <a:spLocks noChangeAspect="1"/>
          </p:cNvSpPr>
          <p:nvPr userDrawn="1"/>
        </p:nvSpPr>
        <p:spPr bwMode="auto">
          <a:xfrm>
            <a:off x="10350370" y="3849421"/>
            <a:ext cx="393194" cy="393192"/>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75" name="Freeform 172"/>
          <p:cNvSpPr>
            <a:spLocks noChangeAspect="1"/>
          </p:cNvSpPr>
          <p:nvPr userDrawn="1"/>
        </p:nvSpPr>
        <p:spPr bwMode="auto">
          <a:xfrm>
            <a:off x="11340336" y="3836721"/>
            <a:ext cx="395565" cy="393192"/>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76" name="Freeform 48"/>
          <p:cNvSpPr>
            <a:spLocks noChangeAspect="1"/>
          </p:cNvSpPr>
          <p:nvPr userDrawn="1"/>
        </p:nvSpPr>
        <p:spPr bwMode="auto">
          <a:xfrm>
            <a:off x="3424347" y="1185552"/>
            <a:ext cx="276964" cy="393192"/>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77" name="TextBox 276"/>
          <p:cNvSpPr txBox="1"/>
          <p:nvPr userDrawn="1"/>
        </p:nvSpPr>
        <p:spPr>
          <a:xfrm>
            <a:off x="3143304" y="1669181"/>
            <a:ext cx="810056" cy="24622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Energy &amp;</a:t>
            </a:r>
            <a:br>
              <a:rPr lang="en-US" sz="800" b="1" dirty="0">
                <a:solidFill>
                  <a:srgbClr val="626469"/>
                </a:solidFill>
                <a:latin typeface="Arial" pitchFamily="34" charset="0"/>
                <a:cs typeface="Arial" pitchFamily="34" charset="0"/>
              </a:rPr>
            </a:br>
            <a:r>
              <a:rPr lang="en-US" sz="800" b="1" dirty="0">
                <a:solidFill>
                  <a:srgbClr val="626469"/>
                </a:solidFill>
                <a:latin typeface="Arial" pitchFamily="34" charset="0"/>
                <a:cs typeface="Arial" pitchFamily="34" charset="0"/>
              </a:rPr>
              <a:t>infrastructure</a:t>
            </a:r>
          </a:p>
        </p:txBody>
      </p:sp>
      <p:sp>
        <p:nvSpPr>
          <p:cNvPr id="278" name="Freeform 52"/>
          <p:cNvSpPr>
            <a:spLocks noChangeAspect="1"/>
          </p:cNvSpPr>
          <p:nvPr userDrawn="1"/>
        </p:nvSpPr>
        <p:spPr bwMode="auto">
          <a:xfrm>
            <a:off x="4303859" y="1185552"/>
            <a:ext cx="380589" cy="393192"/>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279" name="TextBox 278"/>
          <p:cNvSpPr txBox="1"/>
          <p:nvPr userDrawn="1"/>
        </p:nvSpPr>
        <p:spPr>
          <a:xfrm>
            <a:off x="4196931" y="1669183"/>
            <a:ext cx="590228" cy="123111"/>
          </a:xfrm>
          <a:prstGeom prst="rect">
            <a:avLst/>
          </a:prstGeom>
          <a:noFill/>
        </p:spPr>
        <p:txBody>
          <a:bodyPr wrap="square" lIns="0" tIns="0" rIns="0" bIns="0" rtlCol="0" anchor="t" anchorCtr="0">
            <a:spAutoFit/>
          </a:bodyPr>
          <a:lstStyle/>
          <a:p>
            <a:pPr algn="ctr"/>
            <a:r>
              <a:rPr lang="en-US" sz="800" b="1" dirty="0">
                <a:solidFill>
                  <a:srgbClr val="626469"/>
                </a:solidFill>
                <a:latin typeface="Arial" pitchFamily="34" charset="0"/>
                <a:cs typeface="Arial" pitchFamily="34" charset="0"/>
              </a:rPr>
              <a:t>Industry</a:t>
            </a:r>
          </a:p>
        </p:txBody>
      </p:sp>
      <p:sp>
        <p:nvSpPr>
          <p:cNvPr id="280" name="Freeform 68"/>
          <p:cNvSpPr>
            <a:spLocks noChangeAspect="1"/>
          </p:cNvSpPr>
          <p:nvPr userDrawn="1"/>
        </p:nvSpPr>
        <p:spPr bwMode="auto">
          <a:xfrm>
            <a:off x="1438333" y="1185552"/>
            <a:ext cx="448619" cy="393192"/>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281" name="TextBox 280"/>
          <p:cNvSpPr txBox="1"/>
          <p:nvPr userDrawn="1"/>
        </p:nvSpPr>
        <p:spPr>
          <a:xfrm>
            <a:off x="1342306" y="1669183"/>
            <a:ext cx="652743" cy="12311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Buildings</a:t>
            </a:r>
          </a:p>
        </p:txBody>
      </p:sp>
      <p:sp>
        <p:nvSpPr>
          <p:cNvPr id="282" name="Freeform 60"/>
          <p:cNvSpPr>
            <a:spLocks noChangeAspect="1"/>
          </p:cNvSpPr>
          <p:nvPr userDrawn="1"/>
        </p:nvSpPr>
        <p:spPr bwMode="auto">
          <a:xfrm>
            <a:off x="2317355" y="1222075"/>
            <a:ext cx="493975" cy="353487"/>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283" name="TextBox 282"/>
          <p:cNvSpPr txBox="1"/>
          <p:nvPr userDrawn="1"/>
        </p:nvSpPr>
        <p:spPr>
          <a:xfrm>
            <a:off x="2286375" y="1669188"/>
            <a:ext cx="647613" cy="24622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Data </a:t>
            </a:r>
            <a:r>
              <a:rPr lang="en-US" sz="800" b="1" dirty="0" err="1">
                <a:solidFill>
                  <a:srgbClr val="626469"/>
                </a:solidFill>
                <a:latin typeface="Arial" pitchFamily="34" charset="0"/>
                <a:cs typeface="Arial" pitchFamily="34" charset="0"/>
              </a:rPr>
              <a:t>centres</a:t>
            </a:r>
            <a:r>
              <a:rPr lang="en-US" sz="800" b="1" dirty="0">
                <a:solidFill>
                  <a:srgbClr val="626469"/>
                </a:solidFill>
                <a:latin typeface="Arial" pitchFamily="34" charset="0"/>
                <a:cs typeface="Arial" pitchFamily="34" charset="0"/>
              </a:rPr>
              <a:t> </a:t>
            </a:r>
            <a:br>
              <a:rPr lang="en-US" sz="800" b="1" dirty="0">
                <a:solidFill>
                  <a:srgbClr val="626469"/>
                </a:solidFill>
                <a:latin typeface="Arial" pitchFamily="34" charset="0"/>
                <a:cs typeface="Arial" pitchFamily="34" charset="0"/>
              </a:rPr>
            </a:br>
            <a:r>
              <a:rPr lang="en-US" sz="800" b="1" dirty="0">
                <a:solidFill>
                  <a:srgbClr val="626469"/>
                </a:solidFill>
                <a:latin typeface="Arial" pitchFamily="34" charset="0"/>
                <a:cs typeface="Arial" pitchFamily="34" charset="0"/>
              </a:rPr>
              <a:t>&amp; networks</a:t>
            </a:r>
          </a:p>
        </p:txBody>
      </p:sp>
      <p:sp>
        <p:nvSpPr>
          <p:cNvPr id="284" name="Freeform 64"/>
          <p:cNvSpPr>
            <a:spLocks noChangeAspect="1"/>
          </p:cNvSpPr>
          <p:nvPr userDrawn="1"/>
        </p:nvSpPr>
        <p:spPr bwMode="auto">
          <a:xfrm>
            <a:off x="5258279" y="1185552"/>
            <a:ext cx="358929" cy="393192"/>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285" name="TextBox 284"/>
          <p:cNvSpPr txBox="1"/>
          <p:nvPr userDrawn="1"/>
        </p:nvSpPr>
        <p:spPr>
          <a:xfrm>
            <a:off x="5158135" y="1669189"/>
            <a:ext cx="549831" cy="12311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Residential</a:t>
            </a:r>
          </a:p>
        </p:txBody>
      </p:sp>
      <p:sp>
        <p:nvSpPr>
          <p:cNvPr id="286" name="Freeform 148"/>
          <p:cNvSpPr>
            <a:spLocks noChangeAspect="1"/>
          </p:cNvSpPr>
          <p:nvPr userDrawn="1"/>
        </p:nvSpPr>
        <p:spPr bwMode="auto">
          <a:xfrm>
            <a:off x="9432244" y="1260845"/>
            <a:ext cx="446842" cy="340107"/>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287" name="TextBox 286"/>
          <p:cNvSpPr txBox="1"/>
          <p:nvPr userDrawn="1"/>
        </p:nvSpPr>
        <p:spPr>
          <a:xfrm>
            <a:off x="9229950" y="1669181"/>
            <a:ext cx="851437" cy="24622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Power management</a:t>
            </a:r>
          </a:p>
        </p:txBody>
      </p:sp>
      <p:sp>
        <p:nvSpPr>
          <p:cNvPr id="288" name="Freeform 184"/>
          <p:cNvSpPr>
            <a:spLocks noChangeAspect="1"/>
          </p:cNvSpPr>
          <p:nvPr userDrawn="1"/>
        </p:nvSpPr>
        <p:spPr bwMode="auto">
          <a:xfrm>
            <a:off x="8409158" y="1207759"/>
            <a:ext cx="489928" cy="393192"/>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89" name="TextBox 288"/>
          <p:cNvSpPr txBox="1"/>
          <p:nvPr userDrawn="1"/>
        </p:nvSpPr>
        <p:spPr>
          <a:xfrm>
            <a:off x="7988860" y="1669181"/>
            <a:ext cx="1379553" cy="24622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Process/machine management</a:t>
            </a:r>
          </a:p>
        </p:txBody>
      </p:sp>
      <p:sp>
        <p:nvSpPr>
          <p:cNvPr id="290" name="Freeform 132"/>
          <p:cNvSpPr>
            <a:spLocks noChangeAspect="1"/>
          </p:cNvSpPr>
          <p:nvPr userDrawn="1"/>
        </p:nvSpPr>
        <p:spPr bwMode="auto">
          <a:xfrm>
            <a:off x="7526969" y="1207759"/>
            <a:ext cx="386910" cy="393192"/>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91" name="TextBox 290"/>
          <p:cNvSpPr txBox="1"/>
          <p:nvPr userDrawn="1"/>
        </p:nvSpPr>
        <p:spPr>
          <a:xfrm>
            <a:off x="7191941" y="1669181"/>
            <a:ext cx="1070335" cy="24622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IT room</a:t>
            </a:r>
            <a:br>
              <a:rPr lang="en-US" sz="800" b="1" dirty="0">
                <a:solidFill>
                  <a:srgbClr val="626469"/>
                </a:solidFill>
                <a:latin typeface="Arial" pitchFamily="34" charset="0"/>
                <a:cs typeface="Arial" pitchFamily="34" charset="0"/>
              </a:rPr>
            </a:br>
            <a:r>
              <a:rPr lang="en-US" sz="800" b="1" dirty="0">
                <a:solidFill>
                  <a:srgbClr val="626469"/>
                </a:solidFill>
                <a:latin typeface="Arial" pitchFamily="34" charset="0"/>
                <a:cs typeface="Arial" pitchFamily="34" charset="0"/>
              </a:rPr>
              <a:t>management</a:t>
            </a:r>
          </a:p>
        </p:txBody>
      </p:sp>
      <p:sp>
        <p:nvSpPr>
          <p:cNvPr id="292" name="Freeform 180"/>
          <p:cNvSpPr>
            <a:spLocks noChangeAspect="1"/>
          </p:cNvSpPr>
          <p:nvPr userDrawn="1"/>
        </p:nvSpPr>
        <p:spPr bwMode="auto">
          <a:xfrm>
            <a:off x="10338927" y="1207759"/>
            <a:ext cx="350298" cy="393192"/>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93" name="TextBox 292"/>
          <p:cNvSpPr txBox="1"/>
          <p:nvPr userDrawn="1"/>
        </p:nvSpPr>
        <p:spPr>
          <a:xfrm>
            <a:off x="10094005" y="1669181"/>
            <a:ext cx="923941" cy="24622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Security</a:t>
            </a:r>
            <a:br>
              <a:rPr lang="en-US" sz="800" b="1" dirty="0">
                <a:solidFill>
                  <a:srgbClr val="626469"/>
                </a:solidFill>
                <a:latin typeface="Arial" pitchFamily="34" charset="0"/>
                <a:cs typeface="Arial" pitchFamily="34" charset="0"/>
              </a:rPr>
            </a:br>
            <a:r>
              <a:rPr lang="en-US" sz="800" b="1" dirty="0">
                <a:solidFill>
                  <a:srgbClr val="626469"/>
                </a:solidFill>
                <a:latin typeface="Arial" pitchFamily="34" charset="0"/>
                <a:cs typeface="Arial" pitchFamily="34" charset="0"/>
              </a:rPr>
              <a:t>management</a:t>
            </a:r>
          </a:p>
        </p:txBody>
      </p:sp>
      <p:sp>
        <p:nvSpPr>
          <p:cNvPr id="294" name="Freeform 124"/>
          <p:cNvSpPr>
            <a:spLocks noChangeAspect="1"/>
          </p:cNvSpPr>
          <p:nvPr userDrawn="1"/>
        </p:nvSpPr>
        <p:spPr bwMode="auto">
          <a:xfrm>
            <a:off x="2418237" y="2195360"/>
            <a:ext cx="367063" cy="393192"/>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295" name="TextBox 294"/>
          <p:cNvSpPr txBox="1"/>
          <p:nvPr userDrawn="1"/>
        </p:nvSpPr>
        <p:spPr>
          <a:xfrm>
            <a:off x="2291570" y="2639108"/>
            <a:ext cx="637207" cy="24622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Electric</a:t>
            </a:r>
            <a:br>
              <a:rPr lang="en-US" sz="800" b="1" dirty="0">
                <a:solidFill>
                  <a:srgbClr val="626469"/>
                </a:solidFill>
                <a:latin typeface="Arial" pitchFamily="34" charset="0"/>
                <a:cs typeface="Arial" pitchFamily="34" charset="0"/>
              </a:rPr>
            </a:br>
            <a:r>
              <a:rPr lang="en-US" sz="800" b="1" dirty="0">
                <a:solidFill>
                  <a:srgbClr val="626469"/>
                </a:solidFill>
                <a:latin typeface="Arial" pitchFamily="34" charset="0"/>
                <a:cs typeface="Arial" pitchFamily="34" charset="0"/>
              </a:rPr>
              <a:t>utilities</a:t>
            </a:r>
          </a:p>
        </p:txBody>
      </p:sp>
      <p:sp>
        <p:nvSpPr>
          <p:cNvPr id="296" name="Freeform 116"/>
          <p:cNvSpPr>
            <a:spLocks noChangeAspect="1"/>
          </p:cNvSpPr>
          <p:nvPr userDrawn="1"/>
        </p:nvSpPr>
        <p:spPr bwMode="auto">
          <a:xfrm>
            <a:off x="1494884" y="3831107"/>
            <a:ext cx="385913" cy="393192"/>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297" name="TextBox 296"/>
          <p:cNvSpPr txBox="1"/>
          <p:nvPr userDrawn="1"/>
        </p:nvSpPr>
        <p:spPr>
          <a:xfrm>
            <a:off x="1378741" y="4284677"/>
            <a:ext cx="635869" cy="123111"/>
          </a:xfrm>
          <a:prstGeom prst="rect">
            <a:avLst/>
          </a:prstGeom>
          <a:noFill/>
        </p:spPr>
        <p:txBody>
          <a:bodyPr wrap="square" lIns="0" tIns="0" rIns="0" bIns="0" rtlCol="0" anchor="t" anchorCtr="0">
            <a:spAutoFit/>
          </a:bodyPr>
          <a:lstStyle/>
          <a:p>
            <a:pPr algn="ctr"/>
            <a:r>
              <a:rPr lang="en-US" sz="800" b="1" dirty="0">
                <a:solidFill>
                  <a:srgbClr val="626469"/>
                </a:solidFill>
                <a:latin typeface="Arial" pitchFamily="34" charset="0"/>
                <a:cs typeface="Arial" pitchFamily="34" charset="0"/>
              </a:rPr>
              <a:t>Oil &amp; gas</a:t>
            </a:r>
          </a:p>
        </p:txBody>
      </p:sp>
      <p:sp>
        <p:nvSpPr>
          <p:cNvPr id="298" name="Freeform 88"/>
          <p:cNvSpPr>
            <a:spLocks noChangeAspect="1"/>
          </p:cNvSpPr>
          <p:nvPr userDrawn="1"/>
        </p:nvSpPr>
        <p:spPr bwMode="auto">
          <a:xfrm>
            <a:off x="4230516" y="3060566"/>
            <a:ext cx="516752" cy="337567"/>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299" name="TextBox 298"/>
          <p:cNvSpPr txBox="1"/>
          <p:nvPr userDrawn="1"/>
        </p:nvSpPr>
        <p:spPr>
          <a:xfrm>
            <a:off x="4174110" y="3463580"/>
            <a:ext cx="635869" cy="123111"/>
          </a:xfrm>
          <a:prstGeom prst="rect">
            <a:avLst/>
          </a:prstGeom>
          <a:noFill/>
        </p:spPr>
        <p:txBody>
          <a:bodyPr wrap="square" lIns="0" tIns="0" rIns="0" bIns="0" rtlCol="0" anchor="t" anchorCtr="0">
            <a:spAutoFit/>
          </a:bodyPr>
          <a:lstStyle/>
          <a:p>
            <a:pPr algn="ctr"/>
            <a:r>
              <a:rPr lang="en-US" sz="800" b="1" dirty="0">
                <a:solidFill>
                  <a:srgbClr val="626469"/>
                </a:solidFill>
                <a:latin typeface="Arial" pitchFamily="34" charset="0"/>
                <a:cs typeface="Arial" pitchFamily="34" charset="0"/>
              </a:rPr>
              <a:t>Marine</a:t>
            </a:r>
          </a:p>
        </p:txBody>
      </p:sp>
      <p:sp>
        <p:nvSpPr>
          <p:cNvPr id="300" name="Freeform 220"/>
          <p:cNvSpPr>
            <a:spLocks noChangeAspect="1"/>
          </p:cNvSpPr>
          <p:nvPr userDrawn="1"/>
        </p:nvSpPr>
        <p:spPr bwMode="auto">
          <a:xfrm>
            <a:off x="3270799" y="3900220"/>
            <a:ext cx="586434" cy="324077"/>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01" name="TextBox 300"/>
          <p:cNvSpPr txBox="1"/>
          <p:nvPr userDrawn="1"/>
        </p:nvSpPr>
        <p:spPr>
          <a:xfrm>
            <a:off x="2985176" y="4284677"/>
            <a:ext cx="1126320" cy="12311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Transportation</a:t>
            </a:r>
          </a:p>
        </p:txBody>
      </p:sp>
      <p:sp>
        <p:nvSpPr>
          <p:cNvPr id="302" name="Freeform 76"/>
          <p:cNvSpPr>
            <a:spLocks noChangeAspect="1"/>
          </p:cNvSpPr>
          <p:nvPr userDrawn="1"/>
        </p:nvSpPr>
        <p:spPr bwMode="auto">
          <a:xfrm>
            <a:off x="4268395" y="3831107"/>
            <a:ext cx="427715" cy="393192"/>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03" name="TextBox 302"/>
          <p:cNvSpPr txBox="1"/>
          <p:nvPr userDrawn="1"/>
        </p:nvSpPr>
        <p:spPr>
          <a:xfrm>
            <a:off x="3947787" y="4284676"/>
            <a:ext cx="1088520" cy="24622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Water &amp; </a:t>
            </a:r>
            <a:br>
              <a:rPr lang="en-US" sz="800" b="1" dirty="0">
                <a:solidFill>
                  <a:srgbClr val="626469"/>
                </a:solidFill>
                <a:latin typeface="Arial" pitchFamily="34" charset="0"/>
                <a:cs typeface="Arial" pitchFamily="34" charset="0"/>
              </a:rPr>
            </a:br>
            <a:r>
              <a:rPr lang="en-US" sz="800" b="1" dirty="0">
                <a:solidFill>
                  <a:srgbClr val="626469"/>
                </a:solidFill>
                <a:latin typeface="Arial" pitchFamily="34" charset="0"/>
                <a:cs typeface="Arial" pitchFamily="34" charset="0"/>
              </a:rPr>
              <a:t>waste water</a:t>
            </a:r>
          </a:p>
        </p:txBody>
      </p:sp>
      <p:sp>
        <p:nvSpPr>
          <p:cNvPr id="304" name="Freeform 120"/>
          <p:cNvSpPr>
            <a:spLocks noChangeAspect="1"/>
          </p:cNvSpPr>
          <p:nvPr userDrawn="1"/>
        </p:nvSpPr>
        <p:spPr bwMode="auto">
          <a:xfrm>
            <a:off x="5194809" y="3004939"/>
            <a:ext cx="473683" cy="362948"/>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05" name="TextBox 304"/>
          <p:cNvSpPr txBox="1"/>
          <p:nvPr userDrawn="1"/>
        </p:nvSpPr>
        <p:spPr>
          <a:xfrm>
            <a:off x="4902559" y="3463580"/>
            <a:ext cx="1060977" cy="246221"/>
          </a:xfrm>
          <a:prstGeom prst="rect">
            <a:avLst/>
          </a:prstGeom>
          <a:noFill/>
        </p:spPr>
        <p:txBody>
          <a:bodyPr wrap="square" lIns="0" tIns="0" rIns="0" bIns="0" rtlCol="0" anchor="t" anchorCtr="0">
            <a:spAutoFit/>
          </a:bodyPr>
          <a:lstStyle/>
          <a:p>
            <a:pPr algn="ctr"/>
            <a:r>
              <a:rPr lang="en-US" sz="800" b="1" dirty="0">
                <a:solidFill>
                  <a:srgbClr val="626469"/>
                </a:solidFill>
                <a:latin typeface="Arial" pitchFamily="34" charset="0"/>
                <a:cs typeface="Arial" pitchFamily="34" charset="0"/>
              </a:rPr>
              <a:t>Mining, minerals</a:t>
            </a:r>
            <a:br>
              <a:rPr lang="en-US" sz="800" b="1" dirty="0">
                <a:solidFill>
                  <a:srgbClr val="626469"/>
                </a:solidFill>
                <a:latin typeface="Arial" pitchFamily="34" charset="0"/>
                <a:cs typeface="Arial" pitchFamily="34" charset="0"/>
              </a:rPr>
            </a:br>
            <a:r>
              <a:rPr lang="en-US" sz="800" b="1" dirty="0">
                <a:solidFill>
                  <a:srgbClr val="626469"/>
                </a:solidFill>
                <a:latin typeface="Arial" pitchFamily="34" charset="0"/>
                <a:cs typeface="Arial" pitchFamily="34" charset="0"/>
              </a:rPr>
              <a:t>&amp; metals</a:t>
            </a:r>
          </a:p>
        </p:txBody>
      </p:sp>
      <p:sp>
        <p:nvSpPr>
          <p:cNvPr id="306" name="Freeform 112"/>
          <p:cNvSpPr>
            <a:spLocks noChangeAspect="1"/>
          </p:cNvSpPr>
          <p:nvPr userDrawn="1"/>
        </p:nvSpPr>
        <p:spPr bwMode="auto">
          <a:xfrm>
            <a:off x="4230517" y="2195360"/>
            <a:ext cx="500144" cy="393192"/>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07" name="TextBox 306"/>
          <p:cNvSpPr txBox="1"/>
          <p:nvPr userDrawn="1"/>
        </p:nvSpPr>
        <p:spPr>
          <a:xfrm>
            <a:off x="4230518" y="2639103"/>
            <a:ext cx="523058" cy="24622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Food &amp;</a:t>
            </a:r>
            <a:br>
              <a:rPr lang="en-US" sz="800" b="1" dirty="0">
                <a:solidFill>
                  <a:srgbClr val="626469"/>
                </a:solidFill>
                <a:latin typeface="Arial" pitchFamily="34" charset="0"/>
                <a:cs typeface="Arial" pitchFamily="34" charset="0"/>
              </a:rPr>
            </a:br>
            <a:r>
              <a:rPr lang="en-US" sz="800" b="1" dirty="0">
                <a:solidFill>
                  <a:srgbClr val="626469"/>
                </a:solidFill>
                <a:latin typeface="Arial" pitchFamily="34" charset="0"/>
                <a:cs typeface="Arial" pitchFamily="34" charset="0"/>
              </a:rPr>
              <a:t>beverage</a:t>
            </a:r>
          </a:p>
        </p:txBody>
      </p:sp>
      <p:sp>
        <p:nvSpPr>
          <p:cNvPr id="308" name="Freeform 108"/>
          <p:cNvSpPr>
            <a:spLocks noChangeAspect="1"/>
          </p:cNvSpPr>
          <p:nvPr userDrawn="1"/>
        </p:nvSpPr>
        <p:spPr bwMode="auto">
          <a:xfrm>
            <a:off x="2370513" y="3060617"/>
            <a:ext cx="479320" cy="337567"/>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09" name="TextBox 308"/>
          <p:cNvSpPr txBox="1"/>
          <p:nvPr userDrawn="1"/>
        </p:nvSpPr>
        <p:spPr>
          <a:xfrm>
            <a:off x="2292243" y="3463580"/>
            <a:ext cx="635869" cy="12311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Hotels</a:t>
            </a:r>
          </a:p>
        </p:txBody>
      </p:sp>
      <p:sp>
        <p:nvSpPr>
          <p:cNvPr id="310" name="Freeform 80"/>
          <p:cNvSpPr>
            <a:spLocks noChangeAspect="1"/>
          </p:cNvSpPr>
          <p:nvPr userDrawn="1"/>
        </p:nvSpPr>
        <p:spPr bwMode="auto">
          <a:xfrm>
            <a:off x="1494887" y="3004989"/>
            <a:ext cx="332363" cy="393192"/>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11" name="TextBox 310"/>
          <p:cNvSpPr txBox="1"/>
          <p:nvPr userDrawn="1"/>
        </p:nvSpPr>
        <p:spPr>
          <a:xfrm>
            <a:off x="1283714" y="3463580"/>
            <a:ext cx="769927" cy="12311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Healthcare</a:t>
            </a:r>
          </a:p>
        </p:txBody>
      </p:sp>
      <p:sp>
        <p:nvSpPr>
          <p:cNvPr id="312" name="Freeform 100"/>
          <p:cNvSpPr>
            <a:spLocks noChangeAspect="1"/>
          </p:cNvSpPr>
          <p:nvPr userDrawn="1"/>
        </p:nvSpPr>
        <p:spPr bwMode="auto">
          <a:xfrm>
            <a:off x="3418413" y="2874444"/>
            <a:ext cx="330960" cy="523747"/>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13" name="TextBox 312"/>
          <p:cNvSpPr txBox="1"/>
          <p:nvPr userDrawn="1"/>
        </p:nvSpPr>
        <p:spPr>
          <a:xfrm>
            <a:off x="3286803" y="3463580"/>
            <a:ext cx="523058" cy="246221"/>
          </a:xfrm>
          <a:prstGeom prst="rect">
            <a:avLst/>
          </a:prstGeom>
          <a:noFill/>
        </p:spPr>
        <p:txBody>
          <a:bodyPr wrap="square" lIns="0" tIns="0" rIns="0" bIns="0" rtlCol="0" anchor="t" anchorCtr="0">
            <a:spAutoFit/>
          </a:bodyPr>
          <a:lstStyle/>
          <a:p>
            <a:pPr algn="ctr"/>
            <a:r>
              <a:rPr lang="en-US" sz="800" b="1" dirty="0">
                <a:solidFill>
                  <a:srgbClr val="626469"/>
                </a:solidFill>
                <a:latin typeface="Arial" pitchFamily="34" charset="0"/>
                <a:cs typeface="Arial" pitchFamily="34" charset="0"/>
              </a:rPr>
              <a:t>Life</a:t>
            </a:r>
            <a:br>
              <a:rPr lang="en-US" sz="800" b="1" dirty="0">
                <a:solidFill>
                  <a:srgbClr val="626469"/>
                </a:solidFill>
                <a:latin typeface="Arial" pitchFamily="34" charset="0"/>
                <a:cs typeface="Arial" pitchFamily="34" charset="0"/>
              </a:rPr>
            </a:br>
            <a:r>
              <a:rPr lang="en-US" sz="800" b="1" dirty="0">
                <a:solidFill>
                  <a:srgbClr val="626469"/>
                </a:solidFill>
                <a:latin typeface="Arial" pitchFamily="34" charset="0"/>
                <a:cs typeface="Arial" pitchFamily="34" charset="0"/>
              </a:rPr>
              <a:t>sciences</a:t>
            </a:r>
          </a:p>
        </p:txBody>
      </p:sp>
      <p:sp>
        <p:nvSpPr>
          <p:cNvPr id="314" name="Freeform 104"/>
          <p:cNvSpPr>
            <a:spLocks noChangeAspect="1"/>
          </p:cNvSpPr>
          <p:nvPr userDrawn="1"/>
        </p:nvSpPr>
        <p:spPr bwMode="auto">
          <a:xfrm>
            <a:off x="2359069" y="3733696"/>
            <a:ext cx="479233" cy="479229"/>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15" name="TextBox 314"/>
          <p:cNvSpPr txBox="1"/>
          <p:nvPr userDrawn="1"/>
        </p:nvSpPr>
        <p:spPr>
          <a:xfrm>
            <a:off x="2225214" y="4284677"/>
            <a:ext cx="769927" cy="12311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Retail</a:t>
            </a:r>
          </a:p>
        </p:txBody>
      </p:sp>
      <p:sp>
        <p:nvSpPr>
          <p:cNvPr id="316" name="Freeform 56"/>
          <p:cNvSpPr>
            <a:spLocks noChangeAspect="1"/>
          </p:cNvSpPr>
          <p:nvPr userDrawn="1"/>
        </p:nvSpPr>
        <p:spPr bwMode="auto">
          <a:xfrm>
            <a:off x="5234357" y="2195360"/>
            <a:ext cx="379970" cy="393192"/>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17" name="TextBox 316"/>
          <p:cNvSpPr txBox="1"/>
          <p:nvPr userDrawn="1"/>
        </p:nvSpPr>
        <p:spPr>
          <a:xfrm>
            <a:off x="5048085" y="2639109"/>
            <a:ext cx="769927" cy="24622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Green buildings</a:t>
            </a:r>
          </a:p>
        </p:txBody>
      </p:sp>
      <p:sp>
        <p:nvSpPr>
          <p:cNvPr id="318" name="Freeform 216"/>
          <p:cNvSpPr>
            <a:spLocks noChangeAspect="1"/>
          </p:cNvSpPr>
          <p:nvPr userDrawn="1"/>
        </p:nvSpPr>
        <p:spPr bwMode="auto">
          <a:xfrm>
            <a:off x="3327990" y="2195360"/>
            <a:ext cx="421382" cy="393192"/>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19" name="TextBox 318"/>
          <p:cNvSpPr txBox="1"/>
          <p:nvPr userDrawn="1"/>
        </p:nvSpPr>
        <p:spPr>
          <a:xfrm>
            <a:off x="3230400" y="2639109"/>
            <a:ext cx="635869" cy="12311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Finance</a:t>
            </a:r>
          </a:p>
        </p:txBody>
      </p:sp>
      <p:sp>
        <p:nvSpPr>
          <p:cNvPr id="320" name="Freeform 224"/>
          <p:cNvSpPr>
            <a:spLocks noChangeAspect="1"/>
          </p:cNvSpPr>
          <p:nvPr userDrawn="1"/>
        </p:nvSpPr>
        <p:spPr bwMode="auto">
          <a:xfrm>
            <a:off x="1438333" y="2242597"/>
            <a:ext cx="525440" cy="345955"/>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21" name="TextBox 320"/>
          <p:cNvSpPr txBox="1"/>
          <p:nvPr userDrawn="1"/>
        </p:nvSpPr>
        <p:spPr>
          <a:xfrm>
            <a:off x="1342307" y="2639108"/>
            <a:ext cx="652701" cy="246221"/>
          </a:xfrm>
          <a:prstGeom prst="rect">
            <a:avLst/>
          </a:prstGeom>
          <a:noFill/>
        </p:spPr>
        <p:txBody>
          <a:bodyPr wrap="square" lIns="0" tIns="0" rIns="0" bIns="0" rtlCol="0" anchor="b" anchorCtr="0">
            <a:spAutoFit/>
          </a:bodyPr>
          <a:lstStyle/>
          <a:p>
            <a:pPr algn="ctr"/>
            <a:r>
              <a:rPr lang="en-US" sz="800" b="1" dirty="0">
                <a:solidFill>
                  <a:srgbClr val="626469"/>
                </a:solidFill>
                <a:latin typeface="Arial" pitchFamily="34" charset="0"/>
                <a:cs typeface="Arial" pitchFamily="34" charset="0"/>
              </a:rPr>
              <a:t>Cloud and telecom</a:t>
            </a:r>
          </a:p>
        </p:txBody>
      </p:sp>
      <p:sp>
        <p:nvSpPr>
          <p:cNvPr id="322" name="TextBox 321"/>
          <p:cNvSpPr txBox="1"/>
          <p:nvPr userDrawn="1"/>
        </p:nvSpPr>
        <p:spPr>
          <a:xfrm>
            <a:off x="9111405" y="3463580"/>
            <a:ext cx="1088520" cy="246221"/>
          </a:xfrm>
          <a:prstGeom prst="rect">
            <a:avLst/>
          </a:prstGeom>
          <a:noFill/>
        </p:spPr>
        <p:txBody>
          <a:bodyPr wrap="square" lIns="91432" tIns="0" rIns="91432" bIns="0" rtlCol="0" anchor="b" anchorCtr="0">
            <a:spAutoFit/>
          </a:bodyPr>
          <a:lstStyle/>
          <a:p>
            <a:pPr algn="ctr"/>
            <a:r>
              <a:rPr lang="en-US" sz="800" b="1" dirty="0">
                <a:solidFill>
                  <a:srgbClr val="626469"/>
                </a:solidFill>
                <a:latin typeface="Arial" pitchFamily="34" charset="0"/>
                <a:cs typeface="Arial" pitchFamily="34" charset="0"/>
              </a:rPr>
              <a:t>Management software</a:t>
            </a:r>
          </a:p>
        </p:txBody>
      </p:sp>
      <p:sp>
        <p:nvSpPr>
          <p:cNvPr id="323" name="TextBox 322"/>
          <p:cNvSpPr txBox="1"/>
          <p:nvPr userDrawn="1"/>
        </p:nvSpPr>
        <p:spPr>
          <a:xfrm>
            <a:off x="8216670" y="4284672"/>
            <a:ext cx="923938" cy="246221"/>
          </a:xfrm>
          <a:prstGeom prst="rect">
            <a:avLst/>
          </a:prstGeom>
          <a:noFill/>
        </p:spPr>
        <p:txBody>
          <a:bodyPr wrap="square" lIns="91432" tIns="0" rIns="91432" bIns="0" rtlCol="0" anchor="b" anchorCtr="0">
            <a:spAutoFit/>
          </a:bodyPr>
          <a:lstStyle/>
          <a:p>
            <a:pPr algn="ctr"/>
            <a:r>
              <a:rPr lang="en-US" sz="800" b="1" dirty="0">
                <a:solidFill>
                  <a:srgbClr val="626469"/>
                </a:solidFill>
                <a:latin typeface="Arial" pitchFamily="34" charset="0"/>
                <a:cs typeface="Arial" pitchFamily="34" charset="0"/>
              </a:rPr>
              <a:t>Power</a:t>
            </a:r>
            <a:br>
              <a:rPr lang="en-US" sz="800" b="1" dirty="0">
                <a:solidFill>
                  <a:srgbClr val="626469"/>
                </a:solidFill>
                <a:latin typeface="Arial" pitchFamily="34" charset="0"/>
                <a:cs typeface="Arial" pitchFamily="34" charset="0"/>
              </a:rPr>
            </a:br>
            <a:r>
              <a:rPr lang="en-US" sz="800" b="1" dirty="0">
                <a:solidFill>
                  <a:srgbClr val="626469"/>
                </a:solidFill>
                <a:latin typeface="Arial" pitchFamily="34" charset="0"/>
                <a:cs typeface="Arial" pitchFamily="34" charset="0"/>
              </a:rPr>
              <a:t>Measurement</a:t>
            </a:r>
          </a:p>
        </p:txBody>
      </p:sp>
      <p:sp>
        <p:nvSpPr>
          <p:cNvPr id="324" name="TextBox 323"/>
          <p:cNvSpPr txBox="1"/>
          <p:nvPr userDrawn="1"/>
        </p:nvSpPr>
        <p:spPr>
          <a:xfrm>
            <a:off x="11002920" y="2639103"/>
            <a:ext cx="1088520" cy="246221"/>
          </a:xfrm>
          <a:prstGeom prst="rect">
            <a:avLst/>
          </a:prstGeom>
          <a:noFill/>
        </p:spPr>
        <p:txBody>
          <a:bodyPr wrap="square" lIns="91432" tIns="0" rIns="91432" bIns="0" rtlCol="0" anchor="b" anchorCtr="0">
            <a:spAutoFit/>
          </a:bodyPr>
          <a:lstStyle/>
          <a:p>
            <a:pPr algn="ctr"/>
            <a:r>
              <a:rPr lang="en-US" sz="800" b="1" dirty="0">
                <a:solidFill>
                  <a:srgbClr val="626469"/>
                </a:solidFill>
                <a:latin typeface="Arial" pitchFamily="34" charset="0"/>
                <a:cs typeface="Arial" pitchFamily="34" charset="0"/>
              </a:rPr>
              <a:t>Intelligent power and motor control</a:t>
            </a:r>
          </a:p>
        </p:txBody>
      </p:sp>
      <p:sp>
        <p:nvSpPr>
          <p:cNvPr id="325" name="TextBox 324"/>
          <p:cNvSpPr txBox="1"/>
          <p:nvPr userDrawn="1"/>
        </p:nvSpPr>
        <p:spPr>
          <a:xfrm>
            <a:off x="10011714" y="4284671"/>
            <a:ext cx="1088520" cy="205184"/>
          </a:xfrm>
          <a:prstGeom prst="rect">
            <a:avLst/>
          </a:prstGeom>
          <a:noFill/>
        </p:spPr>
        <p:txBody>
          <a:bodyPr wrap="square" lIns="91432" tIns="0" rIns="91432" bIns="0" rtlCol="0" anchor="t" anchorCtr="0">
            <a:spAutoFit/>
          </a:bodyPr>
          <a:lstStyle/>
          <a:p>
            <a:pPr algn="ctr">
              <a:lnSpc>
                <a:spcPts val="800"/>
              </a:lnSpc>
            </a:pPr>
            <a:r>
              <a:rPr lang="en-US" sz="800" b="1" dirty="0">
                <a:solidFill>
                  <a:srgbClr val="626469"/>
                </a:solidFill>
                <a:latin typeface="Arial" pitchFamily="34" charset="0"/>
                <a:cs typeface="Arial" pitchFamily="34" charset="0"/>
              </a:rPr>
              <a:t>Renewable energy conversion</a:t>
            </a:r>
          </a:p>
        </p:txBody>
      </p:sp>
      <p:sp>
        <p:nvSpPr>
          <p:cNvPr id="326" name="TextBox 325"/>
          <p:cNvSpPr txBox="1"/>
          <p:nvPr userDrawn="1"/>
        </p:nvSpPr>
        <p:spPr>
          <a:xfrm>
            <a:off x="8155726" y="2639103"/>
            <a:ext cx="1045826" cy="246221"/>
          </a:xfrm>
          <a:prstGeom prst="rect">
            <a:avLst/>
          </a:prstGeom>
          <a:noFill/>
        </p:spPr>
        <p:txBody>
          <a:bodyPr wrap="square" lIns="91432" tIns="0" rIns="91432" bIns="0" rtlCol="0" anchor="b" anchorCtr="0">
            <a:spAutoFit/>
          </a:bodyPr>
          <a:lstStyle/>
          <a:p>
            <a:pPr algn="ctr"/>
            <a:r>
              <a:rPr lang="en-US" sz="800" b="1" dirty="0">
                <a:solidFill>
                  <a:srgbClr val="626469"/>
                </a:solidFill>
                <a:latin typeface="Arial" pitchFamily="34" charset="0"/>
                <a:cs typeface="Arial" pitchFamily="34" charset="0"/>
              </a:rPr>
              <a:t>Electric vehicle recharging</a:t>
            </a:r>
          </a:p>
        </p:txBody>
      </p:sp>
      <p:sp>
        <p:nvSpPr>
          <p:cNvPr id="327" name="TextBox 326"/>
          <p:cNvSpPr txBox="1"/>
          <p:nvPr userDrawn="1"/>
        </p:nvSpPr>
        <p:spPr>
          <a:xfrm>
            <a:off x="7161501" y="3463580"/>
            <a:ext cx="1131215" cy="246221"/>
          </a:xfrm>
          <a:prstGeom prst="rect">
            <a:avLst/>
          </a:prstGeom>
          <a:noFill/>
        </p:spPr>
        <p:txBody>
          <a:bodyPr wrap="square" lIns="91432" tIns="0" rIns="91432" bIns="0" rtlCol="0" anchor="b" anchorCtr="0">
            <a:spAutoFit/>
          </a:bodyPr>
          <a:lstStyle/>
          <a:p>
            <a:pPr algn="ctr"/>
            <a:r>
              <a:rPr lang="en-US" sz="800" b="1" dirty="0">
                <a:solidFill>
                  <a:srgbClr val="626469"/>
                </a:solidFill>
                <a:latin typeface="Arial" pitchFamily="34" charset="0"/>
                <a:cs typeface="Arial" pitchFamily="34" charset="0"/>
              </a:rPr>
              <a:t>Lifts and</a:t>
            </a:r>
            <a:br>
              <a:rPr lang="en-US" sz="800" b="1" dirty="0">
                <a:solidFill>
                  <a:srgbClr val="626469"/>
                </a:solidFill>
                <a:latin typeface="Arial" pitchFamily="34" charset="0"/>
                <a:cs typeface="Arial" pitchFamily="34" charset="0"/>
              </a:rPr>
            </a:br>
            <a:r>
              <a:rPr lang="en-US" sz="800" b="1" dirty="0">
                <a:solidFill>
                  <a:srgbClr val="626469"/>
                </a:solidFill>
                <a:latin typeface="Arial" pitchFamily="34" charset="0"/>
                <a:cs typeface="Arial" pitchFamily="34" charset="0"/>
              </a:rPr>
              <a:t>escalators control</a:t>
            </a:r>
          </a:p>
        </p:txBody>
      </p:sp>
      <p:sp>
        <p:nvSpPr>
          <p:cNvPr id="328" name="TextBox 327"/>
          <p:cNvSpPr txBox="1"/>
          <p:nvPr userDrawn="1"/>
        </p:nvSpPr>
        <p:spPr>
          <a:xfrm>
            <a:off x="10011714" y="3463580"/>
            <a:ext cx="1088520" cy="246221"/>
          </a:xfrm>
          <a:prstGeom prst="rect">
            <a:avLst/>
          </a:prstGeom>
          <a:noFill/>
        </p:spPr>
        <p:txBody>
          <a:bodyPr wrap="square" lIns="91432" tIns="0" rIns="91432" bIns="0" rtlCol="0" anchor="b" anchorCtr="0">
            <a:spAutoFit/>
          </a:bodyPr>
          <a:lstStyle/>
          <a:p>
            <a:pPr algn="ctr"/>
            <a:r>
              <a:rPr lang="en-US" sz="800" b="1" dirty="0">
                <a:solidFill>
                  <a:srgbClr val="626469"/>
                </a:solidFill>
                <a:latin typeface="Arial" pitchFamily="34" charset="0"/>
                <a:cs typeface="Arial" pitchFamily="34" charset="0"/>
              </a:rPr>
              <a:t>Material handling control</a:t>
            </a:r>
          </a:p>
        </p:txBody>
      </p:sp>
      <p:sp>
        <p:nvSpPr>
          <p:cNvPr id="329" name="TextBox 328"/>
          <p:cNvSpPr txBox="1"/>
          <p:nvPr userDrawn="1"/>
        </p:nvSpPr>
        <p:spPr>
          <a:xfrm>
            <a:off x="9111405" y="2639108"/>
            <a:ext cx="1088520" cy="246221"/>
          </a:xfrm>
          <a:prstGeom prst="rect">
            <a:avLst/>
          </a:prstGeom>
          <a:noFill/>
        </p:spPr>
        <p:txBody>
          <a:bodyPr wrap="square" lIns="91432" tIns="0" rIns="91432" bIns="0" rtlCol="0" anchor="b" anchorCtr="0">
            <a:spAutoFit/>
          </a:bodyPr>
          <a:lstStyle/>
          <a:p>
            <a:pPr algn="ctr"/>
            <a:r>
              <a:rPr lang="en-US" sz="800" b="1" dirty="0">
                <a:solidFill>
                  <a:srgbClr val="626469"/>
                </a:solidFill>
                <a:latin typeface="Arial" pitchFamily="34" charset="0"/>
                <a:cs typeface="Arial" pitchFamily="34" charset="0"/>
              </a:rPr>
              <a:t>Hoisting</a:t>
            </a:r>
            <a:br>
              <a:rPr lang="en-US" sz="800" b="1" dirty="0">
                <a:solidFill>
                  <a:srgbClr val="626469"/>
                </a:solidFill>
                <a:latin typeface="Arial" pitchFamily="34" charset="0"/>
                <a:cs typeface="Arial" pitchFamily="34" charset="0"/>
              </a:rPr>
            </a:br>
            <a:r>
              <a:rPr lang="en-US" sz="800" b="1" dirty="0">
                <a:solidFill>
                  <a:srgbClr val="626469"/>
                </a:solidFill>
                <a:latin typeface="Arial" pitchFamily="34" charset="0"/>
                <a:cs typeface="Arial" pitchFamily="34" charset="0"/>
              </a:rPr>
              <a:t>control</a:t>
            </a:r>
          </a:p>
        </p:txBody>
      </p:sp>
      <p:sp>
        <p:nvSpPr>
          <p:cNvPr id="330" name="TextBox 329"/>
          <p:cNvSpPr txBox="1"/>
          <p:nvPr userDrawn="1"/>
        </p:nvSpPr>
        <p:spPr>
          <a:xfrm>
            <a:off x="7220949" y="5053361"/>
            <a:ext cx="1088520" cy="338555"/>
          </a:xfrm>
          <a:prstGeom prst="rect">
            <a:avLst/>
          </a:prstGeom>
          <a:noFill/>
        </p:spPr>
        <p:txBody>
          <a:bodyPr wrap="square" lIns="91432" tIns="45717" rIns="91432" bIns="45717" rtlCol="0" anchor="b" anchorCtr="0">
            <a:spAutoFit/>
          </a:bodyPr>
          <a:lstStyle/>
          <a:p>
            <a:pPr algn="ctr"/>
            <a:r>
              <a:rPr lang="en-US" sz="800" b="1" dirty="0">
                <a:solidFill>
                  <a:srgbClr val="626469"/>
                </a:solidFill>
                <a:latin typeface="Arial" pitchFamily="34" charset="0"/>
                <a:cs typeface="Arial" pitchFamily="34" charset="0"/>
              </a:rPr>
              <a:t>Uninterruptable</a:t>
            </a:r>
            <a:br>
              <a:rPr lang="en-US" sz="800" b="1" dirty="0">
                <a:solidFill>
                  <a:srgbClr val="626469"/>
                </a:solidFill>
                <a:latin typeface="Arial" pitchFamily="34" charset="0"/>
                <a:cs typeface="Arial" pitchFamily="34" charset="0"/>
              </a:rPr>
            </a:br>
            <a:r>
              <a:rPr lang="en-US" sz="800" b="1" dirty="0">
                <a:solidFill>
                  <a:srgbClr val="626469"/>
                </a:solidFill>
                <a:latin typeface="Arial" pitchFamily="34" charset="0"/>
                <a:cs typeface="Arial" pitchFamily="34" charset="0"/>
              </a:rPr>
              <a:t>power supply</a:t>
            </a:r>
          </a:p>
        </p:txBody>
      </p:sp>
      <p:sp>
        <p:nvSpPr>
          <p:cNvPr id="331" name="TextBox 330"/>
          <p:cNvSpPr txBox="1"/>
          <p:nvPr userDrawn="1"/>
        </p:nvSpPr>
        <p:spPr>
          <a:xfrm>
            <a:off x="11002920" y="4284677"/>
            <a:ext cx="1088520" cy="123111"/>
          </a:xfrm>
          <a:prstGeom prst="rect">
            <a:avLst/>
          </a:prstGeom>
          <a:noFill/>
        </p:spPr>
        <p:txBody>
          <a:bodyPr wrap="square" lIns="91432" tIns="0" rIns="91432" bIns="0" rtlCol="0" anchor="b" anchorCtr="0">
            <a:spAutoFit/>
          </a:bodyPr>
          <a:lstStyle/>
          <a:p>
            <a:pPr algn="ctr"/>
            <a:r>
              <a:rPr lang="en-US" sz="800" b="1" dirty="0">
                <a:solidFill>
                  <a:srgbClr val="626469"/>
                </a:solidFill>
                <a:latin typeface="Arial" pitchFamily="34" charset="0"/>
                <a:cs typeface="Arial" pitchFamily="34" charset="0"/>
              </a:rPr>
              <a:t>Surveillance</a:t>
            </a:r>
          </a:p>
        </p:txBody>
      </p:sp>
      <p:sp>
        <p:nvSpPr>
          <p:cNvPr id="332" name="TextBox 331"/>
          <p:cNvSpPr txBox="1"/>
          <p:nvPr userDrawn="1"/>
        </p:nvSpPr>
        <p:spPr>
          <a:xfrm>
            <a:off x="10011714" y="2639108"/>
            <a:ext cx="1088520" cy="246221"/>
          </a:xfrm>
          <a:prstGeom prst="rect">
            <a:avLst/>
          </a:prstGeom>
          <a:noFill/>
        </p:spPr>
        <p:txBody>
          <a:bodyPr wrap="square" lIns="91432" tIns="0" rIns="91432" bIns="0" rtlCol="0" anchor="b" anchorCtr="0">
            <a:spAutoFit/>
          </a:bodyPr>
          <a:lstStyle/>
          <a:p>
            <a:pPr algn="ctr"/>
            <a:r>
              <a:rPr lang="en-US" sz="800" b="1" dirty="0">
                <a:solidFill>
                  <a:srgbClr val="626469"/>
                </a:solidFill>
                <a:latin typeface="Arial" pitchFamily="34" charset="0"/>
                <a:cs typeface="Arial" pitchFamily="34" charset="0"/>
              </a:rPr>
              <a:t>HVAC</a:t>
            </a:r>
            <a:br>
              <a:rPr lang="en-US" sz="800" b="1" dirty="0">
                <a:solidFill>
                  <a:srgbClr val="626469"/>
                </a:solidFill>
                <a:latin typeface="Arial" pitchFamily="34" charset="0"/>
                <a:cs typeface="Arial" pitchFamily="34" charset="0"/>
              </a:rPr>
            </a:br>
            <a:r>
              <a:rPr lang="en-US" sz="800" b="1" dirty="0">
                <a:solidFill>
                  <a:srgbClr val="626469"/>
                </a:solidFill>
                <a:latin typeface="Arial" pitchFamily="34" charset="0"/>
                <a:cs typeface="Arial" pitchFamily="34" charset="0"/>
              </a:rPr>
              <a:t>control</a:t>
            </a:r>
          </a:p>
        </p:txBody>
      </p:sp>
      <p:sp>
        <p:nvSpPr>
          <p:cNvPr id="333" name="TextBox 332"/>
          <p:cNvSpPr txBox="1"/>
          <p:nvPr userDrawn="1"/>
        </p:nvSpPr>
        <p:spPr>
          <a:xfrm>
            <a:off x="8113032" y="3463580"/>
            <a:ext cx="1131215" cy="246221"/>
          </a:xfrm>
          <a:prstGeom prst="rect">
            <a:avLst/>
          </a:prstGeom>
          <a:noFill/>
        </p:spPr>
        <p:txBody>
          <a:bodyPr wrap="square" lIns="91432" tIns="0" rIns="91432" bIns="0" rtlCol="0" anchor="b" anchorCtr="0">
            <a:spAutoFit/>
          </a:bodyPr>
          <a:lstStyle/>
          <a:p>
            <a:pPr algn="ctr"/>
            <a:r>
              <a:rPr lang="en-US" sz="800" b="1" dirty="0">
                <a:solidFill>
                  <a:srgbClr val="626469"/>
                </a:solidFill>
                <a:latin typeface="Arial" pitchFamily="34" charset="0"/>
                <a:cs typeface="Arial" pitchFamily="34" charset="0"/>
              </a:rPr>
              <a:t>Lighting</a:t>
            </a:r>
            <a:br>
              <a:rPr lang="en-US" sz="800" b="1" dirty="0">
                <a:solidFill>
                  <a:srgbClr val="626469"/>
                </a:solidFill>
                <a:latin typeface="Arial" pitchFamily="34" charset="0"/>
                <a:cs typeface="Arial" pitchFamily="34" charset="0"/>
              </a:rPr>
            </a:br>
            <a:r>
              <a:rPr lang="en-US" sz="800" b="1" dirty="0">
                <a:solidFill>
                  <a:srgbClr val="626469"/>
                </a:solidFill>
                <a:latin typeface="Arial" pitchFamily="34" charset="0"/>
                <a:cs typeface="Arial" pitchFamily="34" charset="0"/>
              </a:rPr>
              <a:t>control</a:t>
            </a:r>
          </a:p>
        </p:txBody>
      </p:sp>
      <p:sp>
        <p:nvSpPr>
          <p:cNvPr id="334" name="Freeform 196"/>
          <p:cNvSpPr>
            <a:spLocks noChangeAspect="1"/>
          </p:cNvSpPr>
          <p:nvPr userDrawn="1"/>
        </p:nvSpPr>
        <p:spPr bwMode="auto">
          <a:xfrm>
            <a:off x="7555772" y="2195360"/>
            <a:ext cx="327661" cy="393192"/>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335" name="TextBox 334"/>
          <p:cNvSpPr txBox="1"/>
          <p:nvPr userDrawn="1"/>
        </p:nvSpPr>
        <p:spPr>
          <a:xfrm>
            <a:off x="7182847" y="2639108"/>
            <a:ext cx="1088520" cy="246221"/>
          </a:xfrm>
          <a:prstGeom prst="rect">
            <a:avLst/>
          </a:prstGeom>
          <a:noFill/>
        </p:spPr>
        <p:txBody>
          <a:bodyPr wrap="square" lIns="91432" tIns="0" rIns="91432" bIns="0" rtlCol="0" anchor="b" anchorCtr="0">
            <a:spAutoFit/>
          </a:bodyPr>
          <a:lstStyle/>
          <a:p>
            <a:pPr algn="ctr"/>
            <a:r>
              <a:rPr lang="en-US" sz="800" b="1" dirty="0">
                <a:solidFill>
                  <a:srgbClr val="626469"/>
                </a:solidFill>
                <a:latin typeface="Arial" pitchFamily="34" charset="0"/>
                <a:cs typeface="Arial" pitchFamily="34" charset="0"/>
              </a:rPr>
              <a:t>Access</a:t>
            </a:r>
            <a:br>
              <a:rPr lang="en-US" sz="800" b="1" dirty="0">
                <a:solidFill>
                  <a:srgbClr val="626469"/>
                </a:solidFill>
                <a:latin typeface="Arial" pitchFamily="34" charset="0"/>
                <a:cs typeface="Arial" pitchFamily="34" charset="0"/>
              </a:rPr>
            </a:br>
            <a:r>
              <a:rPr lang="en-US" sz="800" b="1" dirty="0">
                <a:solidFill>
                  <a:srgbClr val="626469"/>
                </a:solidFill>
                <a:latin typeface="Arial" pitchFamily="34" charset="0"/>
                <a:cs typeface="Arial" pitchFamily="34" charset="0"/>
              </a:rPr>
              <a:t>control</a:t>
            </a:r>
          </a:p>
        </p:txBody>
      </p:sp>
      <p:sp>
        <p:nvSpPr>
          <p:cNvPr id="336" name="Freeform 335"/>
          <p:cNvSpPr>
            <a:spLocks noChangeAspect="1"/>
          </p:cNvSpPr>
          <p:nvPr userDrawn="1"/>
        </p:nvSpPr>
        <p:spPr bwMode="auto">
          <a:xfrm>
            <a:off x="11279225" y="3000095"/>
            <a:ext cx="509366" cy="393192"/>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337" name="Freeform 160"/>
          <p:cNvSpPr>
            <a:spLocks noChangeAspect="1" noEditPoints="1"/>
          </p:cNvSpPr>
          <p:nvPr userDrawn="1"/>
        </p:nvSpPr>
        <p:spPr bwMode="auto">
          <a:xfrm>
            <a:off x="7452679" y="3824021"/>
            <a:ext cx="521677" cy="393192"/>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338" name="Freeform 164"/>
          <p:cNvSpPr>
            <a:spLocks noChangeAspect="1"/>
          </p:cNvSpPr>
          <p:nvPr userDrawn="1"/>
        </p:nvSpPr>
        <p:spPr bwMode="auto">
          <a:xfrm>
            <a:off x="9448825" y="3849421"/>
            <a:ext cx="393194" cy="393192"/>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339" name="TextBox 338"/>
          <p:cNvSpPr txBox="1"/>
          <p:nvPr userDrawn="1"/>
        </p:nvSpPr>
        <p:spPr>
          <a:xfrm>
            <a:off x="9132751" y="4284676"/>
            <a:ext cx="1045826" cy="246221"/>
          </a:xfrm>
          <a:prstGeom prst="rect">
            <a:avLst/>
          </a:prstGeom>
          <a:noFill/>
        </p:spPr>
        <p:txBody>
          <a:bodyPr wrap="square" lIns="91432" tIns="0" rIns="91432" bIns="0" rtlCol="0" anchor="b" anchorCtr="0">
            <a:spAutoFit/>
          </a:bodyPr>
          <a:lstStyle/>
          <a:p>
            <a:pPr algn="ctr"/>
            <a:r>
              <a:rPr lang="en-US" sz="800" b="1" dirty="0" err="1">
                <a:solidFill>
                  <a:srgbClr val="626469"/>
                </a:solidFill>
                <a:latin typeface="Arial" pitchFamily="34" charset="0"/>
                <a:cs typeface="Arial" pitchFamily="34" charset="0"/>
              </a:rPr>
              <a:t>Prosumer</a:t>
            </a:r>
            <a:r>
              <a:rPr lang="en-US" sz="800" b="1" dirty="0">
                <a:solidFill>
                  <a:srgbClr val="626469"/>
                </a:solidFill>
                <a:latin typeface="Arial" pitchFamily="34" charset="0"/>
                <a:cs typeface="Arial" pitchFamily="34" charset="0"/>
              </a:rPr>
              <a:t> </a:t>
            </a:r>
            <a:r>
              <a:rPr lang="en-US" sz="800" b="1" dirty="0" err="1">
                <a:solidFill>
                  <a:srgbClr val="626469"/>
                </a:solidFill>
                <a:latin typeface="Arial" pitchFamily="34" charset="0"/>
                <a:cs typeface="Arial" pitchFamily="34" charset="0"/>
              </a:rPr>
              <a:t>microgrid</a:t>
            </a:r>
            <a:endParaRPr lang="en-US" sz="800" b="1" dirty="0">
              <a:solidFill>
                <a:srgbClr val="626469"/>
              </a:solidFill>
              <a:latin typeface="Arial" pitchFamily="34" charset="0"/>
              <a:cs typeface="Arial" pitchFamily="34" charset="0"/>
            </a:endParaRPr>
          </a:p>
        </p:txBody>
      </p:sp>
      <p:sp>
        <p:nvSpPr>
          <p:cNvPr id="340" name="TextBox 339"/>
          <p:cNvSpPr txBox="1"/>
          <p:nvPr userDrawn="1"/>
        </p:nvSpPr>
        <p:spPr>
          <a:xfrm>
            <a:off x="7204194" y="4284676"/>
            <a:ext cx="1045826" cy="246221"/>
          </a:xfrm>
          <a:prstGeom prst="rect">
            <a:avLst/>
          </a:prstGeom>
          <a:noFill/>
        </p:spPr>
        <p:txBody>
          <a:bodyPr wrap="square" lIns="91432" tIns="0" rIns="91432" bIns="0" rtlCol="0" anchor="b" anchorCtr="0">
            <a:spAutoFit/>
          </a:bodyPr>
          <a:lstStyle/>
          <a:p>
            <a:pPr algn="ctr"/>
            <a:r>
              <a:rPr lang="en-US" sz="800" b="1" dirty="0">
                <a:solidFill>
                  <a:srgbClr val="626469"/>
                </a:solidFill>
                <a:latin typeface="Arial" pitchFamily="34" charset="0"/>
                <a:cs typeface="Arial" pitchFamily="34" charset="0"/>
              </a:rPr>
              <a:t>Packaging control</a:t>
            </a:r>
          </a:p>
        </p:txBody>
      </p:sp>
      <p:sp>
        <p:nvSpPr>
          <p:cNvPr id="341" name="TextBox 340"/>
          <p:cNvSpPr txBox="1"/>
          <p:nvPr userDrawn="1"/>
        </p:nvSpPr>
        <p:spPr>
          <a:xfrm>
            <a:off x="11024266" y="3463580"/>
            <a:ext cx="1045826" cy="246221"/>
          </a:xfrm>
          <a:prstGeom prst="rect">
            <a:avLst/>
          </a:prstGeom>
          <a:noFill/>
        </p:spPr>
        <p:txBody>
          <a:bodyPr wrap="square" lIns="91432" tIns="0" rIns="91432" bIns="0" rtlCol="0" anchor="b" anchorCtr="0">
            <a:spAutoFit/>
          </a:bodyPr>
          <a:lstStyle/>
          <a:p>
            <a:pPr algn="ctr"/>
            <a:r>
              <a:rPr lang="en-US" sz="800" b="1" dirty="0">
                <a:solidFill>
                  <a:srgbClr val="626469"/>
                </a:solidFill>
                <a:latin typeface="Arial" pitchFamily="34" charset="0"/>
                <a:cs typeface="Arial" pitchFamily="34" charset="0"/>
              </a:rPr>
              <a:t>Material</a:t>
            </a:r>
            <a:br>
              <a:rPr lang="en-US" sz="800" b="1" dirty="0">
                <a:solidFill>
                  <a:srgbClr val="626469"/>
                </a:solidFill>
                <a:latin typeface="Arial" pitchFamily="34" charset="0"/>
                <a:cs typeface="Arial" pitchFamily="34" charset="0"/>
              </a:rPr>
            </a:br>
            <a:r>
              <a:rPr lang="en-US" sz="800" b="1" dirty="0">
                <a:solidFill>
                  <a:srgbClr val="626469"/>
                </a:solidFill>
                <a:latin typeface="Arial" pitchFamily="34" charset="0"/>
                <a:cs typeface="Arial" pitchFamily="34" charset="0"/>
              </a:rPr>
              <a:t>working</a:t>
            </a:r>
          </a:p>
        </p:txBody>
      </p:sp>
      <p:sp>
        <p:nvSpPr>
          <p:cNvPr id="342" name="Freeform 673"/>
          <p:cNvSpPr>
            <a:spLocks noEditPoints="1"/>
          </p:cNvSpPr>
          <p:nvPr userDrawn="1"/>
        </p:nvSpPr>
        <p:spPr bwMode="auto">
          <a:xfrm>
            <a:off x="7572051" y="5579233"/>
            <a:ext cx="386319" cy="504067"/>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43" name="TextBox 342"/>
          <p:cNvSpPr txBox="1"/>
          <p:nvPr userDrawn="1"/>
        </p:nvSpPr>
        <p:spPr>
          <a:xfrm>
            <a:off x="7310738" y="6054247"/>
            <a:ext cx="908937" cy="215444"/>
          </a:xfrm>
          <a:prstGeom prst="rect">
            <a:avLst/>
          </a:prstGeom>
          <a:noFill/>
        </p:spPr>
        <p:txBody>
          <a:bodyPr wrap="square" lIns="91432" tIns="45717" rIns="91432" bIns="45717" rtlCol="0" anchor="b" anchorCtr="0">
            <a:spAutoFit/>
          </a:bodyPr>
          <a:lstStyle/>
          <a:p>
            <a:pPr algn="ctr"/>
            <a:r>
              <a:rPr lang="en-US" sz="800" b="1" dirty="0">
                <a:solidFill>
                  <a:srgbClr val="626469"/>
                </a:solidFill>
                <a:latin typeface="Arial" pitchFamily="34" charset="0"/>
                <a:cs typeface="Arial" pitchFamily="34" charset="0"/>
              </a:rPr>
              <a:t>Panel builders</a:t>
            </a:r>
          </a:p>
        </p:txBody>
      </p:sp>
      <p:sp>
        <p:nvSpPr>
          <p:cNvPr id="344" name="Rounded Rectangle 343"/>
          <p:cNvSpPr/>
          <p:nvPr userDrawn="1"/>
        </p:nvSpPr>
        <p:spPr>
          <a:xfrm>
            <a:off x="609441" y="4684277"/>
            <a:ext cx="5291299" cy="1611135"/>
          </a:xfrm>
          <a:prstGeom prst="roundRect">
            <a:avLst>
              <a:gd name="adj" fmla="val 9427"/>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45717" rIns="0" bIns="45717" rtlCol="0" anchor="ctr"/>
          <a:lstStyle/>
          <a:p>
            <a:pPr marL="520657" indent="-292076" algn="l">
              <a:spcAft>
                <a:spcPts val="200"/>
              </a:spcAft>
              <a:tabLst>
                <a:tab pos="173024" algn="l"/>
                <a:tab pos="457161" algn="l"/>
              </a:tabLst>
            </a:pPr>
            <a:r>
              <a:rPr lang="en-US" sz="1600" b="1" dirty="0"/>
              <a:t>To</a:t>
            </a:r>
            <a:r>
              <a:rPr lang="en-US" sz="1600" b="1" baseline="0" dirty="0"/>
              <a:t> add a </a:t>
            </a:r>
            <a:r>
              <a:rPr lang="en-US" sz="1600" b="1" baseline="0" dirty="0" err="1"/>
              <a:t>picto</a:t>
            </a:r>
            <a:r>
              <a:rPr lang="en-US" sz="1600" b="1" baseline="0" dirty="0"/>
              <a:t> to your presentation:</a:t>
            </a:r>
          </a:p>
          <a:p>
            <a:pPr marL="520657" indent="-292076" algn="l">
              <a:spcAft>
                <a:spcPts val="200"/>
              </a:spcAft>
              <a:buFont typeface="+mj-lt"/>
              <a:buAutoNum type="arabicPeriod"/>
              <a:tabLst>
                <a:tab pos="173024" algn="l"/>
                <a:tab pos="457161" algn="l"/>
              </a:tabLst>
            </a:pPr>
            <a:r>
              <a:rPr lang="en-US" sz="1500" baseline="0" dirty="0"/>
              <a:t>Select view/slide master</a:t>
            </a:r>
          </a:p>
          <a:p>
            <a:pPr marL="520657" indent="-292076" algn="l">
              <a:spcAft>
                <a:spcPts val="200"/>
              </a:spcAft>
              <a:buFont typeface="+mj-lt"/>
              <a:buAutoNum type="arabicPeriod"/>
              <a:tabLst>
                <a:tab pos="173024" algn="l"/>
                <a:tab pos="457161" algn="l"/>
              </a:tabLst>
            </a:pPr>
            <a:r>
              <a:rPr lang="en-US" sz="1500" baseline="0" dirty="0"/>
              <a:t>Go to slide with </a:t>
            </a:r>
            <a:r>
              <a:rPr lang="en-US" sz="1500" baseline="0" dirty="0" err="1"/>
              <a:t>pictos</a:t>
            </a:r>
            <a:endParaRPr lang="en-US" sz="1500" baseline="0" dirty="0"/>
          </a:p>
          <a:p>
            <a:pPr marL="520657" indent="-292076" algn="l">
              <a:spcAft>
                <a:spcPts val="200"/>
              </a:spcAft>
              <a:buFont typeface="+mj-lt"/>
              <a:buAutoNum type="arabicPeriod"/>
              <a:tabLst>
                <a:tab pos="173024" algn="l"/>
                <a:tab pos="457161" algn="l"/>
              </a:tabLst>
            </a:pPr>
            <a:r>
              <a:rPr lang="en-US" sz="1500" baseline="0" dirty="0"/>
              <a:t>Select and copy the </a:t>
            </a:r>
            <a:r>
              <a:rPr lang="en-US" sz="1500" baseline="0" dirty="0" err="1"/>
              <a:t>picto</a:t>
            </a:r>
            <a:r>
              <a:rPr lang="en-US" sz="1500" baseline="0" dirty="0"/>
              <a:t> that you would like to add (ctrl-c)</a:t>
            </a:r>
          </a:p>
          <a:p>
            <a:pPr marL="520657" indent="-292076" algn="l">
              <a:spcAft>
                <a:spcPts val="200"/>
              </a:spcAft>
              <a:buFont typeface="+mj-lt"/>
              <a:buAutoNum type="arabicPeriod"/>
              <a:tabLst>
                <a:tab pos="173024" algn="l"/>
                <a:tab pos="457161" algn="l"/>
              </a:tabLst>
            </a:pPr>
            <a:r>
              <a:rPr lang="en-US" sz="1500" baseline="0" dirty="0"/>
              <a:t>Close master view</a:t>
            </a:r>
          </a:p>
          <a:p>
            <a:pPr marL="520657" indent="-292076" algn="l">
              <a:spcAft>
                <a:spcPts val="200"/>
              </a:spcAft>
              <a:buFont typeface="+mj-lt"/>
              <a:buAutoNum type="arabicPeriod"/>
              <a:tabLst>
                <a:tab pos="173024" algn="l"/>
                <a:tab pos="457161" algn="l"/>
              </a:tabLst>
            </a:pPr>
            <a:r>
              <a:rPr lang="en-US" sz="1500" baseline="0" dirty="0"/>
              <a:t>Paste </a:t>
            </a:r>
            <a:r>
              <a:rPr lang="en-US" sz="1500" baseline="0" dirty="0" err="1"/>
              <a:t>picto</a:t>
            </a:r>
            <a:r>
              <a:rPr lang="en-US" sz="1500" baseline="0" dirty="0"/>
              <a:t> onto your slide (ctrl-p)</a:t>
            </a:r>
            <a:endParaRPr lang="en-US" sz="1500" dirty="0"/>
          </a:p>
        </p:txBody>
      </p:sp>
      <p:sp>
        <p:nvSpPr>
          <p:cNvPr id="345" name="TextBox 344"/>
          <p:cNvSpPr txBox="1"/>
          <p:nvPr userDrawn="1"/>
        </p:nvSpPr>
        <p:spPr>
          <a:xfrm>
            <a:off x="477406" y="1235455"/>
            <a:ext cx="869142" cy="323163"/>
          </a:xfrm>
          <a:prstGeom prst="rect">
            <a:avLst/>
          </a:prstGeom>
          <a:noFill/>
        </p:spPr>
        <p:txBody>
          <a:bodyPr wrap="none" lIns="91432" tIns="45717" rIns="91432" bIns="45717" rtlCol="0">
            <a:spAutoFit/>
          </a:bodyPr>
          <a:lstStyle/>
          <a:p>
            <a:pPr algn="r"/>
            <a:r>
              <a:rPr lang="en-US" sz="1500" dirty="0">
                <a:solidFill>
                  <a:srgbClr val="626469"/>
                </a:solidFill>
                <a:latin typeface="Arial" pitchFamily="34" charset="0"/>
                <a:cs typeface="Arial" pitchFamily="34" charset="0"/>
              </a:rPr>
              <a:t>Markets</a:t>
            </a:r>
          </a:p>
        </p:txBody>
      </p:sp>
      <p:sp>
        <p:nvSpPr>
          <p:cNvPr id="346" name="TextBox 345"/>
          <p:cNvSpPr txBox="1"/>
          <p:nvPr userDrawn="1"/>
        </p:nvSpPr>
        <p:spPr>
          <a:xfrm>
            <a:off x="307371" y="2195140"/>
            <a:ext cx="1051875" cy="553992"/>
          </a:xfrm>
          <a:prstGeom prst="rect">
            <a:avLst/>
          </a:prstGeom>
          <a:noFill/>
        </p:spPr>
        <p:txBody>
          <a:bodyPr wrap="none" lIns="91432" tIns="45717" rIns="91432" bIns="45717" rtlCol="0">
            <a:spAutoFit/>
          </a:bodyPr>
          <a:lstStyle/>
          <a:p>
            <a:pPr algn="r"/>
            <a:r>
              <a:rPr lang="en-US" sz="1500" dirty="0">
                <a:solidFill>
                  <a:srgbClr val="626469"/>
                </a:solidFill>
                <a:latin typeface="Arial" pitchFamily="34" charset="0"/>
                <a:cs typeface="Arial" pitchFamily="34" charset="0"/>
              </a:rPr>
              <a:t>Market </a:t>
            </a:r>
          </a:p>
          <a:p>
            <a:pPr algn="r"/>
            <a:r>
              <a:rPr lang="en-US" sz="1500" dirty="0">
                <a:solidFill>
                  <a:srgbClr val="626469"/>
                </a:solidFill>
                <a:latin typeface="Arial" pitchFamily="34" charset="0"/>
                <a:cs typeface="Arial" pitchFamily="34" charset="0"/>
              </a:rPr>
              <a:t>Segments</a:t>
            </a:r>
          </a:p>
        </p:txBody>
      </p:sp>
      <p:sp>
        <p:nvSpPr>
          <p:cNvPr id="347" name="TextBox 346"/>
          <p:cNvSpPr txBox="1"/>
          <p:nvPr userDrawn="1"/>
        </p:nvSpPr>
        <p:spPr>
          <a:xfrm>
            <a:off x="6423194" y="1231273"/>
            <a:ext cx="946086" cy="323163"/>
          </a:xfrm>
          <a:prstGeom prst="rect">
            <a:avLst/>
          </a:prstGeom>
          <a:noFill/>
        </p:spPr>
        <p:txBody>
          <a:bodyPr wrap="none" lIns="91432" tIns="45717" rIns="91432" bIns="45717" rtlCol="0">
            <a:spAutoFit/>
          </a:bodyPr>
          <a:lstStyle/>
          <a:p>
            <a:pPr algn="r"/>
            <a:r>
              <a:rPr lang="en-US" sz="1500" dirty="0">
                <a:solidFill>
                  <a:srgbClr val="626469"/>
                </a:solidFill>
                <a:latin typeface="Arial" pitchFamily="34" charset="0"/>
                <a:cs typeface="Arial" pitchFamily="34" charset="0"/>
              </a:rPr>
              <a:t>Domains</a:t>
            </a:r>
          </a:p>
        </p:txBody>
      </p:sp>
      <p:sp>
        <p:nvSpPr>
          <p:cNvPr id="348" name="TextBox 347"/>
          <p:cNvSpPr txBox="1"/>
          <p:nvPr userDrawn="1"/>
        </p:nvSpPr>
        <p:spPr>
          <a:xfrm>
            <a:off x="6423194" y="2187143"/>
            <a:ext cx="946086" cy="323163"/>
          </a:xfrm>
          <a:prstGeom prst="rect">
            <a:avLst/>
          </a:prstGeom>
          <a:noFill/>
        </p:spPr>
        <p:txBody>
          <a:bodyPr wrap="none" lIns="91432" tIns="45717" rIns="91432" bIns="45717" rtlCol="0">
            <a:spAutoFit/>
          </a:bodyPr>
          <a:lstStyle/>
          <a:p>
            <a:pPr algn="r"/>
            <a:r>
              <a:rPr lang="en-US" sz="1500" dirty="0" err="1">
                <a:solidFill>
                  <a:srgbClr val="626469"/>
                </a:solidFill>
                <a:latin typeface="Arial" pitchFamily="34" charset="0"/>
                <a:cs typeface="Arial" pitchFamily="34" charset="0"/>
              </a:rPr>
              <a:t>Aplicațiis</a:t>
            </a:r>
            <a:endParaRPr lang="en-US" sz="1500" dirty="0">
              <a:solidFill>
                <a:srgbClr val="626469"/>
              </a:solidFill>
              <a:latin typeface="Arial" pitchFamily="34" charset="0"/>
              <a:cs typeface="Arial" pitchFamily="34" charset="0"/>
            </a:endParaRPr>
          </a:p>
        </p:txBody>
      </p:sp>
      <p:sp>
        <p:nvSpPr>
          <p:cNvPr id="349" name="TextBox 348"/>
          <p:cNvSpPr txBox="1"/>
          <p:nvPr userDrawn="1"/>
        </p:nvSpPr>
        <p:spPr>
          <a:xfrm>
            <a:off x="5963132" y="5723025"/>
            <a:ext cx="1406146" cy="323163"/>
          </a:xfrm>
          <a:prstGeom prst="rect">
            <a:avLst/>
          </a:prstGeom>
          <a:noFill/>
        </p:spPr>
        <p:txBody>
          <a:bodyPr wrap="none" lIns="91432" tIns="45717" rIns="91432" bIns="45717" rtlCol="0">
            <a:spAutoFit/>
          </a:bodyPr>
          <a:lstStyle/>
          <a:p>
            <a:pPr algn="r"/>
            <a:r>
              <a:rPr lang="en-US" sz="1500" dirty="0">
                <a:solidFill>
                  <a:srgbClr val="626469"/>
                </a:solidFill>
                <a:latin typeface="Arial" pitchFamily="34" charset="0"/>
                <a:cs typeface="Arial" pitchFamily="34" charset="0"/>
              </a:rPr>
              <a:t>Intermediaries</a:t>
            </a:r>
          </a:p>
        </p:txBody>
      </p:sp>
      <p:sp>
        <p:nvSpPr>
          <p:cNvPr id="92" name="TextBox 91"/>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1406363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arket Pictos_White">
    <p:bg>
      <p:bgPr>
        <a:solidFill>
          <a:srgbClr val="009530"/>
        </a:solidFill>
        <a:effectLst/>
      </p:bgPr>
    </p:bg>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609441" y="271474"/>
            <a:ext cx="10969943" cy="1095375"/>
          </a:xfrm>
        </p:spPr>
        <p:txBody>
          <a:bodyPr/>
          <a:lstStyle>
            <a:lvl1pPr algn="l">
              <a:defRPr>
                <a:solidFill>
                  <a:schemeClr val="bg1"/>
                </a:solidFill>
              </a:defRPr>
            </a:lvl1pPr>
          </a:lstStyle>
          <a:p>
            <a:r>
              <a:rPr lang="en-US" dirty="0"/>
              <a:t>Market </a:t>
            </a:r>
            <a:r>
              <a:rPr lang="en-US" dirty="0" err="1"/>
              <a:t>Pictos</a:t>
            </a:r>
            <a:endParaRPr lang="en-US" noProof="0" dirty="0"/>
          </a:p>
        </p:txBody>
      </p:sp>
      <p:sp>
        <p:nvSpPr>
          <p:cNvPr id="264" name="Freeform 156"/>
          <p:cNvSpPr>
            <a:spLocks noChangeAspect="1"/>
          </p:cNvSpPr>
          <p:nvPr userDrawn="1"/>
        </p:nvSpPr>
        <p:spPr bwMode="auto">
          <a:xfrm>
            <a:off x="10351087" y="2195360"/>
            <a:ext cx="391833" cy="393192"/>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65" name="Freeform 188"/>
          <p:cNvSpPr>
            <a:spLocks noChangeAspect="1" noEditPoints="1"/>
          </p:cNvSpPr>
          <p:nvPr userDrawn="1"/>
        </p:nvSpPr>
        <p:spPr bwMode="auto">
          <a:xfrm>
            <a:off x="10335262" y="3000095"/>
            <a:ext cx="422086" cy="393192"/>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66" name="Freeform 192"/>
          <p:cNvSpPr>
            <a:spLocks noChangeAspect="1" noEditPoints="1"/>
          </p:cNvSpPr>
          <p:nvPr userDrawn="1"/>
        </p:nvSpPr>
        <p:spPr bwMode="auto">
          <a:xfrm>
            <a:off x="8472430" y="2195360"/>
            <a:ext cx="394363" cy="393192"/>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67" name="Freeform 200"/>
          <p:cNvSpPr>
            <a:spLocks noChangeAspect="1"/>
          </p:cNvSpPr>
          <p:nvPr userDrawn="1"/>
        </p:nvSpPr>
        <p:spPr bwMode="auto">
          <a:xfrm>
            <a:off x="9512902" y="2195360"/>
            <a:ext cx="273024" cy="393192"/>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68" name="Freeform 204"/>
          <p:cNvSpPr>
            <a:spLocks noChangeAspect="1"/>
          </p:cNvSpPr>
          <p:nvPr userDrawn="1"/>
        </p:nvSpPr>
        <p:spPr bwMode="auto">
          <a:xfrm>
            <a:off x="7605970" y="3000095"/>
            <a:ext cx="231658" cy="393192"/>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69" name="Freeform 212"/>
          <p:cNvSpPr>
            <a:spLocks noChangeAspect="1"/>
          </p:cNvSpPr>
          <p:nvPr userDrawn="1"/>
        </p:nvSpPr>
        <p:spPr bwMode="auto">
          <a:xfrm>
            <a:off x="8576194" y="3838255"/>
            <a:ext cx="201481" cy="40436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70" name="Freeform 228"/>
          <p:cNvSpPr>
            <a:spLocks noChangeAspect="1"/>
          </p:cNvSpPr>
          <p:nvPr userDrawn="1"/>
        </p:nvSpPr>
        <p:spPr bwMode="auto">
          <a:xfrm>
            <a:off x="9461323" y="3000095"/>
            <a:ext cx="371653" cy="393192"/>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chemeClr val="bg1"/>
            </a:solidFill>
            <a:prstDash val="solid"/>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71" name="Freeform 208"/>
          <p:cNvSpPr>
            <a:spLocks noChangeAspect="1"/>
          </p:cNvSpPr>
          <p:nvPr userDrawn="1"/>
        </p:nvSpPr>
        <p:spPr bwMode="auto">
          <a:xfrm>
            <a:off x="8574378" y="2941499"/>
            <a:ext cx="254308" cy="451797"/>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72" name="Freeform 152"/>
          <p:cNvSpPr>
            <a:spLocks noChangeAspect="1"/>
          </p:cNvSpPr>
          <p:nvPr userDrawn="1"/>
        </p:nvSpPr>
        <p:spPr bwMode="auto">
          <a:xfrm>
            <a:off x="7471868" y="4723069"/>
            <a:ext cx="586683" cy="351304"/>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73" name="Freeform 176"/>
          <p:cNvSpPr>
            <a:spLocks noChangeAspect="1"/>
          </p:cNvSpPr>
          <p:nvPr userDrawn="1"/>
        </p:nvSpPr>
        <p:spPr bwMode="auto">
          <a:xfrm>
            <a:off x="11346413" y="2195360"/>
            <a:ext cx="383947" cy="393192"/>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74" name="Freeform 140"/>
          <p:cNvSpPr>
            <a:spLocks noChangeAspect="1"/>
          </p:cNvSpPr>
          <p:nvPr userDrawn="1"/>
        </p:nvSpPr>
        <p:spPr bwMode="auto">
          <a:xfrm>
            <a:off x="10350370" y="3849421"/>
            <a:ext cx="393194" cy="393192"/>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75" name="Freeform 172"/>
          <p:cNvSpPr>
            <a:spLocks noChangeAspect="1"/>
          </p:cNvSpPr>
          <p:nvPr userDrawn="1"/>
        </p:nvSpPr>
        <p:spPr bwMode="auto">
          <a:xfrm>
            <a:off x="11340336" y="3836721"/>
            <a:ext cx="395565" cy="393192"/>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76" name="Freeform 48"/>
          <p:cNvSpPr>
            <a:spLocks noChangeAspect="1"/>
          </p:cNvSpPr>
          <p:nvPr userDrawn="1"/>
        </p:nvSpPr>
        <p:spPr bwMode="auto">
          <a:xfrm>
            <a:off x="3424347" y="1185552"/>
            <a:ext cx="276964" cy="393192"/>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77" name="TextBox 276"/>
          <p:cNvSpPr txBox="1"/>
          <p:nvPr userDrawn="1"/>
        </p:nvSpPr>
        <p:spPr>
          <a:xfrm>
            <a:off x="3143304" y="1669181"/>
            <a:ext cx="810056" cy="24622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Energy &amp;</a:t>
            </a:r>
            <a:br>
              <a:rPr lang="en-US" sz="800" b="1" dirty="0">
                <a:solidFill>
                  <a:schemeClr val="bg1"/>
                </a:solidFill>
                <a:latin typeface="Arial" pitchFamily="34" charset="0"/>
                <a:cs typeface="Arial" pitchFamily="34" charset="0"/>
              </a:rPr>
            </a:br>
            <a:r>
              <a:rPr lang="en-US" sz="800" b="1" dirty="0">
                <a:solidFill>
                  <a:schemeClr val="bg1"/>
                </a:solidFill>
                <a:latin typeface="Arial" pitchFamily="34" charset="0"/>
                <a:cs typeface="Arial" pitchFamily="34" charset="0"/>
              </a:rPr>
              <a:t>infrastructure</a:t>
            </a:r>
          </a:p>
        </p:txBody>
      </p:sp>
      <p:sp>
        <p:nvSpPr>
          <p:cNvPr id="278" name="Freeform 52"/>
          <p:cNvSpPr>
            <a:spLocks noChangeAspect="1"/>
          </p:cNvSpPr>
          <p:nvPr userDrawn="1"/>
        </p:nvSpPr>
        <p:spPr bwMode="auto">
          <a:xfrm>
            <a:off x="4303859" y="1185552"/>
            <a:ext cx="380589" cy="393192"/>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279" name="TextBox 278"/>
          <p:cNvSpPr txBox="1"/>
          <p:nvPr userDrawn="1"/>
        </p:nvSpPr>
        <p:spPr>
          <a:xfrm>
            <a:off x="4196931" y="1669183"/>
            <a:ext cx="590228" cy="123111"/>
          </a:xfrm>
          <a:prstGeom prst="rect">
            <a:avLst/>
          </a:prstGeom>
          <a:noFill/>
        </p:spPr>
        <p:txBody>
          <a:bodyPr wrap="square" lIns="0" tIns="0" rIns="0" bIns="0" rtlCol="0" anchor="t" anchorCtr="0">
            <a:spAutoFit/>
          </a:bodyPr>
          <a:lstStyle/>
          <a:p>
            <a:pPr algn="ctr"/>
            <a:r>
              <a:rPr lang="en-US" sz="800" b="1" dirty="0">
                <a:solidFill>
                  <a:schemeClr val="bg1"/>
                </a:solidFill>
                <a:latin typeface="Arial" pitchFamily="34" charset="0"/>
                <a:cs typeface="Arial" pitchFamily="34" charset="0"/>
              </a:rPr>
              <a:t>Industry</a:t>
            </a:r>
          </a:p>
        </p:txBody>
      </p:sp>
      <p:sp>
        <p:nvSpPr>
          <p:cNvPr id="280" name="Freeform 68"/>
          <p:cNvSpPr>
            <a:spLocks noChangeAspect="1"/>
          </p:cNvSpPr>
          <p:nvPr userDrawn="1"/>
        </p:nvSpPr>
        <p:spPr bwMode="auto">
          <a:xfrm>
            <a:off x="1438333" y="1185552"/>
            <a:ext cx="448619" cy="393192"/>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281" name="TextBox 280"/>
          <p:cNvSpPr txBox="1"/>
          <p:nvPr userDrawn="1"/>
        </p:nvSpPr>
        <p:spPr>
          <a:xfrm>
            <a:off x="1342306" y="1669183"/>
            <a:ext cx="652743" cy="12311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Buildings</a:t>
            </a:r>
          </a:p>
        </p:txBody>
      </p:sp>
      <p:sp>
        <p:nvSpPr>
          <p:cNvPr id="282" name="Freeform 60"/>
          <p:cNvSpPr>
            <a:spLocks noChangeAspect="1"/>
          </p:cNvSpPr>
          <p:nvPr userDrawn="1"/>
        </p:nvSpPr>
        <p:spPr bwMode="auto">
          <a:xfrm>
            <a:off x="2317355" y="1222075"/>
            <a:ext cx="493975" cy="353487"/>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283" name="TextBox 282"/>
          <p:cNvSpPr txBox="1"/>
          <p:nvPr userDrawn="1"/>
        </p:nvSpPr>
        <p:spPr>
          <a:xfrm>
            <a:off x="2286375" y="1669188"/>
            <a:ext cx="647613" cy="24622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Data </a:t>
            </a:r>
            <a:r>
              <a:rPr lang="en-US" sz="800" b="1" dirty="0" err="1">
                <a:solidFill>
                  <a:schemeClr val="bg1"/>
                </a:solidFill>
                <a:latin typeface="Arial" pitchFamily="34" charset="0"/>
                <a:cs typeface="Arial" pitchFamily="34" charset="0"/>
              </a:rPr>
              <a:t>centres</a:t>
            </a:r>
            <a:r>
              <a:rPr lang="en-US" sz="800" b="1" dirty="0">
                <a:solidFill>
                  <a:schemeClr val="bg1"/>
                </a:solidFill>
                <a:latin typeface="Arial" pitchFamily="34" charset="0"/>
                <a:cs typeface="Arial" pitchFamily="34" charset="0"/>
              </a:rPr>
              <a:t> </a:t>
            </a:r>
            <a:br>
              <a:rPr lang="en-US" sz="800" b="1" dirty="0">
                <a:solidFill>
                  <a:schemeClr val="bg1"/>
                </a:solidFill>
                <a:latin typeface="Arial" pitchFamily="34" charset="0"/>
                <a:cs typeface="Arial" pitchFamily="34" charset="0"/>
              </a:rPr>
            </a:br>
            <a:r>
              <a:rPr lang="en-US" sz="800" b="1" dirty="0">
                <a:solidFill>
                  <a:schemeClr val="bg1"/>
                </a:solidFill>
                <a:latin typeface="Arial" pitchFamily="34" charset="0"/>
                <a:cs typeface="Arial" pitchFamily="34" charset="0"/>
              </a:rPr>
              <a:t>&amp; networks</a:t>
            </a:r>
          </a:p>
        </p:txBody>
      </p:sp>
      <p:sp>
        <p:nvSpPr>
          <p:cNvPr id="284" name="Freeform 64"/>
          <p:cNvSpPr>
            <a:spLocks noChangeAspect="1"/>
          </p:cNvSpPr>
          <p:nvPr userDrawn="1"/>
        </p:nvSpPr>
        <p:spPr bwMode="auto">
          <a:xfrm>
            <a:off x="5258279" y="1185552"/>
            <a:ext cx="358929" cy="393192"/>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285" name="TextBox 284"/>
          <p:cNvSpPr txBox="1"/>
          <p:nvPr userDrawn="1"/>
        </p:nvSpPr>
        <p:spPr>
          <a:xfrm>
            <a:off x="5158135" y="1669189"/>
            <a:ext cx="549831" cy="12311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Residential</a:t>
            </a:r>
          </a:p>
        </p:txBody>
      </p:sp>
      <p:sp>
        <p:nvSpPr>
          <p:cNvPr id="286" name="Freeform 148"/>
          <p:cNvSpPr>
            <a:spLocks noChangeAspect="1"/>
          </p:cNvSpPr>
          <p:nvPr userDrawn="1"/>
        </p:nvSpPr>
        <p:spPr bwMode="auto">
          <a:xfrm>
            <a:off x="9432244" y="1260845"/>
            <a:ext cx="446842" cy="340107"/>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287" name="TextBox 286"/>
          <p:cNvSpPr txBox="1"/>
          <p:nvPr userDrawn="1"/>
        </p:nvSpPr>
        <p:spPr>
          <a:xfrm>
            <a:off x="9229950" y="1669181"/>
            <a:ext cx="851437" cy="24622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Power management</a:t>
            </a:r>
          </a:p>
        </p:txBody>
      </p:sp>
      <p:sp>
        <p:nvSpPr>
          <p:cNvPr id="288" name="Freeform 184"/>
          <p:cNvSpPr>
            <a:spLocks noChangeAspect="1"/>
          </p:cNvSpPr>
          <p:nvPr userDrawn="1"/>
        </p:nvSpPr>
        <p:spPr bwMode="auto">
          <a:xfrm>
            <a:off x="8409158" y="1207759"/>
            <a:ext cx="489928" cy="393192"/>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chemeClr val="bg1"/>
            </a:solidFill>
            <a:prstDash val="solid"/>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89" name="TextBox 288"/>
          <p:cNvSpPr txBox="1"/>
          <p:nvPr userDrawn="1"/>
        </p:nvSpPr>
        <p:spPr>
          <a:xfrm>
            <a:off x="7988860" y="1669181"/>
            <a:ext cx="1379553" cy="24622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Process/machine management</a:t>
            </a:r>
          </a:p>
        </p:txBody>
      </p:sp>
      <p:sp>
        <p:nvSpPr>
          <p:cNvPr id="290" name="Freeform 132"/>
          <p:cNvSpPr>
            <a:spLocks noChangeAspect="1"/>
          </p:cNvSpPr>
          <p:nvPr userDrawn="1"/>
        </p:nvSpPr>
        <p:spPr bwMode="auto">
          <a:xfrm>
            <a:off x="7526969" y="1207759"/>
            <a:ext cx="386910" cy="393192"/>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chemeClr val="bg1"/>
            </a:solidFill>
            <a:prstDash val="solid"/>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91" name="TextBox 290"/>
          <p:cNvSpPr txBox="1"/>
          <p:nvPr userDrawn="1"/>
        </p:nvSpPr>
        <p:spPr>
          <a:xfrm>
            <a:off x="7191941" y="1669181"/>
            <a:ext cx="1070335" cy="24622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IT room</a:t>
            </a:r>
            <a:br>
              <a:rPr lang="en-US" sz="800" b="1" dirty="0">
                <a:solidFill>
                  <a:schemeClr val="bg1"/>
                </a:solidFill>
                <a:latin typeface="Arial" pitchFamily="34" charset="0"/>
                <a:cs typeface="Arial" pitchFamily="34" charset="0"/>
              </a:rPr>
            </a:br>
            <a:r>
              <a:rPr lang="en-US" sz="800" b="1" dirty="0">
                <a:solidFill>
                  <a:schemeClr val="bg1"/>
                </a:solidFill>
                <a:latin typeface="Arial" pitchFamily="34" charset="0"/>
                <a:cs typeface="Arial" pitchFamily="34" charset="0"/>
              </a:rPr>
              <a:t>management</a:t>
            </a:r>
          </a:p>
        </p:txBody>
      </p:sp>
      <p:sp>
        <p:nvSpPr>
          <p:cNvPr id="292" name="Freeform 180"/>
          <p:cNvSpPr>
            <a:spLocks noChangeAspect="1"/>
          </p:cNvSpPr>
          <p:nvPr userDrawn="1"/>
        </p:nvSpPr>
        <p:spPr bwMode="auto">
          <a:xfrm>
            <a:off x="10338927" y="1207759"/>
            <a:ext cx="350298" cy="393192"/>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93" name="TextBox 292"/>
          <p:cNvSpPr txBox="1"/>
          <p:nvPr userDrawn="1"/>
        </p:nvSpPr>
        <p:spPr>
          <a:xfrm>
            <a:off x="10094005" y="1669181"/>
            <a:ext cx="923941" cy="24622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Security</a:t>
            </a:r>
            <a:br>
              <a:rPr lang="en-US" sz="800" b="1" dirty="0">
                <a:solidFill>
                  <a:schemeClr val="bg1"/>
                </a:solidFill>
                <a:latin typeface="Arial" pitchFamily="34" charset="0"/>
                <a:cs typeface="Arial" pitchFamily="34" charset="0"/>
              </a:rPr>
            </a:br>
            <a:r>
              <a:rPr lang="en-US" sz="800" b="1" dirty="0">
                <a:solidFill>
                  <a:schemeClr val="bg1"/>
                </a:solidFill>
                <a:latin typeface="Arial" pitchFamily="34" charset="0"/>
                <a:cs typeface="Arial" pitchFamily="34" charset="0"/>
              </a:rPr>
              <a:t>management</a:t>
            </a:r>
          </a:p>
        </p:txBody>
      </p:sp>
      <p:sp>
        <p:nvSpPr>
          <p:cNvPr id="294" name="Freeform 124"/>
          <p:cNvSpPr>
            <a:spLocks noChangeAspect="1"/>
          </p:cNvSpPr>
          <p:nvPr userDrawn="1"/>
        </p:nvSpPr>
        <p:spPr bwMode="auto">
          <a:xfrm>
            <a:off x="2418237" y="2195360"/>
            <a:ext cx="367063" cy="393192"/>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295" name="TextBox 294"/>
          <p:cNvSpPr txBox="1"/>
          <p:nvPr userDrawn="1"/>
        </p:nvSpPr>
        <p:spPr>
          <a:xfrm>
            <a:off x="2291570" y="2639108"/>
            <a:ext cx="637207" cy="24622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Electric</a:t>
            </a:r>
            <a:br>
              <a:rPr lang="en-US" sz="800" b="1" dirty="0">
                <a:solidFill>
                  <a:schemeClr val="bg1"/>
                </a:solidFill>
                <a:latin typeface="Arial" pitchFamily="34" charset="0"/>
                <a:cs typeface="Arial" pitchFamily="34" charset="0"/>
              </a:rPr>
            </a:br>
            <a:r>
              <a:rPr lang="en-US" sz="800" b="1" dirty="0">
                <a:solidFill>
                  <a:schemeClr val="bg1"/>
                </a:solidFill>
                <a:latin typeface="Arial" pitchFamily="34" charset="0"/>
                <a:cs typeface="Arial" pitchFamily="34" charset="0"/>
              </a:rPr>
              <a:t>utilities</a:t>
            </a:r>
          </a:p>
        </p:txBody>
      </p:sp>
      <p:sp>
        <p:nvSpPr>
          <p:cNvPr id="296" name="Freeform 116"/>
          <p:cNvSpPr>
            <a:spLocks noChangeAspect="1"/>
          </p:cNvSpPr>
          <p:nvPr userDrawn="1"/>
        </p:nvSpPr>
        <p:spPr bwMode="auto">
          <a:xfrm>
            <a:off x="1494884" y="3831107"/>
            <a:ext cx="385913" cy="393192"/>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297" name="TextBox 296"/>
          <p:cNvSpPr txBox="1"/>
          <p:nvPr userDrawn="1"/>
        </p:nvSpPr>
        <p:spPr>
          <a:xfrm>
            <a:off x="1378741" y="4284677"/>
            <a:ext cx="635869" cy="123111"/>
          </a:xfrm>
          <a:prstGeom prst="rect">
            <a:avLst/>
          </a:prstGeom>
          <a:noFill/>
        </p:spPr>
        <p:txBody>
          <a:bodyPr wrap="square" lIns="0" tIns="0" rIns="0" bIns="0" rtlCol="0" anchor="t" anchorCtr="0">
            <a:spAutoFit/>
          </a:bodyPr>
          <a:lstStyle/>
          <a:p>
            <a:pPr algn="ctr"/>
            <a:r>
              <a:rPr lang="en-US" sz="800" b="1" dirty="0">
                <a:solidFill>
                  <a:schemeClr val="bg1"/>
                </a:solidFill>
                <a:latin typeface="Arial" pitchFamily="34" charset="0"/>
                <a:cs typeface="Arial" pitchFamily="34" charset="0"/>
              </a:rPr>
              <a:t>Oil &amp; gas</a:t>
            </a:r>
          </a:p>
        </p:txBody>
      </p:sp>
      <p:sp>
        <p:nvSpPr>
          <p:cNvPr id="298" name="Freeform 88"/>
          <p:cNvSpPr>
            <a:spLocks noChangeAspect="1"/>
          </p:cNvSpPr>
          <p:nvPr userDrawn="1"/>
        </p:nvSpPr>
        <p:spPr bwMode="auto">
          <a:xfrm>
            <a:off x="4230516" y="3060566"/>
            <a:ext cx="516752" cy="337567"/>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299" name="TextBox 298"/>
          <p:cNvSpPr txBox="1"/>
          <p:nvPr userDrawn="1"/>
        </p:nvSpPr>
        <p:spPr>
          <a:xfrm>
            <a:off x="4174110" y="3463580"/>
            <a:ext cx="635869" cy="123111"/>
          </a:xfrm>
          <a:prstGeom prst="rect">
            <a:avLst/>
          </a:prstGeom>
          <a:noFill/>
        </p:spPr>
        <p:txBody>
          <a:bodyPr wrap="square" lIns="0" tIns="0" rIns="0" bIns="0" rtlCol="0" anchor="t" anchorCtr="0">
            <a:spAutoFit/>
          </a:bodyPr>
          <a:lstStyle/>
          <a:p>
            <a:pPr algn="ctr"/>
            <a:r>
              <a:rPr lang="en-US" sz="800" b="1" dirty="0">
                <a:solidFill>
                  <a:schemeClr val="bg1"/>
                </a:solidFill>
                <a:latin typeface="Arial" pitchFamily="34" charset="0"/>
                <a:cs typeface="Arial" pitchFamily="34" charset="0"/>
              </a:rPr>
              <a:t>Marine</a:t>
            </a:r>
          </a:p>
        </p:txBody>
      </p:sp>
      <p:sp>
        <p:nvSpPr>
          <p:cNvPr id="300" name="Freeform 220"/>
          <p:cNvSpPr>
            <a:spLocks noChangeAspect="1"/>
          </p:cNvSpPr>
          <p:nvPr userDrawn="1"/>
        </p:nvSpPr>
        <p:spPr bwMode="auto">
          <a:xfrm>
            <a:off x="3270799" y="3900220"/>
            <a:ext cx="586434" cy="324077"/>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01" name="TextBox 300"/>
          <p:cNvSpPr txBox="1"/>
          <p:nvPr userDrawn="1"/>
        </p:nvSpPr>
        <p:spPr>
          <a:xfrm>
            <a:off x="2985176" y="4284677"/>
            <a:ext cx="1126320" cy="12311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Transportation</a:t>
            </a:r>
          </a:p>
        </p:txBody>
      </p:sp>
      <p:sp>
        <p:nvSpPr>
          <p:cNvPr id="302" name="Freeform 76"/>
          <p:cNvSpPr>
            <a:spLocks noChangeAspect="1"/>
          </p:cNvSpPr>
          <p:nvPr userDrawn="1"/>
        </p:nvSpPr>
        <p:spPr bwMode="auto">
          <a:xfrm>
            <a:off x="4268395" y="3831107"/>
            <a:ext cx="427715" cy="393192"/>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03" name="TextBox 302"/>
          <p:cNvSpPr txBox="1"/>
          <p:nvPr userDrawn="1"/>
        </p:nvSpPr>
        <p:spPr>
          <a:xfrm>
            <a:off x="3947787" y="4284676"/>
            <a:ext cx="1088520" cy="24622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Water &amp; </a:t>
            </a:r>
            <a:br>
              <a:rPr lang="en-US" sz="800" b="1" dirty="0">
                <a:solidFill>
                  <a:schemeClr val="bg1"/>
                </a:solidFill>
                <a:latin typeface="Arial" pitchFamily="34" charset="0"/>
                <a:cs typeface="Arial" pitchFamily="34" charset="0"/>
              </a:rPr>
            </a:br>
            <a:r>
              <a:rPr lang="en-US" sz="800" b="1" dirty="0">
                <a:solidFill>
                  <a:schemeClr val="bg1"/>
                </a:solidFill>
                <a:latin typeface="Arial" pitchFamily="34" charset="0"/>
                <a:cs typeface="Arial" pitchFamily="34" charset="0"/>
              </a:rPr>
              <a:t>waste water</a:t>
            </a:r>
          </a:p>
        </p:txBody>
      </p:sp>
      <p:sp>
        <p:nvSpPr>
          <p:cNvPr id="304" name="Freeform 120"/>
          <p:cNvSpPr>
            <a:spLocks noChangeAspect="1"/>
          </p:cNvSpPr>
          <p:nvPr userDrawn="1"/>
        </p:nvSpPr>
        <p:spPr bwMode="auto">
          <a:xfrm>
            <a:off x="5194809" y="3004939"/>
            <a:ext cx="473683" cy="362948"/>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05" name="TextBox 304"/>
          <p:cNvSpPr txBox="1"/>
          <p:nvPr userDrawn="1"/>
        </p:nvSpPr>
        <p:spPr>
          <a:xfrm>
            <a:off x="4902559" y="3463580"/>
            <a:ext cx="1060977" cy="246221"/>
          </a:xfrm>
          <a:prstGeom prst="rect">
            <a:avLst/>
          </a:prstGeom>
          <a:noFill/>
        </p:spPr>
        <p:txBody>
          <a:bodyPr wrap="square" lIns="0" tIns="0" rIns="0" bIns="0" rtlCol="0" anchor="t" anchorCtr="0">
            <a:spAutoFit/>
          </a:bodyPr>
          <a:lstStyle/>
          <a:p>
            <a:pPr algn="ctr"/>
            <a:r>
              <a:rPr lang="en-US" sz="800" b="1" dirty="0">
                <a:solidFill>
                  <a:schemeClr val="bg1"/>
                </a:solidFill>
                <a:latin typeface="Arial" pitchFamily="34" charset="0"/>
                <a:cs typeface="Arial" pitchFamily="34" charset="0"/>
              </a:rPr>
              <a:t>Mining, minerals</a:t>
            </a:r>
            <a:br>
              <a:rPr lang="en-US" sz="800" b="1" dirty="0">
                <a:solidFill>
                  <a:schemeClr val="bg1"/>
                </a:solidFill>
                <a:latin typeface="Arial" pitchFamily="34" charset="0"/>
                <a:cs typeface="Arial" pitchFamily="34" charset="0"/>
              </a:rPr>
            </a:br>
            <a:r>
              <a:rPr lang="en-US" sz="800" b="1" dirty="0">
                <a:solidFill>
                  <a:schemeClr val="bg1"/>
                </a:solidFill>
                <a:latin typeface="Arial" pitchFamily="34" charset="0"/>
                <a:cs typeface="Arial" pitchFamily="34" charset="0"/>
              </a:rPr>
              <a:t>&amp; metals</a:t>
            </a:r>
          </a:p>
        </p:txBody>
      </p:sp>
      <p:sp>
        <p:nvSpPr>
          <p:cNvPr id="306" name="Freeform 112"/>
          <p:cNvSpPr>
            <a:spLocks noChangeAspect="1"/>
          </p:cNvSpPr>
          <p:nvPr userDrawn="1"/>
        </p:nvSpPr>
        <p:spPr bwMode="auto">
          <a:xfrm>
            <a:off x="4230517" y="2195360"/>
            <a:ext cx="500144" cy="393192"/>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07" name="TextBox 306"/>
          <p:cNvSpPr txBox="1"/>
          <p:nvPr userDrawn="1"/>
        </p:nvSpPr>
        <p:spPr>
          <a:xfrm>
            <a:off x="4230518" y="2639103"/>
            <a:ext cx="523058" cy="24622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Food &amp;</a:t>
            </a:r>
            <a:br>
              <a:rPr lang="en-US" sz="800" b="1" dirty="0">
                <a:solidFill>
                  <a:schemeClr val="bg1"/>
                </a:solidFill>
                <a:latin typeface="Arial" pitchFamily="34" charset="0"/>
                <a:cs typeface="Arial" pitchFamily="34" charset="0"/>
              </a:rPr>
            </a:br>
            <a:r>
              <a:rPr lang="en-US" sz="800" b="1" dirty="0">
                <a:solidFill>
                  <a:schemeClr val="bg1"/>
                </a:solidFill>
                <a:latin typeface="Arial" pitchFamily="34" charset="0"/>
                <a:cs typeface="Arial" pitchFamily="34" charset="0"/>
              </a:rPr>
              <a:t>beverage</a:t>
            </a:r>
          </a:p>
        </p:txBody>
      </p:sp>
      <p:sp>
        <p:nvSpPr>
          <p:cNvPr id="308" name="Freeform 108"/>
          <p:cNvSpPr>
            <a:spLocks noChangeAspect="1"/>
          </p:cNvSpPr>
          <p:nvPr userDrawn="1"/>
        </p:nvSpPr>
        <p:spPr bwMode="auto">
          <a:xfrm>
            <a:off x="2370513" y="3060617"/>
            <a:ext cx="479320" cy="337567"/>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09" name="TextBox 308"/>
          <p:cNvSpPr txBox="1"/>
          <p:nvPr userDrawn="1"/>
        </p:nvSpPr>
        <p:spPr>
          <a:xfrm>
            <a:off x="2292243" y="3463580"/>
            <a:ext cx="635869" cy="12311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Hotels</a:t>
            </a:r>
          </a:p>
        </p:txBody>
      </p:sp>
      <p:sp>
        <p:nvSpPr>
          <p:cNvPr id="310" name="Freeform 80"/>
          <p:cNvSpPr>
            <a:spLocks noChangeAspect="1"/>
          </p:cNvSpPr>
          <p:nvPr userDrawn="1"/>
        </p:nvSpPr>
        <p:spPr bwMode="auto">
          <a:xfrm>
            <a:off x="1494887" y="3004989"/>
            <a:ext cx="332363" cy="393192"/>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11" name="TextBox 310"/>
          <p:cNvSpPr txBox="1"/>
          <p:nvPr userDrawn="1"/>
        </p:nvSpPr>
        <p:spPr>
          <a:xfrm>
            <a:off x="1283714" y="3463580"/>
            <a:ext cx="769927" cy="12311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Healthcare</a:t>
            </a:r>
          </a:p>
        </p:txBody>
      </p:sp>
      <p:sp>
        <p:nvSpPr>
          <p:cNvPr id="312" name="Freeform 100"/>
          <p:cNvSpPr>
            <a:spLocks noChangeAspect="1"/>
          </p:cNvSpPr>
          <p:nvPr userDrawn="1"/>
        </p:nvSpPr>
        <p:spPr bwMode="auto">
          <a:xfrm>
            <a:off x="3418413" y="2874444"/>
            <a:ext cx="330960" cy="523747"/>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13" name="TextBox 312"/>
          <p:cNvSpPr txBox="1"/>
          <p:nvPr userDrawn="1"/>
        </p:nvSpPr>
        <p:spPr>
          <a:xfrm>
            <a:off x="3286803" y="3463580"/>
            <a:ext cx="523058" cy="246221"/>
          </a:xfrm>
          <a:prstGeom prst="rect">
            <a:avLst/>
          </a:prstGeom>
          <a:noFill/>
        </p:spPr>
        <p:txBody>
          <a:bodyPr wrap="square" lIns="0" tIns="0" rIns="0" bIns="0" rtlCol="0" anchor="t" anchorCtr="0">
            <a:spAutoFit/>
          </a:bodyPr>
          <a:lstStyle/>
          <a:p>
            <a:pPr algn="ctr"/>
            <a:r>
              <a:rPr lang="en-US" sz="800" b="1" dirty="0">
                <a:solidFill>
                  <a:schemeClr val="bg1"/>
                </a:solidFill>
                <a:latin typeface="Arial" pitchFamily="34" charset="0"/>
                <a:cs typeface="Arial" pitchFamily="34" charset="0"/>
              </a:rPr>
              <a:t>Life</a:t>
            </a:r>
            <a:br>
              <a:rPr lang="en-US" sz="800" b="1" dirty="0">
                <a:solidFill>
                  <a:schemeClr val="bg1"/>
                </a:solidFill>
                <a:latin typeface="Arial" pitchFamily="34" charset="0"/>
                <a:cs typeface="Arial" pitchFamily="34" charset="0"/>
              </a:rPr>
            </a:br>
            <a:r>
              <a:rPr lang="en-US" sz="800" b="1" dirty="0">
                <a:solidFill>
                  <a:schemeClr val="bg1"/>
                </a:solidFill>
                <a:latin typeface="Arial" pitchFamily="34" charset="0"/>
                <a:cs typeface="Arial" pitchFamily="34" charset="0"/>
              </a:rPr>
              <a:t>sciences</a:t>
            </a:r>
          </a:p>
        </p:txBody>
      </p:sp>
      <p:sp>
        <p:nvSpPr>
          <p:cNvPr id="314" name="Freeform 104"/>
          <p:cNvSpPr>
            <a:spLocks noChangeAspect="1"/>
          </p:cNvSpPr>
          <p:nvPr userDrawn="1"/>
        </p:nvSpPr>
        <p:spPr bwMode="auto">
          <a:xfrm>
            <a:off x="2359069" y="3733696"/>
            <a:ext cx="479233" cy="479229"/>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15" name="TextBox 314"/>
          <p:cNvSpPr txBox="1"/>
          <p:nvPr userDrawn="1"/>
        </p:nvSpPr>
        <p:spPr>
          <a:xfrm>
            <a:off x="2225214" y="4284677"/>
            <a:ext cx="769927" cy="12311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Retail</a:t>
            </a:r>
          </a:p>
        </p:txBody>
      </p:sp>
      <p:sp>
        <p:nvSpPr>
          <p:cNvPr id="316" name="Freeform 56"/>
          <p:cNvSpPr>
            <a:spLocks noChangeAspect="1"/>
          </p:cNvSpPr>
          <p:nvPr userDrawn="1"/>
        </p:nvSpPr>
        <p:spPr bwMode="auto">
          <a:xfrm>
            <a:off x="5234357" y="2195360"/>
            <a:ext cx="379970" cy="393192"/>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17" name="TextBox 316"/>
          <p:cNvSpPr txBox="1"/>
          <p:nvPr userDrawn="1"/>
        </p:nvSpPr>
        <p:spPr>
          <a:xfrm>
            <a:off x="5048085" y="2639109"/>
            <a:ext cx="769927" cy="24622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Green buildings</a:t>
            </a:r>
          </a:p>
        </p:txBody>
      </p:sp>
      <p:sp>
        <p:nvSpPr>
          <p:cNvPr id="318" name="Freeform 216"/>
          <p:cNvSpPr>
            <a:spLocks noChangeAspect="1"/>
          </p:cNvSpPr>
          <p:nvPr userDrawn="1"/>
        </p:nvSpPr>
        <p:spPr bwMode="auto">
          <a:xfrm>
            <a:off x="3327990" y="2195360"/>
            <a:ext cx="421382" cy="393192"/>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19" name="TextBox 318"/>
          <p:cNvSpPr txBox="1"/>
          <p:nvPr userDrawn="1"/>
        </p:nvSpPr>
        <p:spPr>
          <a:xfrm>
            <a:off x="3230400" y="2639109"/>
            <a:ext cx="635869" cy="12311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Finance</a:t>
            </a:r>
          </a:p>
        </p:txBody>
      </p:sp>
      <p:sp>
        <p:nvSpPr>
          <p:cNvPr id="320" name="Freeform 224"/>
          <p:cNvSpPr>
            <a:spLocks noChangeAspect="1"/>
          </p:cNvSpPr>
          <p:nvPr userDrawn="1"/>
        </p:nvSpPr>
        <p:spPr bwMode="auto">
          <a:xfrm>
            <a:off x="1438333" y="2242597"/>
            <a:ext cx="525440" cy="345955"/>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21" name="TextBox 320"/>
          <p:cNvSpPr txBox="1"/>
          <p:nvPr userDrawn="1"/>
        </p:nvSpPr>
        <p:spPr>
          <a:xfrm>
            <a:off x="1342307" y="2639108"/>
            <a:ext cx="652701" cy="246221"/>
          </a:xfrm>
          <a:prstGeom prst="rect">
            <a:avLst/>
          </a:prstGeom>
          <a:noFill/>
        </p:spPr>
        <p:txBody>
          <a:bodyPr wrap="square" lIns="0" tIns="0" rIns="0" bIns="0" rtlCol="0" anchor="b" anchorCtr="0">
            <a:spAutoFit/>
          </a:bodyPr>
          <a:lstStyle/>
          <a:p>
            <a:pPr algn="ctr"/>
            <a:r>
              <a:rPr lang="en-US" sz="800" b="1" dirty="0">
                <a:solidFill>
                  <a:schemeClr val="bg1"/>
                </a:solidFill>
                <a:latin typeface="Arial" pitchFamily="34" charset="0"/>
                <a:cs typeface="Arial" pitchFamily="34" charset="0"/>
              </a:rPr>
              <a:t>Cloud and telecom</a:t>
            </a:r>
          </a:p>
        </p:txBody>
      </p:sp>
      <p:sp>
        <p:nvSpPr>
          <p:cNvPr id="322" name="TextBox 321"/>
          <p:cNvSpPr txBox="1"/>
          <p:nvPr userDrawn="1"/>
        </p:nvSpPr>
        <p:spPr>
          <a:xfrm>
            <a:off x="9111405" y="3463580"/>
            <a:ext cx="1088520" cy="246221"/>
          </a:xfrm>
          <a:prstGeom prst="rect">
            <a:avLst/>
          </a:prstGeom>
          <a:noFill/>
        </p:spPr>
        <p:txBody>
          <a:bodyPr wrap="square" lIns="91432" tIns="0" rIns="91432" bIns="0" rtlCol="0" anchor="b" anchorCtr="0">
            <a:spAutoFit/>
          </a:bodyPr>
          <a:lstStyle/>
          <a:p>
            <a:pPr algn="ctr"/>
            <a:r>
              <a:rPr lang="en-US" sz="800" b="1" dirty="0">
                <a:solidFill>
                  <a:schemeClr val="bg1"/>
                </a:solidFill>
                <a:latin typeface="Arial" pitchFamily="34" charset="0"/>
                <a:cs typeface="Arial" pitchFamily="34" charset="0"/>
              </a:rPr>
              <a:t>Management software</a:t>
            </a:r>
          </a:p>
        </p:txBody>
      </p:sp>
      <p:sp>
        <p:nvSpPr>
          <p:cNvPr id="323" name="TextBox 322"/>
          <p:cNvSpPr txBox="1"/>
          <p:nvPr userDrawn="1"/>
        </p:nvSpPr>
        <p:spPr>
          <a:xfrm>
            <a:off x="8216670" y="4284672"/>
            <a:ext cx="923938" cy="246221"/>
          </a:xfrm>
          <a:prstGeom prst="rect">
            <a:avLst/>
          </a:prstGeom>
          <a:noFill/>
        </p:spPr>
        <p:txBody>
          <a:bodyPr wrap="square" lIns="91432" tIns="0" rIns="91432" bIns="0" rtlCol="0" anchor="b" anchorCtr="0">
            <a:spAutoFit/>
          </a:bodyPr>
          <a:lstStyle/>
          <a:p>
            <a:pPr algn="ctr"/>
            <a:r>
              <a:rPr lang="en-US" sz="800" b="1" dirty="0">
                <a:solidFill>
                  <a:schemeClr val="bg1"/>
                </a:solidFill>
                <a:latin typeface="Arial" pitchFamily="34" charset="0"/>
                <a:cs typeface="Arial" pitchFamily="34" charset="0"/>
              </a:rPr>
              <a:t>Power</a:t>
            </a:r>
            <a:br>
              <a:rPr lang="en-US" sz="800" b="1" dirty="0">
                <a:solidFill>
                  <a:schemeClr val="bg1"/>
                </a:solidFill>
                <a:latin typeface="Arial" pitchFamily="34" charset="0"/>
                <a:cs typeface="Arial" pitchFamily="34" charset="0"/>
              </a:rPr>
            </a:br>
            <a:r>
              <a:rPr lang="en-US" sz="800" b="1" dirty="0">
                <a:solidFill>
                  <a:schemeClr val="bg1"/>
                </a:solidFill>
                <a:latin typeface="Arial" pitchFamily="34" charset="0"/>
                <a:cs typeface="Arial" pitchFamily="34" charset="0"/>
              </a:rPr>
              <a:t>Measurement</a:t>
            </a:r>
          </a:p>
        </p:txBody>
      </p:sp>
      <p:sp>
        <p:nvSpPr>
          <p:cNvPr id="324" name="TextBox 323"/>
          <p:cNvSpPr txBox="1"/>
          <p:nvPr userDrawn="1"/>
        </p:nvSpPr>
        <p:spPr>
          <a:xfrm>
            <a:off x="11002920" y="2639103"/>
            <a:ext cx="1088520" cy="246221"/>
          </a:xfrm>
          <a:prstGeom prst="rect">
            <a:avLst/>
          </a:prstGeom>
          <a:noFill/>
        </p:spPr>
        <p:txBody>
          <a:bodyPr wrap="square" lIns="91432" tIns="0" rIns="91432" bIns="0" rtlCol="0" anchor="b" anchorCtr="0">
            <a:spAutoFit/>
          </a:bodyPr>
          <a:lstStyle/>
          <a:p>
            <a:pPr algn="ctr"/>
            <a:r>
              <a:rPr lang="en-US" sz="800" b="1" dirty="0">
                <a:solidFill>
                  <a:schemeClr val="bg1"/>
                </a:solidFill>
                <a:latin typeface="Arial" pitchFamily="34" charset="0"/>
                <a:cs typeface="Arial" pitchFamily="34" charset="0"/>
              </a:rPr>
              <a:t>Intelligent power and motor control</a:t>
            </a:r>
          </a:p>
        </p:txBody>
      </p:sp>
      <p:sp>
        <p:nvSpPr>
          <p:cNvPr id="325" name="TextBox 324"/>
          <p:cNvSpPr txBox="1"/>
          <p:nvPr userDrawn="1"/>
        </p:nvSpPr>
        <p:spPr>
          <a:xfrm>
            <a:off x="10011714" y="4284671"/>
            <a:ext cx="1088520" cy="205184"/>
          </a:xfrm>
          <a:prstGeom prst="rect">
            <a:avLst/>
          </a:prstGeom>
          <a:noFill/>
        </p:spPr>
        <p:txBody>
          <a:bodyPr wrap="square" lIns="91432" tIns="0" rIns="91432" bIns="0" rtlCol="0" anchor="t" anchorCtr="0">
            <a:spAutoFit/>
          </a:bodyPr>
          <a:lstStyle/>
          <a:p>
            <a:pPr algn="ctr">
              <a:lnSpc>
                <a:spcPts val="800"/>
              </a:lnSpc>
            </a:pPr>
            <a:r>
              <a:rPr lang="en-US" sz="800" b="1" dirty="0">
                <a:solidFill>
                  <a:schemeClr val="bg1"/>
                </a:solidFill>
                <a:latin typeface="Arial" pitchFamily="34" charset="0"/>
                <a:cs typeface="Arial" pitchFamily="34" charset="0"/>
              </a:rPr>
              <a:t>Renewable energy conversion</a:t>
            </a:r>
          </a:p>
        </p:txBody>
      </p:sp>
      <p:sp>
        <p:nvSpPr>
          <p:cNvPr id="326" name="TextBox 325"/>
          <p:cNvSpPr txBox="1"/>
          <p:nvPr userDrawn="1"/>
        </p:nvSpPr>
        <p:spPr>
          <a:xfrm>
            <a:off x="8155726" y="2639103"/>
            <a:ext cx="1045826" cy="246221"/>
          </a:xfrm>
          <a:prstGeom prst="rect">
            <a:avLst/>
          </a:prstGeom>
          <a:noFill/>
        </p:spPr>
        <p:txBody>
          <a:bodyPr wrap="square" lIns="91432" tIns="0" rIns="91432" bIns="0" rtlCol="0" anchor="b" anchorCtr="0">
            <a:spAutoFit/>
          </a:bodyPr>
          <a:lstStyle/>
          <a:p>
            <a:pPr algn="ctr"/>
            <a:r>
              <a:rPr lang="en-US" sz="800" b="1" dirty="0">
                <a:solidFill>
                  <a:schemeClr val="bg1"/>
                </a:solidFill>
                <a:latin typeface="Arial" pitchFamily="34" charset="0"/>
                <a:cs typeface="Arial" pitchFamily="34" charset="0"/>
              </a:rPr>
              <a:t>Electric vehicle recharging</a:t>
            </a:r>
          </a:p>
        </p:txBody>
      </p:sp>
      <p:sp>
        <p:nvSpPr>
          <p:cNvPr id="327" name="TextBox 326"/>
          <p:cNvSpPr txBox="1"/>
          <p:nvPr userDrawn="1"/>
        </p:nvSpPr>
        <p:spPr>
          <a:xfrm>
            <a:off x="7161501" y="3463580"/>
            <a:ext cx="1131215" cy="246221"/>
          </a:xfrm>
          <a:prstGeom prst="rect">
            <a:avLst/>
          </a:prstGeom>
          <a:noFill/>
        </p:spPr>
        <p:txBody>
          <a:bodyPr wrap="square" lIns="91432" tIns="0" rIns="91432" bIns="0" rtlCol="0" anchor="b" anchorCtr="0">
            <a:spAutoFit/>
          </a:bodyPr>
          <a:lstStyle/>
          <a:p>
            <a:pPr algn="ctr"/>
            <a:r>
              <a:rPr lang="en-US" sz="800" b="1" dirty="0">
                <a:solidFill>
                  <a:schemeClr val="bg1"/>
                </a:solidFill>
                <a:latin typeface="Arial" pitchFamily="34" charset="0"/>
                <a:cs typeface="Arial" pitchFamily="34" charset="0"/>
              </a:rPr>
              <a:t>Lifts and</a:t>
            </a:r>
            <a:br>
              <a:rPr lang="en-US" sz="800" b="1" dirty="0">
                <a:solidFill>
                  <a:schemeClr val="bg1"/>
                </a:solidFill>
                <a:latin typeface="Arial" pitchFamily="34" charset="0"/>
                <a:cs typeface="Arial" pitchFamily="34" charset="0"/>
              </a:rPr>
            </a:br>
            <a:r>
              <a:rPr lang="en-US" sz="800" b="1" dirty="0">
                <a:solidFill>
                  <a:schemeClr val="bg1"/>
                </a:solidFill>
                <a:latin typeface="Arial" pitchFamily="34" charset="0"/>
                <a:cs typeface="Arial" pitchFamily="34" charset="0"/>
              </a:rPr>
              <a:t>escalators control</a:t>
            </a:r>
          </a:p>
        </p:txBody>
      </p:sp>
      <p:sp>
        <p:nvSpPr>
          <p:cNvPr id="328" name="TextBox 327"/>
          <p:cNvSpPr txBox="1"/>
          <p:nvPr userDrawn="1"/>
        </p:nvSpPr>
        <p:spPr>
          <a:xfrm>
            <a:off x="10011714" y="3463580"/>
            <a:ext cx="1088520" cy="246221"/>
          </a:xfrm>
          <a:prstGeom prst="rect">
            <a:avLst/>
          </a:prstGeom>
          <a:noFill/>
        </p:spPr>
        <p:txBody>
          <a:bodyPr wrap="square" lIns="91432" tIns="0" rIns="91432" bIns="0" rtlCol="0" anchor="b" anchorCtr="0">
            <a:spAutoFit/>
          </a:bodyPr>
          <a:lstStyle/>
          <a:p>
            <a:pPr algn="ctr"/>
            <a:r>
              <a:rPr lang="en-US" sz="800" b="1" dirty="0">
                <a:solidFill>
                  <a:schemeClr val="bg1"/>
                </a:solidFill>
                <a:latin typeface="Arial" pitchFamily="34" charset="0"/>
                <a:cs typeface="Arial" pitchFamily="34" charset="0"/>
              </a:rPr>
              <a:t>Material handling control</a:t>
            </a:r>
          </a:p>
        </p:txBody>
      </p:sp>
      <p:sp>
        <p:nvSpPr>
          <p:cNvPr id="329" name="TextBox 328"/>
          <p:cNvSpPr txBox="1"/>
          <p:nvPr userDrawn="1"/>
        </p:nvSpPr>
        <p:spPr>
          <a:xfrm>
            <a:off x="9111405" y="2639108"/>
            <a:ext cx="1088520" cy="246221"/>
          </a:xfrm>
          <a:prstGeom prst="rect">
            <a:avLst/>
          </a:prstGeom>
          <a:noFill/>
        </p:spPr>
        <p:txBody>
          <a:bodyPr wrap="square" lIns="91432" tIns="0" rIns="91432" bIns="0" rtlCol="0" anchor="b" anchorCtr="0">
            <a:spAutoFit/>
          </a:bodyPr>
          <a:lstStyle/>
          <a:p>
            <a:pPr algn="ctr"/>
            <a:r>
              <a:rPr lang="en-US" sz="800" b="1" dirty="0">
                <a:solidFill>
                  <a:schemeClr val="bg1"/>
                </a:solidFill>
                <a:latin typeface="Arial" pitchFamily="34" charset="0"/>
                <a:cs typeface="Arial" pitchFamily="34" charset="0"/>
              </a:rPr>
              <a:t>Hoisting</a:t>
            </a:r>
            <a:br>
              <a:rPr lang="en-US" sz="800" b="1" dirty="0">
                <a:solidFill>
                  <a:schemeClr val="bg1"/>
                </a:solidFill>
                <a:latin typeface="Arial" pitchFamily="34" charset="0"/>
                <a:cs typeface="Arial" pitchFamily="34" charset="0"/>
              </a:rPr>
            </a:br>
            <a:r>
              <a:rPr lang="en-US" sz="800" b="1" dirty="0">
                <a:solidFill>
                  <a:schemeClr val="bg1"/>
                </a:solidFill>
                <a:latin typeface="Arial" pitchFamily="34" charset="0"/>
                <a:cs typeface="Arial" pitchFamily="34" charset="0"/>
              </a:rPr>
              <a:t>control</a:t>
            </a:r>
          </a:p>
        </p:txBody>
      </p:sp>
      <p:sp>
        <p:nvSpPr>
          <p:cNvPr id="330" name="TextBox 329"/>
          <p:cNvSpPr txBox="1"/>
          <p:nvPr userDrawn="1"/>
        </p:nvSpPr>
        <p:spPr>
          <a:xfrm>
            <a:off x="7220949" y="5053360"/>
            <a:ext cx="1088520" cy="338555"/>
          </a:xfrm>
          <a:prstGeom prst="rect">
            <a:avLst/>
          </a:prstGeom>
          <a:noFill/>
        </p:spPr>
        <p:txBody>
          <a:bodyPr wrap="square" lIns="91432" tIns="45717" rIns="91432" bIns="45717" rtlCol="0" anchor="b" anchorCtr="0">
            <a:spAutoFit/>
          </a:bodyPr>
          <a:lstStyle/>
          <a:p>
            <a:pPr algn="ctr"/>
            <a:r>
              <a:rPr lang="en-US" sz="800" b="1" dirty="0">
                <a:solidFill>
                  <a:schemeClr val="bg1"/>
                </a:solidFill>
                <a:latin typeface="Arial" pitchFamily="34" charset="0"/>
                <a:cs typeface="Arial" pitchFamily="34" charset="0"/>
              </a:rPr>
              <a:t>Uninterruptable</a:t>
            </a:r>
            <a:br>
              <a:rPr lang="en-US" sz="800" b="1" dirty="0">
                <a:solidFill>
                  <a:schemeClr val="bg1"/>
                </a:solidFill>
                <a:latin typeface="Arial" pitchFamily="34" charset="0"/>
                <a:cs typeface="Arial" pitchFamily="34" charset="0"/>
              </a:rPr>
            </a:br>
            <a:r>
              <a:rPr lang="en-US" sz="800" b="1" dirty="0">
                <a:solidFill>
                  <a:schemeClr val="bg1"/>
                </a:solidFill>
                <a:latin typeface="Arial" pitchFamily="34" charset="0"/>
                <a:cs typeface="Arial" pitchFamily="34" charset="0"/>
              </a:rPr>
              <a:t>power supply</a:t>
            </a:r>
          </a:p>
        </p:txBody>
      </p:sp>
      <p:sp>
        <p:nvSpPr>
          <p:cNvPr id="331" name="TextBox 330"/>
          <p:cNvSpPr txBox="1"/>
          <p:nvPr userDrawn="1"/>
        </p:nvSpPr>
        <p:spPr>
          <a:xfrm>
            <a:off x="11002920" y="4284677"/>
            <a:ext cx="1088520" cy="123111"/>
          </a:xfrm>
          <a:prstGeom prst="rect">
            <a:avLst/>
          </a:prstGeom>
          <a:noFill/>
        </p:spPr>
        <p:txBody>
          <a:bodyPr wrap="square" lIns="91432" tIns="0" rIns="91432" bIns="0" rtlCol="0" anchor="b" anchorCtr="0">
            <a:spAutoFit/>
          </a:bodyPr>
          <a:lstStyle/>
          <a:p>
            <a:pPr algn="ctr"/>
            <a:r>
              <a:rPr lang="en-US" sz="800" b="1" dirty="0">
                <a:solidFill>
                  <a:schemeClr val="bg1"/>
                </a:solidFill>
                <a:latin typeface="Arial" pitchFamily="34" charset="0"/>
                <a:cs typeface="Arial" pitchFamily="34" charset="0"/>
              </a:rPr>
              <a:t>Surveillance</a:t>
            </a:r>
          </a:p>
        </p:txBody>
      </p:sp>
      <p:sp>
        <p:nvSpPr>
          <p:cNvPr id="332" name="TextBox 331"/>
          <p:cNvSpPr txBox="1"/>
          <p:nvPr userDrawn="1"/>
        </p:nvSpPr>
        <p:spPr>
          <a:xfrm>
            <a:off x="10011714" y="2639108"/>
            <a:ext cx="1088520" cy="246221"/>
          </a:xfrm>
          <a:prstGeom prst="rect">
            <a:avLst/>
          </a:prstGeom>
          <a:noFill/>
        </p:spPr>
        <p:txBody>
          <a:bodyPr wrap="square" lIns="91432" tIns="0" rIns="91432" bIns="0" rtlCol="0" anchor="b" anchorCtr="0">
            <a:spAutoFit/>
          </a:bodyPr>
          <a:lstStyle/>
          <a:p>
            <a:pPr algn="ctr"/>
            <a:r>
              <a:rPr lang="en-US" sz="800" b="1" dirty="0">
                <a:solidFill>
                  <a:schemeClr val="bg1"/>
                </a:solidFill>
                <a:latin typeface="Arial" pitchFamily="34" charset="0"/>
                <a:cs typeface="Arial" pitchFamily="34" charset="0"/>
              </a:rPr>
              <a:t>HVAC</a:t>
            </a:r>
            <a:br>
              <a:rPr lang="en-US" sz="800" b="1" dirty="0">
                <a:solidFill>
                  <a:schemeClr val="bg1"/>
                </a:solidFill>
                <a:latin typeface="Arial" pitchFamily="34" charset="0"/>
                <a:cs typeface="Arial" pitchFamily="34" charset="0"/>
              </a:rPr>
            </a:br>
            <a:r>
              <a:rPr lang="en-US" sz="800" b="1" dirty="0">
                <a:solidFill>
                  <a:schemeClr val="bg1"/>
                </a:solidFill>
                <a:latin typeface="Arial" pitchFamily="34" charset="0"/>
                <a:cs typeface="Arial" pitchFamily="34" charset="0"/>
              </a:rPr>
              <a:t>control</a:t>
            </a:r>
          </a:p>
        </p:txBody>
      </p:sp>
      <p:sp>
        <p:nvSpPr>
          <p:cNvPr id="333" name="TextBox 332"/>
          <p:cNvSpPr txBox="1"/>
          <p:nvPr userDrawn="1"/>
        </p:nvSpPr>
        <p:spPr>
          <a:xfrm>
            <a:off x="8113032" y="3463580"/>
            <a:ext cx="1131215" cy="246221"/>
          </a:xfrm>
          <a:prstGeom prst="rect">
            <a:avLst/>
          </a:prstGeom>
          <a:noFill/>
        </p:spPr>
        <p:txBody>
          <a:bodyPr wrap="square" lIns="91432" tIns="0" rIns="91432" bIns="0" rtlCol="0" anchor="b" anchorCtr="0">
            <a:spAutoFit/>
          </a:bodyPr>
          <a:lstStyle/>
          <a:p>
            <a:pPr algn="ctr"/>
            <a:r>
              <a:rPr lang="en-US" sz="800" b="1" dirty="0">
                <a:solidFill>
                  <a:schemeClr val="bg1"/>
                </a:solidFill>
                <a:latin typeface="Arial" pitchFamily="34" charset="0"/>
                <a:cs typeface="Arial" pitchFamily="34" charset="0"/>
              </a:rPr>
              <a:t>Lighting</a:t>
            </a:r>
            <a:br>
              <a:rPr lang="en-US" sz="800" b="1" dirty="0">
                <a:solidFill>
                  <a:schemeClr val="bg1"/>
                </a:solidFill>
                <a:latin typeface="Arial" pitchFamily="34" charset="0"/>
                <a:cs typeface="Arial" pitchFamily="34" charset="0"/>
              </a:rPr>
            </a:br>
            <a:r>
              <a:rPr lang="en-US" sz="800" b="1" dirty="0">
                <a:solidFill>
                  <a:schemeClr val="bg1"/>
                </a:solidFill>
                <a:latin typeface="Arial" pitchFamily="34" charset="0"/>
                <a:cs typeface="Arial" pitchFamily="34" charset="0"/>
              </a:rPr>
              <a:t>control</a:t>
            </a:r>
          </a:p>
        </p:txBody>
      </p:sp>
      <p:sp>
        <p:nvSpPr>
          <p:cNvPr id="334" name="Freeform 196"/>
          <p:cNvSpPr>
            <a:spLocks noChangeAspect="1"/>
          </p:cNvSpPr>
          <p:nvPr userDrawn="1"/>
        </p:nvSpPr>
        <p:spPr bwMode="auto">
          <a:xfrm>
            <a:off x="7555772" y="2195360"/>
            <a:ext cx="327661" cy="393192"/>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335" name="TextBox 334"/>
          <p:cNvSpPr txBox="1"/>
          <p:nvPr userDrawn="1"/>
        </p:nvSpPr>
        <p:spPr>
          <a:xfrm>
            <a:off x="7182847" y="2639108"/>
            <a:ext cx="1088520" cy="246221"/>
          </a:xfrm>
          <a:prstGeom prst="rect">
            <a:avLst/>
          </a:prstGeom>
          <a:noFill/>
        </p:spPr>
        <p:txBody>
          <a:bodyPr wrap="square" lIns="91432" tIns="0" rIns="91432" bIns="0" rtlCol="0" anchor="b" anchorCtr="0">
            <a:spAutoFit/>
          </a:bodyPr>
          <a:lstStyle/>
          <a:p>
            <a:pPr algn="ctr"/>
            <a:r>
              <a:rPr lang="en-US" sz="800" b="1" dirty="0">
                <a:solidFill>
                  <a:schemeClr val="bg1"/>
                </a:solidFill>
                <a:latin typeface="Arial" pitchFamily="34" charset="0"/>
                <a:cs typeface="Arial" pitchFamily="34" charset="0"/>
              </a:rPr>
              <a:t>Access</a:t>
            </a:r>
            <a:br>
              <a:rPr lang="en-US" sz="800" b="1" dirty="0">
                <a:solidFill>
                  <a:schemeClr val="bg1"/>
                </a:solidFill>
                <a:latin typeface="Arial" pitchFamily="34" charset="0"/>
                <a:cs typeface="Arial" pitchFamily="34" charset="0"/>
              </a:rPr>
            </a:br>
            <a:r>
              <a:rPr lang="en-US" sz="800" b="1" dirty="0">
                <a:solidFill>
                  <a:schemeClr val="bg1"/>
                </a:solidFill>
                <a:latin typeface="Arial" pitchFamily="34" charset="0"/>
                <a:cs typeface="Arial" pitchFamily="34" charset="0"/>
              </a:rPr>
              <a:t>control</a:t>
            </a:r>
          </a:p>
        </p:txBody>
      </p:sp>
      <p:sp>
        <p:nvSpPr>
          <p:cNvPr id="336" name="Freeform 335"/>
          <p:cNvSpPr>
            <a:spLocks noChangeAspect="1"/>
          </p:cNvSpPr>
          <p:nvPr userDrawn="1"/>
        </p:nvSpPr>
        <p:spPr bwMode="auto">
          <a:xfrm>
            <a:off x="11279225" y="3000095"/>
            <a:ext cx="509366" cy="393192"/>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337" name="Freeform 160"/>
          <p:cNvSpPr>
            <a:spLocks noChangeAspect="1" noEditPoints="1"/>
          </p:cNvSpPr>
          <p:nvPr userDrawn="1"/>
        </p:nvSpPr>
        <p:spPr bwMode="auto">
          <a:xfrm>
            <a:off x="7452679" y="3824021"/>
            <a:ext cx="521677" cy="393192"/>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338" name="Freeform 164"/>
          <p:cNvSpPr>
            <a:spLocks noChangeAspect="1"/>
          </p:cNvSpPr>
          <p:nvPr userDrawn="1"/>
        </p:nvSpPr>
        <p:spPr bwMode="auto">
          <a:xfrm>
            <a:off x="9448825" y="3849421"/>
            <a:ext cx="393194" cy="393192"/>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339" name="TextBox 338"/>
          <p:cNvSpPr txBox="1"/>
          <p:nvPr userDrawn="1"/>
        </p:nvSpPr>
        <p:spPr>
          <a:xfrm>
            <a:off x="9132751" y="4284676"/>
            <a:ext cx="1045826" cy="246221"/>
          </a:xfrm>
          <a:prstGeom prst="rect">
            <a:avLst/>
          </a:prstGeom>
          <a:noFill/>
        </p:spPr>
        <p:txBody>
          <a:bodyPr wrap="square" lIns="91432" tIns="0" rIns="91432" bIns="0" rtlCol="0" anchor="b" anchorCtr="0">
            <a:spAutoFit/>
          </a:bodyPr>
          <a:lstStyle/>
          <a:p>
            <a:pPr algn="ctr"/>
            <a:r>
              <a:rPr lang="en-US" sz="800" b="1" dirty="0" err="1">
                <a:solidFill>
                  <a:schemeClr val="bg1"/>
                </a:solidFill>
                <a:latin typeface="Arial" pitchFamily="34" charset="0"/>
                <a:cs typeface="Arial" pitchFamily="34" charset="0"/>
              </a:rPr>
              <a:t>Prosumer</a:t>
            </a:r>
            <a:r>
              <a:rPr lang="en-US" sz="800" b="1" dirty="0">
                <a:solidFill>
                  <a:schemeClr val="bg1"/>
                </a:solidFill>
                <a:latin typeface="Arial" pitchFamily="34" charset="0"/>
                <a:cs typeface="Arial" pitchFamily="34" charset="0"/>
              </a:rPr>
              <a:t> </a:t>
            </a:r>
            <a:r>
              <a:rPr lang="en-US" sz="800" b="1" dirty="0" err="1">
                <a:solidFill>
                  <a:schemeClr val="bg1"/>
                </a:solidFill>
                <a:latin typeface="Arial" pitchFamily="34" charset="0"/>
                <a:cs typeface="Arial" pitchFamily="34" charset="0"/>
              </a:rPr>
              <a:t>microgrid</a:t>
            </a:r>
            <a:endParaRPr lang="en-US" sz="800" b="1" dirty="0">
              <a:solidFill>
                <a:schemeClr val="bg1"/>
              </a:solidFill>
              <a:latin typeface="Arial" pitchFamily="34" charset="0"/>
              <a:cs typeface="Arial" pitchFamily="34" charset="0"/>
            </a:endParaRPr>
          </a:p>
        </p:txBody>
      </p:sp>
      <p:sp>
        <p:nvSpPr>
          <p:cNvPr id="340" name="TextBox 339"/>
          <p:cNvSpPr txBox="1"/>
          <p:nvPr userDrawn="1"/>
        </p:nvSpPr>
        <p:spPr>
          <a:xfrm>
            <a:off x="7204194" y="4284676"/>
            <a:ext cx="1045826" cy="246221"/>
          </a:xfrm>
          <a:prstGeom prst="rect">
            <a:avLst/>
          </a:prstGeom>
          <a:noFill/>
        </p:spPr>
        <p:txBody>
          <a:bodyPr wrap="square" lIns="91432" tIns="0" rIns="91432" bIns="0" rtlCol="0" anchor="b" anchorCtr="0">
            <a:spAutoFit/>
          </a:bodyPr>
          <a:lstStyle/>
          <a:p>
            <a:pPr algn="ctr"/>
            <a:r>
              <a:rPr lang="en-US" sz="800" b="1" dirty="0">
                <a:solidFill>
                  <a:schemeClr val="bg1"/>
                </a:solidFill>
                <a:latin typeface="Arial" pitchFamily="34" charset="0"/>
                <a:cs typeface="Arial" pitchFamily="34" charset="0"/>
              </a:rPr>
              <a:t>Packaging control</a:t>
            </a:r>
          </a:p>
        </p:txBody>
      </p:sp>
      <p:sp>
        <p:nvSpPr>
          <p:cNvPr id="341" name="TextBox 340"/>
          <p:cNvSpPr txBox="1"/>
          <p:nvPr userDrawn="1"/>
        </p:nvSpPr>
        <p:spPr>
          <a:xfrm>
            <a:off x="11024266" y="3463580"/>
            <a:ext cx="1045826" cy="246221"/>
          </a:xfrm>
          <a:prstGeom prst="rect">
            <a:avLst/>
          </a:prstGeom>
          <a:noFill/>
        </p:spPr>
        <p:txBody>
          <a:bodyPr wrap="square" lIns="91432" tIns="0" rIns="91432" bIns="0" rtlCol="0" anchor="b" anchorCtr="0">
            <a:spAutoFit/>
          </a:bodyPr>
          <a:lstStyle/>
          <a:p>
            <a:pPr algn="ctr"/>
            <a:r>
              <a:rPr lang="en-US" sz="800" b="1" dirty="0">
                <a:solidFill>
                  <a:schemeClr val="bg1"/>
                </a:solidFill>
                <a:latin typeface="Arial" pitchFamily="34" charset="0"/>
                <a:cs typeface="Arial" pitchFamily="34" charset="0"/>
              </a:rPr>
              <a:t>Material</a:t>
            </a:r>
            <a:br>
              <a:rPr lang="en-US" sz="800" b="1" dirty="0">
                <a:solidFill>
                  <a:schemeClr val="bg1"/>
                </a:solidFill>
                <a:latin typeface="Arial" pitchFamily="34" charset="0"/>
                <a:cs typeface="Arial" pitchFamily="34" charset="0"/>
              </a:rPr>
            </a:br>
            <a:r>
              <a:rPr lang="en-US" sz="800" b="1" dirty="0">
                <a:solidFill>
                  <a:schemeClr val="bg1"/>
                </a:solidFill>
                <a:latin typeface="Arial" pitchFamily="34" charset="0"/>
                <a:cs typeface="Arial" pitchFamily="34" charset="0"/>
              </a:rPr>
              <a:t>working</a:t>
            </a:r>
          </a:p>
        </p:txBody>
      </p:sp>
      <p:sp>
        <p:nvSpPr>
          <p:cNvPr id="342" name="Freeform 673"/>
          <p:cNvSpPr>
            <a:spLocks noEditPoints="1"/>
          </p:cNvSpPr>
          <p:nvPr userDrawn="1"/>
        </p:nvSpPr>
        <p:spPr bwMode="auto">
          <a:xfrm>
            <a:off x="7572051" y="5579233"/>
            <a:ext cx="386319" cy="504067"/>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marL="0" algn="ctr" defTabSz="914323" rtl="0" eaLnBrk="1" latinLnBrk="0" hangingPunct="1"/>
            <a:endParaRPr lang="en-US" sz="1900" kern="1200" dirty="0">
              <a:solidFill>
                <a:schemeClr val="tx1"/>
              </a:solidFill>
              <a:latin typeface="+mn-lt"/>
              <a:ea typeface="+mn-ea"/>
              <a:cs typeface="+mn-cs"/>
            </a:endParaRPr>
          </a:p>
        </p:txBody>
      </p:sp>
      <p:sp>
        <p:nvSpPr>
          <p:cNvPr id="343" name="TextBox 342"/>
          <p:cNvSpPr txBox="1"/>
          <p:nvPr userDrawn="1"/>
        </p:nvSpPr>
        <p:spPr>
          <a:xfrm>
            <a:off x="7310738" y="6054247"/>
            <a:ext cx="908937" cy="215444"/>
          </a:xfrm>
          <a:prstGeom prst="rect">
            <a:avLst/>
          </a:prstGeom>
          <a:noFill/>
        </p:spPr>
        <p:txBody>
          <a:bodyPr wrap="square" lIns="91432" tIns="45717" rIns="91432" bIns="45717" rtlCol="0" anchor="b" anchorCtr="0">
            <a:spAutoFit/>
          </a:bodyPr>
          <a:lstStyle/>
          <a:p>
            <a:pPr algn="ctr"/>
            <a:r>
              <a:rPr lang="en-US" sz="800" b="1" dirty="0">
                <a:solidFill>
                  <a:schemeClr val="bg1"/>
                </a:solidFill>
                <a:latin typeface="Arial" pitchFamily="34" charset="0"/>
                <a:cs typeface="Arial" pitchFamily="34" charset="0"/>
              </a:rPr>
              <a:t>Panel builders</a:t>
            </a:r>
          </a:p>
        </p:txBody>
      </p:sp>
      <p:sp>
        <p:nvSpPr>
          <p:cNvPr id="344" name="Rounded Rectangle 343"/>
          <p:cNvSpPr/>
          <p:nvPr userDrawn="1"/>
        </p:nvSpPr>
        <p:spPr>
          <a:xfrm>
            <a:off x="609441" y="4684277"/>
            <a:ext cx="5291299" cy="1611135"/>
          </a:xfrm>
          <a:prstGeom prst="roundRect">
            <a:avLst>
              <a:gd name="adj" fmla="val 942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45717" rIns="0" bIns="45717" rtlCol="0" anchor="ctr"/>
          <a:lstStyle/>
          <a:p>
            <a:pPr marL="520657" indent="-292076" algn="l">
              <a:spcAft>
                <a:spcPts val="200"/>
              </a:spcAft>
              <a:tabLst>
                <a:tab pos="173024" algn="l"/>
                <a:tab pos="457161" algn="l"/>
              </a:tabLst>
            </a:pPr>
            <a:r>
              <a:rPr lang="en-US" sz="1600" b="1" dirty="0">
                <a:solidFill>
                  <a:srgbClr val="009530"/>
                </a:solidFill>
              </a:rPr>
              <a:t>To</a:t>
            </a:r>
            <a:r>
              <a:rPr lang="en-US" sz="1600" b="1" baseline="0" dirty="0">
                <a:solidFill>
                  <a:srgbClr val="009530"/>
                </a:solidFill>
              </a:rPr>
              <a:t> add a </a:t>
            </a:r>
            <a:r>
              <a:rPr lang="en-US" sz="1600" b="1" baseline="0" dirty="0" err="1">
                <a:solidFill>
                  <a:srgbClr val="009530"/>
                </a:solidFill>
              </a:rPr>
              <a:t>picto</a:t>
            </a:r>
            <a:r>
              <a:rPr lang="en-US" sz="1600" b="1" baseline="0" dirty="0">
                <a:solidFill>
                  <a:srgbClr val="009530"/>
                </a:solidFill>
              </a:rPr>
              <a:t> to your presentation:</a:t>
            </a:r>
          </a:p>
          <a:p>
            <a:pPr marL="520657" indent="-292076" algn="l">
              <a:spcAft>
                <a:spcPts val="200"/>
              </a:spcAft>
              <a:buFont typeface="+mj-lt"/>
              <a:buAutoNum type="arabicPeriod"/>
              <a:tabLst>
                <a:tab pos="173024" algn="l"/>
                <a:tab pos="457161" algn="l"/>
              </a:tabLst>
            </a:pPr>
            <a:r>
              <a:rPr lang="en-US" sz="1500" baseline="0" dirty="0">
                <a:solidFill>
                  <a:srgbClr val="009530"/>
                </a:solidFill>
              </a:rPr>
              <a:t>Select view/slide master</a:t>
            </a:r>
          </a:p>
          <a:p>
            <a:pPr marL="520657" indent="-292076" algn="l">
              <a:spcAft>
                <a:spcPts val="200"/>
              </a:spcAft>
              <a:buFont typeface="+mj-lt"/>
              <a:buAutoNum type="arabicPeriod"/>
              <a:tabLst>
                <a:tab pos="173024" algn="l"/>
                <a:tab pos="457161" algn="l"/>
              </a:tabLst>
            </a:pPr>
            <a:r>
              <a:rPr lang="en-US" sz="1500" baseline="0" dirty="0">
                <a:solidFill>
                  <a:srgbClr val="009530"/>
                </a:solidFill>
              </a:rPr>
              <a:t>Go to slide with </a:t>
            </a:r>
            <a:r>
              <a:rPr lang="en-US" sz="1500" baseline="0" dirty="0" err="1">
                <a:solidFill>
                  <a:srgbClr val="009530"/>
                </a:solidFill>
              </a:rPr>
              <a:t>pictos</a:t>
            </a:r>
            <a:endParaRPr lang="en-US" sz="1500" baseline="0" dirty="0">
              <a:solidFill>
                <a:srgbClr val="009530"/>
              </a:solidFill>
            </a:endParaRPr>
          </a:p>
          <a:p>
            <a:pPr marL="520657" indent="-292076" algn="l">
              <a:spcAft>
                <a:spcPts val="200"/>
              </a:spcAft>
              <a:buFont typeface="+mj-lt"/>
              <a:buAutoNum type="arabicPeriod"/>
              <a:tabLst>
                <a:tab pos="173024" algn="l"/>
                <a:tab pos="457161" algn="l"/>
              </a:tabLst>
            </a:pPr>
            <a:r>
              <a:rPr lang="en-US" sz="1500" baseline="0" dirty="0">
                <a:solidFill>
                  <a:srgbClr val="009530"/>
                </a:solidFill>
              </a:rPr>
              <a:t>Select and copy the </a:t>
            </a:r>
            <a:r>
              <a:rPr lang="en-US" sz="1500" baseline="0" dirty="0" err="1">
                <a:solidFill>
                  <a:srgbClr val="009530"/>
                </a:solidFill>
              </a:rPr>
              <a:t>picto</a:t>
            </a:r>
            <a:r>
              <a:rPr lang="en-US" sz="1500" baseline="0" dirty="0">
                <a:solidFill>
                  <a:srgbClr val="009530"/>
                </a:solidFill>
              </a:rPr>
              <a:t> that you would like to add (ctrl-c)</a:t>
            </a:r>
          </a:p>
          <a:p>
            <a:pPr marL="520657" indent="-292076" algn="l">
              <a:spcAft>
                <a:spcPts val="200"/>
              </a:spcAft>
              <a:buFont typeface="+mj-lt"/>
              <a:buAutoNum type="arabicPeriod"/>
              <a:tabLst>
                <a:tab pos="173024" algn="l"/>
                <a:tab pos="457161" algn="l"/>
              </a:tabLst>
            </a:pPr>
            <a:r>
              <a:rPr lang="en-US" sz="1500" baseline="0" dirty="0">
                <a:solidFill>
                  <a:srgbClr val="009530"/>
                </a:solidFill>
              </a:rPr>
              <a:t>Close master view</a:t>
            </a:r>
          </a:p>
          <a:p>
            <a:pPr marL="520657" indent="-292076" algn="l">
              <a:spcAft>
                <a:spcPts val="200"/>
              </a:spcAft>
              <a:buFont typeface="+mj-lt"/>
              <a:buAutoNum type="arabicPeriod"/>
              <a:tabLst>
                <a:tab pos="173024" algn="l"/>
                <a:tab pos="457161" algn="l"/>
              </a:tabLst>
            </a:pPr>
            <a:r>
              <a:rPr lang="en-US" sz="1500" baseline="0" dirty="0">
                <a:solidFill>
                  <a:srgbClr val="009530"/>
                </a:solidFill>
              </a:rPr>
              <a:t>Paste </a:t>
            </a:r>
            <a:r>
              <a:rPr lang="en-US" sz="1500" baseline="0" dirty="0" err="1">
                <a:solidFill>
                  <a:srgbClr val="009530"/>
                </a:solidFill>
              </a:rPr>
              <a:t>picto</a:t>
            </a:r>
            <a:r>
              <a:rPr lang="en-US" sz="1500" baseline="0" dirty="0">
                <a:solidFill>
                  <a:srgbClr val="009530"/>
                </a:solidFill>
              </a:rPr>
              <a:t> onto your slide (ctrl-p)</a:t>
            </a:r>
            <a:endParaRPr lang="en-US" sz="1500" dirty="0">
              <a:solidFill>
                <a:srgbClr val="009530"/>
              </a:solidFill>
            </a:endParaRPr>
          </a:p>
        </p:txBody>
      </p:sp>
      <p:sp>
        <p:nvSpPr>
          <p:cNvPr id="345" name="TextBox 344"/>
          <p:cNvSpPr txBox="1"/>
          <p:nvPr userDrawn="1"/>
        </p:nvSpPr>
        <p:spPr>
          <a:xfrm>
            <a:off x="477406" y="1235455"/>
            <a:ext cx="869142" cy="323163"/>
          </a:xfrm>
          <a:prstGeom prst="rect">
            <a:avLst/>
          </a:prstGeom>
          <a:noFill/>
        </p:spPr>
        <p:txBody>
          <a:bodyPr wrap="none" lIns="91432" tIns="45717" rIns="91432" bIns="45717" rtlCol="0">
            <a:spAutoFit/>
          </a:bodyPr>
          <a:lstStyle/>
          <a:p>
            <a:pPr algn="r"/>
            <a:r>
              <a:rPr lang="en-US" sz="1500" dirty="0">
                <a:solidFill>
                  <a:schemeClr val="bg1"/>
                </a:solidFill>
                <a:latin typeface="Arial" pitchFamily="34" charset="0"/>
                <a:cs typeface="Arial" pitchFamily="34" charset="0"/>
              </a:rPr>
              <a:t>Markets</a:t>
            </a:r>
          </a:p>
        </p:txBody>
      </p:sp>
      <p:sp>
        <p:nvSpPr>
          <p:cNvPr id="346" name="TextBox 345"/>
          <p:cNvSpPr txBox="1"/>
          <p:nvPr userDrawn="1"/>
        </p:nvSpPr>
        <p:spPr>
          <a:xfrm>
            <a:off x="307371" y="2195140"/>
            <a:ext cx="1051875" cy="553992"/>
          </a:xfrm>
          <a:prstGeom prst="rect">
            <a:avLst/>
          </a:prstGeom>
          <a:noFill/>
        </p:spPr>
        <p:txBody>
          <a:bodyPr wrap="none" lIns="91432" tIns="45717" rIns="91432" bIns="45717" rtlCol="0">
            <a:spAutoFit/>
          </a:bodyPr>
          <a:lstStyle/>
          <a:p>
            <a:pPr algn="r"/>
            <a:r>
              <a:rPr lang="en-US" sz="1500" dirty="0">
                <a:solidFill>
                  <a:schemeClr val="bg1"/>
                </a:solidFill>
                <a:latin typeface="Arial" pitchFamily="34" charset="0"/>
                <a:cs typeface="Arial" pitchFamily="34" charset="0"/>
              </a:rPr>
              <a:t>Market </a:t>
            </a:r>
          </a:p>
          <a:p>
            <a:pPr algn="r"/>
            <a:r>
              <a:rPr lang="en-US" sz="1500" dirty="0">
                <a:solidFill>
                  <a:schemeClr val="bg1"/>
                </a:solidFill>
                <a:latin typeface="Arial" pitchFamily="34" charset="0"/>
                <a:cs typeface="Arial" pitchFamily="34" charset="0"/>
              </a:rPr>
              <a:t>Segments</a:t>
            </a:r>
          </a:p>
        </p:txBody>
      </p:sp>
      <p:sp>
        <p:nvSpPr>
          <p:cNvPr id="347" name="TextBox 346"/>
          <p:cNvSpPr txBox="1"/>
          <p:nvPr userDrawn="1"/>
        </p:nvSpPr>
        <p:spPr>
          <a:xfrm>
            <a:off x="6423194" y="1231273"/>
            <a:ext cx="946086" cy="323163"/>
          </a:xfrm>
          <a:prstGeom prst="rect">
            <a:avLst/>
          </a:prstGeom>
          <a:noFill/>
        </p:spPr>
        <p:txBody>
          <a:bodyPr wrap="none" lIns="91432" tIns="45717" rIns="91432" bIns="45717" rtlCol="0">
            <a:spAutoFit/>
          </a:bodyPr>
          <a:lstStyle/>
          <a:p>
            <a:pPr algn="r"/>
            <a:r>
              <a:rPr lang="en-US" sz="1500" dirty="0">
                <a:solidFill>
                  <a:schemeClr val="bg1"/>
                </a:solidFill>
                <a:latin typeface="Arial" pitchFamily="34" charset="0"/>
                <a:cs typeface="Arial" pitchFamily="34" charset="0"/>
              </a:rPr>
              <a:t>Domains</a:t>
            </a:r>
          </a:p>
        </p:txBody>
      </p:sp>
      <p:sp>
        <p:nvSpPr>
          <p:cNvPr id="348" name="TextBox 347"/>
          <p:cNvSpPr txBox="1"/>
          <p:nvPr userDrawn="1"/>
        </p:nvSpPr>
        <p:spPr>
          <a:xfrm>
            <a:off x="6423194" y="2187143"/>
            <a:ext cx="946086" cy="323163"/>
          </a:xfrm>
          <a:prstGeom prst="rect">
            <a:avLst/>
          </a:prstGeom>
          <a:noFill/>
        </p:spPr>
        <p:txBody>
          <a:bodyPr wrap="none" lIns="91432" tIns="45717" rIns="91432" bIns="45717" rtlCol="0">
            <a:spAutoFit/>
          </a:bodyPr>
          <a:lstStyle/>
          <a:p>
            <a:pPr algn="r"/>
            <a:r>
              <a:rPr lang="en-US" sz="1500" dirty="0" err="1">
                <a:solidFill>
                  <a:schemeClr val="bg1"/>
                </a:solidFill>
                <a:latin typeface="Arial" pitchFamily="34" charset="0"/>
                <a:cs typeface="Arial" pitchFamily="34" charset="0"/>
              </a:rPr>
              <a:t>Aplicațiis</a:t>
            </a:r>
            <a:endParaRPr lang="en-US" sz="1500" dirty="0">
              <a:solidFill>
                <a:schemeClr val="bg1"/>
              </a:solidFill>
              <a:latin typeface="Arial" pitchFamily="34" charset="0"/>
              <a:cs typeface="Arial" pitchFamily="34" charset="0"/>
            </a:endParaRPr>
          </a:p>
        </p:txBody>
      </p:sp>
      <p:sp>
        <p:nvSpPr>
          <p:cNvPr id="349" name="TextBox 348"/>
          <p:cNvSpPr txBox="1"/>
          <p:nvPr userDrawn="1"/>
        </p:nvSpPr>
        <p:spPr>
          <a:xfrm>
            <a:off x="5963132" y="5723025"/>
            <a:ext cx="1406146" cy="323163"/>
          </a:xfrm>
          <a:prstGeom prst="rect">
            <a:avLst/>
          </a:prstGeom>
          <a:noFill/>
        </p:spPr>
        <p:txBody>
          <a:bodyPr wrap="none" lIns="91432" tIns="45717" rIns="91432" bIns="45717" rtlCol="0">
            <a:spAutoFit/>
          </a:bodyPr>
          <a:lstStyle/>
          <a:p>
            <a:pPr algn="r"/>
            <a:r>
              <a:rPr lang="en-US" sz="1500" dirty="0">
                <a:solidFill>
                  <a:schemeClr val="bg1"/>
                </a:solidFill>
                <a:latin typeface="Arial" pitchFamily="34" charset="0"/>
                <a:cs typeface="Arial" pitchFamily="34" charset="0"/>
              </a:rPr>
              <a:t>Intermediaries</a:t>
            </a:r>
          </a:p>
        </p:txBody>
      </p:sp>
      <p:sp>
        <p:nvSpPr>
          <p:cNvPr id="94" name="TextBox 93"/>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chemeClr val="bg1"/>
                </a:solidFill>
                <a:latin typeface="Arial" pitchFamily="34" charset="0"/>
                <a:cs typeface="Arial" pitchFamily="34" charset="0"/>
              </a:rPr>
              <a:t>Confidential Property of Schneider Electric</a:t>
            </a:r>
          </a:p>
        </p:txBody>
      </p:sp>
      <p:sp>
        <p:nvSpPr>
          <p:cNvPr id="95"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1406363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eneric Pictos_Gree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lvl1pPr>
          </a:lstStyle>
          <a:p>
            <a:r>
              <a:rPr lang="en-US" dirty="0"/>
              <a:t>Generic Pictograms and Symbols</a:t>
            </a:r>
            <a:endParaRPr lang="en-US" noProof="0" dirty="0"/>
          </a:p>
        </p:txBody>
      </p:sp>
      <p:sp>
        <p:nvSpPr>
          <p:cNvPr id="5" name="Freeform 171"/>
          <p:cNvSpPr>
            <a:spLocks/>
          </p:cNvSpPr>
          <p:nvPr userDrawn="1"/>
        </p:nvSpPr>
        <p:spPr bwMode="auto">
          <a:xfrm>
            <a:off x="553115" y="1163252"/>
            <a:ext cx="466725" cy="517525"/>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 name="Freeform 175"/>
          <p:cNvSpPr>
            <a:spLocks/>
          </p:cNvSpPr>
          <p:nvPr userDrawn="1"/>
        </p:nvSpPr>
        <p:spPr bwMode="auto">
          <a:xfrm>
            <a:off x="584858" y="1746153"/>
            <a:ext cx="403226" cy="515939"/>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 name="Freeform 191"/>
          <p:cNvSpPr>
            <a:spLocks/>
          </p:cNvSpPr>
          <p:nvPr userDrawn="1"/>
        </p:nvSpPr>
        <p:spPr bwMode="auto">
          <a:xfrm>
            <a:off x="572159" y="2383860"/>
            <a:ext cx="428626" cy="515937"/>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8" name="Freeform 195"/>
          <p:cNvSpPr>
            <a:spLocks/>
          </p:cNvSpPr>
          <p:nvPr userDrawn="1"/>
        </p:nvSpPr>
        <p:spPr bwMode="auto">
          <a:xfrm>
            <a:off x="537234" y="2997309"/>
            <a:ext cx="498474" cy="501651"/>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9" name="Freeform 199"/>
          <p:cNvSpPr>
            <a:spLocks/>
          </p:cNvSpPr>
          <p:nvPr userDrawn="1"/>
        </p:nvSpPr>
        <p:spPr bwMode="auto">
          <a:xfrm>
            <a:off x="556285" y="3677907"/>
            <a:ext cx="460375" cy="517525"/>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 name="Freeform 207"/>
          <p:cNvSpPr>
            <a:spLocks/>
          </p:cNvSpPr>
          <p:nvPr userDrawn="1"/>
        </p:nvSpPr>
        <p:spPr bwMode="auto">
          <a:xfrm>
            <a:off x="551522" y="4419885"/>
            <a:ext cx="469900" cy="48260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 name="Freeform 230"/>
          <p:cNvSpPr>
            <a:spLocks/>
          </p:cNvSpPr>
          <p:nvPr userDrawn="1"/>
        </p:nvSpPr>
        <p:spPr bwMode="auto">
          <a:xfrm>
            <a:off x="527709" y="5089736"/>
            <a:ext cx="517527" cy="466725"/>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2" name="Freeform 151"/>
          <p:cNvSpPr>
            <a:spLocks/>
          </p:cNvSpPr>
          <p:nvPr userDrawn="1"/>
        </p:nvSpPr>
        <p:spPr bwMode="auto">
          <a:xfrm>
            <a:off x="1203146" y="1164037"/>
            <a:ext cx="384175" cy="515939"/>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 name="Freeform 183"/>
          <p:cNvSpPr>
            <a:spLocks/>
          </p:cNvSpPr>
          <p:nvPr userDrawn="1"/>
        </p:nvSpPr>
        <p:spPr bwMode="auto">
          <a:xfrm>
            <a:off x="1139652" y="1741394"/>
            <a:ext cx="511175" cy="525463"/>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 name="Freeform 187"/>
          <p:cNvSpPr>
            <a:spLocks/>
          </p:cNvSpPr>
          <p:nvPr userDrawn="1"/>
        </p:nvSpPr>
        <p:spPr bwMode="auto">
          <a:xfrm>
            <a:off x="1140441" y="2457667"/>
            <a:ext cx="509589" cy="368300"/>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5" name="Freeform 203"/>
          <p:cNvSpPr>
            <a:spLocks/>
          </p:cNvSpPr>
          <p:nvPr userDrawn="1"/>
        </p:nvSpPr>
        <p:spPr bwMode="auto">
          <a:xfrm>
            <a:off x="1130914" y="4404013"/>
            <a:ext cx="528638" cy="514351"/>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6" name="Freeform 211"/>
          <p:cNvSpPr>
            <a:spLocks/>
          </p:cNvSpPr>
          <p:nvPr userDrawn="1"/>
        </p:nvSpPr>
        <p:spPr bwMode="auto">
          <a:xfrm>
            <a:off x="1158699" y="3076683"/>
            <a:ext cx="473075" cy="342900"/>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17" name="Freeform 234"/>
          <p:cNvSpPr>
            <a:spLocks/>
          </p:cNvSpPr>
          <p:nvPr userDrawn="1"/>
        </p:nvSpPr>
        <p:spPr bwMode="auto">
          <a:xfrm>
            <a:off x="1133301" y="5102436"/>
            <a:ext cx="523876" cy="441325"/>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8" name="Freeform 300"/>
          <p:cNvSpPr>
            <a:spLocks/>
          </p:cNvSpPr>
          <p:nvPr userDrawn="1"/>
        </p:nvSpPr>
        <p:spPr bwMode="auto">
          <a:xfrm>
            <a:off x="1178547" y="3719966"/>
            <a:ext cx="433387" cy="433388"/>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9" name="Freeform 179"/>
          <p:cNvSpPr>
            <a:spLocks/>
          </p:cNvSpPr>
          <p:nvPr userDrawn="1"/>
        </p:nvSpPr>
        <p:spPr bwMode="auto">
          <a:xfrm>
            <a:off x="2545294" y="1160077"/>
            <a:ext cx="520700" cy="523875"/>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0" name="Freeform 221"/>
          <p:cNvSpPr>
            <a:spLocks/>
          </p:cNvSpPr>
          <p:nvPr userDrawn="1"/>
        </p:nvSpPr>
        <p:spPr bwMode="auto">
          <a:xfrm>
            <a:off x="2561958" y="4446885"/>
            <a:ext cx="487364" cy="428625"/>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1" name="Freeform 267"/>
          <p:cNvSpPr>
            <a:spLocks/>
          </p:cNvSpPr>
          <p:nvPr userDrawn="1"/>
        </p:nvSpPr>
        <p:spPr bwMode="auto">
          <a:xfrm>
            <a:off x="2550845" y="2387033"/>
            <a:ext cx="509589" cy="509587"/>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2" name="Freeform 276"/>
          <p:cNvSpPr>
            <a:spLocks/>
          </p:cNvSpPr>
          <p:nvPr userDrawn="1"/>
        </p:nvSpPr>
        <p:spPr bwMode="auto">
          <a:xfrm>
            <a:off x="2561963" y="2991761"/>
            <a:ext cx="487362" cy="512763"/>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3" name="Freeform 280"/>
          <p:cNvSpPr>
            <a:spLocks noEditPoints="1"/>
          </p:cNvSpPr>
          <p:nvPr userDrawn="1"/>
        </p:nvSpPr>
        <p:spPr bwMode="auto">
          <a:xfrm>
            <a:off x="2546090" y="1762823"/>
            <a:ext cx="519113" cy="48260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4" name="Freeform 316"/>
          <p:cNvSpPr>
            <a:spLocks/>
          </p:cNvSpPr>
          <p:nvPr userDrawn="1"/>
        </p:nvSpPr>
        <p:spPr bwMode="auto">
          <a:xfrm>
            <a:off x="2542114" y="5070689"/>
            <a:ext cx="527049" cy="504825"/>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5" name="Freeform 341"/>
          <p:cNvSpPr>
            <a:spLocks/>
          </p:cNvSpPr>
          <p:nvPr userDrawn="1"/>
        </p:nvSpPr>
        <p:spPr bwMode="auto">
          <a:xfrm>
            <a:off x="2548465" y="3718388"/>
            <a:ext cx="514350" cy="436563"/>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6" name="Freeform 155"/>
          <p:cNvSpPr>
            <a:spLocks/>
          </p:cNvSpPr>
          <p:nvPr userDrawn="1"/>
        </p:nvSpPr>
        <p:spPr bwMode="auto">
          <a:xfrm>
            <a:off x="3199295" y="1190233"/>
            <a:ext cx="438150" cy="463551"/>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27" name="Freeform 238"/>
          <p:cNvSpPr>
            <a:spLocks/>
          </p:cNvSpPr>
          <p:nvPr userDrawn="1"/>
        </p:nvSpPr>
        <p:spPr bwMode="auto">
          <a:xfrm>
            <a:off x="3154845" y="4423073"/>
            <a:ext cx="527049" cy="476249"/>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8" name="Freeform 284"/>
          <p:cNvSpPr>
            <a:spLocks/>
          </p:cNvSpPr>
          <p:nvPr userDrawn="1"/>
        </p:nvSpPr>
        <p:spPr bwMode="auto">
          <a:xfrm>
            <a:off x="3262797" y="1795367"/>
            <a:ext cx="311150" cy="417512"/>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9" name="Freeform 288"/>
          <p:cNvSpPr>
            <a:spLocks/>
          </p:cNvSpPr>
          <p:nvPr userDrawn="1"/>
        </p:nvSpPr>
        <p:spPr bwMode="auto">
          <a:xfrm>
            <a:off x="3185802" y="2421155"/>
            <a:ext cx="465138" cy="441324"/>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30" name="Freeform 304"/>
          <p:cNvSpPr>
            <a:spLocks noEditPoints="1"/>
          </p:cNvSpPr>
          <p:nvPr userDrawn="1"/>
        </p:nvSpPr>
        <p:spPr bwMode="auto">
          <a:xfrm>
            <a:off x="3220728" y="2998905"/>
            <a:ext cx="395288" cy="498475"/>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31" name="Freeform 337"/>
          <p:cNvSpPr>
            <a:spLocks noEditPoints="1"/>
          </p:cNvSpPr>
          <p:nvPr userDrawn="1"/>
        </p:nvSpPr>
        <p:spPr bwMode="auto">
          <a:xfrm>
            <a:off x="3168339" y="3678690"/>
            <a:ext cx="500062" cy="515939"/>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32" name="Freeform 353"/>
          <p:cNvSpPr>
            <a:spLocks/>
          </p:cNvSpPr>
          <p:nvPr userDrawn="1"/>
        </p:nvSpPr>
        <p:spPr bwMode="auto">
          <a:xfrm>
            <a:off x="3181042" y="5101645"/>
            <a:ext cx="474663" cy="442913"/>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33" name="Freeform 365"/>
          <p:cNvSpPr>
            <a:spLocks/>
          </p:cNvSpPr>
          <p:nvPr userDrawn="1"/>
        </p:nvSpPr>
        <p:spPr bwMode="auto">
          <a:xfrm>
            <a:off x="4852549" y="1785047"/>
            <a:ext cx="220663" cy="442912"/>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grpSp>
        <p:nvGrpSpPr>
          <p:cNvPr id="34" name="Group 214"/>
          <p:cNvGrpSpPr>
            <a:grpSpLocks noChangeAspect="1"/>
          </p:cNvGrpSpPr>
          <p:nvPr userDrawn="1"/>
        </p:nvGrpSpPr>
        <p:grpSpPr bwMode="auto">
          <a:xfrm>
            <a:off x="3835964" y="4300834"/>
            <a:ext cx="390281" cy="553711"/>
            <a:chOff x="1257" y="2375"/>
            <a:chExt cx="320" cy="454"/>
          </a:xfrm>
          <a:solidFill>
            <a:srgbClr val="009530"/>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8" name="Freeform 259"/>
          <p:cNvSpPr>
            <a:spLocks noEditPoints="1"/>
          </p:cNvSpPr>
          <p:nvPr userDrawn="1"/>
        </p:nvSpPr>
        <p:spPr bwMode="auto">
          <a:xfrm>
            <a:off x="3767576" y="1210877"/>
            <a:ext cx="527049" cy="422275"/>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39" name="Freeform 292"/>
          <p:cNvSpPr>
            <a:spLocks/>
          </p:cNvSpPr>
          <p:nvPr userDrawn="1"/>
        </p:nvSpPr>
        <p:spPr bwMode="auto">
          <a:xfrm>
            <a:off x="3771548" y="2996515"/>
            <a:ext cx="519111" cy="503239"/>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0" name="Freeform 325"/>
          <p:cNvSpPr>
            <a:spLocks/>
          </p:cNvSpPr>
          <p:nvPr userDrawn="1"/>
        </p:nvSpPr>
        <p:spPr bwMode="auto">
          <a:xfrm>
            <a:off x="3802503" y="1745364"/>
            <a:ext cx="457200" cy="517525"/>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1" name="Freeform 329"/>
          <p:cNvSpPr>
            <a:spLocks/>
          </p:cNvSpPr>
          <p:nvPr userDrawn="1"/>
        </p:nvSpPr>
        <p:spPr bwMode="auto">
          <a:xfrm>
            <a:off x="3774722" y="2433072"/>
            <a:ext cx="512762" cy="417513"/>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2" name="Freeform 381"/>
          <p:cNvSpPr>
            <a:spLocks/>
          </p:cNvSpPr>
          <p:nvPr userDrawn="1"/>
        </p:nvSpPr>
        <p:spPr bwMode="auto">
          <a:xfrm>
            <a:off x="3794567" y="3677907"/>
            <a:ext cx="473075" cy="517525"/>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3" name="Freeform 410"/>
          <p:cNvSpPr>
            <a:spLocks noEditPoints="1"/>
          </p:cNvSpPr>
          <p:nvPr userDrawn="1"/>
        </p:nvSpPr>
        <p:spPr bwMode="auto">
          <a:xfrm>
            <a:off x="3805675" y="5098470"/>
            <a:ext cx="450851" cy="449263"/>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4" name="Freeform 255"/>
          <p:cNvSpPr>
            <a:spLocks/>
          </p:cNvSpPr>
          <p:nvPr userDrawn="1"/>
        </p:nvSpPr>
        <p:spPr bwMode="auto">
          <a:xfrm>
            <a:off x="4380307" y="1105308"/>
            <a:ext cx="603250" cy="633413"/>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5" name="Freeform 312"/>
          <p:cNvSpPr>
            <a:spLocks/>
          </p:cNvSpPr>
          <p:nvPr userDrawn="1"/>
        </p:nvSpPr>
        <p:spPr bwMode="auto">
          <a:xfrm>
            <a:off x="4454129" y="4434185"/>
            <a:ext cx="455613" cy="454025"/>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6" name="Freeform 333"/>
          <p:cNvSpPr>
            <a:spLocks/>
          </p:cNvSpPr>
          <p:nvPr userDrawn="1"/>
        </p:nvSpPr>
        <p:spPr bwMode="auto">
          <a:xfrm>
            <a:off x="4447782" y="3013183"/>
            <a:ext cx="468311" cy="469900"/>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47" name="Freeform 361"/>
          <p:cNvSpPr>
            <a:spLocks noEditPoints="1"/>
          </p:cNvSpPr>
          <p:nvPr userDrawn="1"/>
        </p:nvSpPr>
        <p:spPr bwMode="auto">
          <a:xfrm>
            <a:off x="4581134" y="1746158"/>
            <a:ext cx="201613" cy="515937"/>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8" name="Freeform 377"/>
          <p:cNvSpPr>
            <a:spLocks/>
          </p:cNvSpPr>
          <p:nvPr userDrawn="1"/>
        </p:nvSpPr>
        <p:spPr bwMode="auto">
          <a:xfrm>
            <a:off x="4475557" y="2382272"/>
            <a:ext cx="412750" cy="519113"/>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9" name="Freeform 393"/>
          <p:cNvSpPr>
            <a:spLocks/>
          </p:cNvSpPr>
          <p:nvPr userDrawn="1"/>
        </p:nvSpPr>
        <p:spPr bwMode="auto">
          <a:xfrm>
            <a:off x="4424757" y="5181017"/>
            <a:ext cx="514350" cy="284163"/>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50" name="Freeform 433"/>
          <p:cNvSpPr>
            <a:spLocks/>
          </p:cNvSpPr>
          <p:nvPr userDrawn="1"/>
        </p:nvSpPr>
        <p:spPr bwMode="auto">
          <a:xfrm>
            <a:off x="4532707" y="3676310"/>
            <a:ext cx="298450" cy="520700"/>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51" name="Freeform 251"/>
          <p:cNvSpPr>
            <a:spLocks/>
          </p:cNvSpPr>
          <p:nvPr userDrawn="1"/>
        </p:nvSpPr>
        <p:spPr bwMode="auto">
          <a:xfrm>
            <a:off x="5070032" y="1189437"/>
            <a:ext cx="514350" cy="465139"/>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52" name="Freeform 345"/>
          <p:cNvSpPr>
            <a:spLocks/>
          </p:cNvSpPr>
          <p:nvPr userDrawn="1"/>
        </p:nvSpPr>
        <p:spPr bwMode="auto">
          <a:xfrm>
            <a:off x="5069239" y="3083033"/>
            <a:ext cx="515938" cy="33020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53" name="Freeform 349"/>
          <p:cNvSpPr>
            <a:spLocks/>
          </p:cNvSpPr>
          <p:nvPr userDrawn="1"/>
        </p:nvSpPr>
        <p:spPr bwMode="auto">
          <a:xfrm>
            <a:off x="5135913" y="4398457"/>
            <a:ext cx="382588" cy="525463"/>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54" name="Freeform 369"/>
          <p:cNvSpPr>
            <a:spLocks/>
          </p:cNvSpPr>
          <p:nvPr userDrawn="1"/>
        </p:nvSpPr>
        <p:spPr bwMode="auto">
          <a:xfrm>
            <a:off x="5251008" y="2397343"/>
            <a:ext cx="152400" cy="488951"/>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grpSp>
        <p:nvGrpSpPr>
          <p:cNvPr id="55" name="Group 54"/>
          <p:cNvGrpSpPr/>
          <p:nvPr userDrawn="1"/>
        </p:nvGrpSpPr>
        <p:grpSpPr>
          <a:xfrm>
            <a:off x="5093851" y="5090521"/>
            <a:ext cx="466725" cy="465139"/>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Line 404"/>
            <p:cNvSpPr>
              <a:spLocks noChangeShapeType="1"/>
            </p:cNvSpPr>
            <p:nvPr/>
          </p:nvSpPr>
          <p:spPr bwMode="auto">
            <a:xfrm flipH="1">
              <a:off x="5492751" y="5551488"/>
              <a:ext cx="7938"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Line 405"/>
            <p:cNvSpPr>
              <a:spLocks noChangeShapeType="1"/>
            </p:cNvSpPr>
            <p:nvPr/>
          </p:nvSpPr>
          <p:spPr bwMode="auto">
            <a:xfrm>
              <a:off x="5500688" y="5551488"/>
              <a:ext cx="57150" cy="254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1" name="Freeform 441"/>
          <p:cNvSpPr>
            <a:spLocks/>
          </p:cNvSpPr>
          <p:nvPr userDrawn="1"/>
        </p:nvSpPr>
        <p:spPr bwMode="auto">
          <a:xfrm>
            <a:off x="5182750" y="1746153"/>
            <a:ext cx="288925" cy="515939"/>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2" name="Freeform 497"/>
          <p:cNvSpPr>
            <a:spLocks noEditPoints="1"/>
          </p:cNvSpPr>
          <p:nvPr userDrawn="1"/>
        </p:nvSpPr>
        <p:spPr bwMode="auto">
          <a:xfrm>
            <a:off x="5073208" y="3772363"/>
            <a:ext cx="508001" cy="328613"/>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3" name="Freeform 263"/>
          <p:cNvSpPr>
            <a:spLocks/>
          </p:cNvSpPr>
          <p:nvPr userDrawn="1"/>
        </p:nvSpPr>
        <p:spPr bwMode="auto">
          <a:xfrm>
            <a:off x="5732774" y="1160863"/>
            <a:ext cx="409575" cy="522288"/>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4" name="Freeform 357"/>
          <p:cNvSpPr>
            <a:spLocks/>
          </p:cNvSpPr>
          <p:nvPr userDrawn="1"/>
        </p:nvSpPr>
        <p:spPr bwMode="auto">
          <a:xfrm>
            <a:off x="5670857" y="4389732"/>
            <a:ext cx="533400" cy="542925"/>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5" name="Freeform 373"/>
          <p:cNvSpPr>
            <a:spLocks/>
          </p:cNvSpPr>
          <p:nvPr userDrawn="1"/>
        </p:nvSpPr>
        <p:spPr bwMode="auto">
          <a:xfrm>
            <a:off x="5751824" y="2381467"/>
            <a:ext cx="371475" cy="520700"/>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6" name="Freeform 429"/>
          <p:cNvSpPr>
            <a:spLocks/>
          </p:cNvSpPr>
          <p:nvPr userDrawn="1"/>
        </p:nvSpPr>
        <p:spPr bwMode="auto">
          <a:xfrm>
            <a:off x="5722456" y="3090980"/>
            <a:ext cx="430213" cy="314325"/>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7" name="Freeform 445"/>
          <p:cNvSpPr>
            <a:spLocks noEditPoints="1"/>
          </p:cNvSpPr>
          <p:nvPr userDrawn="1"/>
        </p:nvSpPr>
        <p:spPr bwMode="auto">
          <a:xfrm>
            <a:off x="5685938" y="1744570"/>
            <a:ext cx="503238" cy="519113"/>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8" name="Freeform 485"/>
          <p:cNvSpPr>
            <a:spLocks/>
          </p:cNvSpPr>
          <p:nvPr userDrawn="1"/>
        </p:nvSpPr>
        <p:spPr bwMode="auto">
          <a:xfrm>
            <a:off x="5680382" y="3815216"/>
            <a:ext cx="514350" cy="242888"/>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9" name="Freeform 505"/>
          <p:cNvSpPr>
            <a:spLocks/>
          </p:cNvSpPr>
          <p:nvPr userDrawn="1"/>
        </p:nvSpPr>
        <p:spPr bwMode="auto">
          <a:xfrm>
            <a:off x="5688320" y="5100047"/>
            <a:ext cx="498474" cy="446088"/>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0" name="Freeform 167"/>
          <p:cNvSpPr>
            <a:spLocks/>
          </p:cNvSpPr>
          <p:nvPr userDrawn="1"/>
        </p:nvSpPr>
        <p:spPr bwMode="auto">
          <a:xfrm>
            <a:off x="6303433" y="1163252"/>
            <a:ext cx="490538" cy="517525"/>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1" name="Freeform 385"/>
          <p:cNvSpPr>
            <a:spLocks noEditPoints="1"/>
          </p:cNvSpPr>
          <p:nvPr userDrawn="1"/>
        </p:nvSpPr>
        <p:spPr bwMode="auto">
          <a:xfrm>
            <a:off x="6292321" y="4427029"/>
            <a:ext cx="512762" cy="468312"/>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2" name="Freeform 437"/>
          <p:cNvSpPr>
            <a:spLocks/>
          </p:cNvSpPr>
          <p:nvPr userDrawn="1"/>
        </p:nvSpPr>
        <p:spPr bwMode="auto">
          <a:xfrm>
            <a:off x="6341535" y="2391797"/>
            <a:ext cx="414337" cy="500063"/>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3" name="Freeform 453"/>
          <p:cNvSpPr>
            <a:spLocks/>
          </p:cNvSpPr>
          <p:nvPr userDrawn="1"/>
        </p:nvSpPr>
        <p:spPr bwMode="auto">
          <a:xfrm>
            <a:off x="6289940" y="1835058"/>
            <a:ext cx="517527" cy="338137"/>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4" name="Freeform 461"/>
          <p:cNvSpPr>
            <a:spLocks noEditPoints="1"/>
          </p:cNvSpPr>
          <p:nvPr userDrawn="1"/>
        </p:nvSpPr>
        <p:spPr bwMode="auto">
          <a:xfrm>
            <a:off x="6392333" y="2995732"/>
            <a:ext cx="312739" cy="504825"/>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5" name="Freeform 489"/>
          <p:cNvSpPr>
            <a:spLocks/>
          </p:cNvSpPr>
          <p:nvPr userDrawn="1"/>
        </p:nvSpPr>
        <p:spPr bwMode="auto">
          <a:xfrm>
            <a:off x="6289940" y="3765210"/>
            <a:ext cx="517527" cy="342900"/>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6" name="Freeform 509"/>
          <p:cNvSpPr>
            <a:spLocks/>
          </p:cNvSpPr>
          <p:nvPr userDrawn="1"/>
        </p:nvSpPr>
        <p:spPr bwMode="auto">
          <a:xfrm>
            <a:off x="6328041" y="5200861"/>
            <a:ext cx="441325" cy="244475"/>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77" name="Freeform 296"/>
          <p:cNvSpPr>
            <a:spLocks/>
          </p:cNvSpPr>
          <p:nvPr userDrawn="1"/>
        </p:nvSpPr>
        <p:spPr bwMode="auto">
          <a:xfrm>
            <a:off x="6893146" y="1160863"/>
            <a:ext cx="525463" cy="522288"/>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8" name="Freeform 397"/>
          <p:cNvSpPr>
            <a:spLocks noEditPoints="1"/>
          </p:cNvSpPr>
          <p:nvPr userDrawn="1"/>
        </p:nvSpPr>
        <p:spPr bwMode="auto">
          <a:xfrm>
            <a:off x="6963790" y="4400041"/>
            <a:ext cx="384175" cy="522288"/>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9" name="Freeform 449"/>
          <p:cNvSpPr>
            <a:spLocks/>
          </p:cNvSpPr>
          <p:nvPr userDrawn="1"/>
        </p:nvSpPr>
        <p:spPr bwMode="auto">
          <a:xfrm>
            <a:off x="7020938" y="2386231"/>
            <a:ext cx="269876" cy="511175"/>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80" name="Freeform 469"/>
          <p:cNvSpPr>
            <a:spLocks/>
          </p:cNvSpPr>
          <p:nvPr userDrawn="1"/>
        </p:nvSpPr>
        <p:spPr bwMode="auto">
          <a:xfrm>
            <a:off x="6898701" y="1839820"/>
            <a:ext cx="514350" cy="328613"/>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81" name="Freeform 477"/>
          <p:cNvSpPr>
            <a:spLocks noEditPoints="1"/>
          </p:cNvSpPr>
          <p:nvPr userDrawn="1"/>
        </p:nvSpPr>
        <p:spPr bwMode="auto">
          <a:xfrm>
            <a:off x="6893943" y="3112413"/>
            <a:ext cx="523876" cy="271463"/>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91" name="Freeform 552"/>
          <p:cNvSpPr>
            <a:spLocks/>
          </p:cNvSpPr>
          <p:nvPr userDrawn="1"/>
        </p:nvSpPr>
        <p:spPr bwMode="auto">
          <a:xfrm>
            <a:off x="6984425" y="5076245"/>
            <a:ext cx="342900" cy="493713"/>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grpSp>
        <p:nvGrpSpPr>
          <p:cNvPr id="92" name="Group 319"/>
          <p:cNvGrpSpPr>
            <a:grpSpLocks noChangeAspect="1"/>
          </p:cNvGrpSpPr>
          <p:nvPr userDrawn="1"/>
        </p:nvGrpSpPr>
        <p:grpSpPr bwMode="auto">
          <a:xfrm>
            <a:off x="7631290" y="1168808"/>
            <a:ext cx="266700" cy="506413"/>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5" name="Freeform 389"/>
          <p:cNvSpPr>
            <a:spLocks/>
          </p:cNvSpPr>
          <p:nvPr userDrawn="1"/>
        </p:nvSpPr>
        <p:spPr bwMode="auto">
          <a:xfrm>
            <a:off x="7549539" y="4511960"/>
            <a:ext cx="430213" cy="298451"/>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96" name="Freeform 457"/>
          <p:cNvSpPr>
            <a:spLocks noEditPoints="1"/>
          </p:cNvSpPr>
          <p:nvPr userDrawn="1"/>
        </p:nvSpPr>
        <p:spPr bwMode="auto">
          <a:xfrm>
            <a:off x="7596362" y="2405289"/>
            <a:ext cx="336550" cy="473075"/>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97" name="Freeform 465"/>
          <p:cNvSpPr>
            <a:spLocks/>
          </p:cNvSpPr>
          <p:nvPr userDrawn="1"/>
        </p:nvSpPr>
        <p:spPr bwMode="auto">
          <a:xfrm>
            <a:off x="7504290" y="1737426"/>
            <a:ext cx="520700" cy="53340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98" name="Freeform 481"/>
          <p:cNvSpPr>
            <a:spLocks/>
          </p:cNvSpPr>
          <p:nvPr userDrawn="1"/>
        </p:nvSpPr>
        <p:spPr bwMode="auto">
          <a:xfrm>
            <a:off x="7524928" y="2999701"/>
            <a:ext cx="479424" cy="496887"/>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99" name="Freeform 537"/>
          <p:cNvSpPr>
            <a:spLocks noEditPoints="1"/>
          </p:cNvSpPr>
          <p:nvPr userDrawn="1"/>
        </p:nvSpPr>
        <p:spPr bwMode="auto">
          <a:xfrm>
            <a:off x="7582872" y="3681876"/>
            <a:ext cx="363539" cy="509587"/>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0" name="Freeform 556"/>
          <p:cNvSpPr>
            <a:spLocks/>
          </p:cNvSpPr>
          <p:nvPr userDrawn="1"/>
        </p:nvSpPr>
        <p:spPr bwMode="auto">
          <a:xfrm>
            <a:off x="7534454" y="5128621"/>
            <a:ext cx="460375" cy="388939"/>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1" name="Freeform 163"/>
          <p:cNvSpPr>
            <a:spLocks/>
          </p:cNvSpPr>
          <p:nvPr userDrawn="1"/>
        </p:nvSpPr>
        <p:spPr bwMode="auto">
          <a:xfrm>
            <a:off x="8135280" y="1183096"/>
            <a:ext cx="474662" cy="477837"/>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102" name="Freeform 425"/>
          <p:cNvSpPr>
            <a:spLocks/>
          </p:cNvSpPr>
          <p:nvPr userDrawn="1"/>
        </p:nvSpPr>
        <p:spPr bwMode="auto">
          <a:xfrm>
            <a:off x="8170994" y="4488941"/>
            <a:ext cx="403226" cy="344488"/>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103" name="Freeform 473"/>
          <p:cNvSpPr>
            <a:spLocks/>
          </p:cNvSpPr>
          <p:nvPr userDrawn="1"/>
        </p:nvSpPr>
        <p:spPr bwMode="auto">
          <a:xfrm>
            <a:off x="8110674" y="2506097"/>
            <a:ext cx="523876" cy="271463"/>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4" name="Freeform 501"/>
          <p:cNvSpPr>
            <a:spLocks/>
          </p:cNvSpPr>
          <p:nvPr userDrawn="1"/>
        </p:nvSpPr>
        <p:spPr bwMode="auto">
          <a:xfrm>
            <a:off x="8115432" y="3068757"/>
            <a:ext cx="514350" cy="358775"/>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5" name="Freeform 521"/>
          <p:cNvSpPr>
            <a:spLocks/>
          </p:cNvSpPr>
          <p:nvPr userDrawn="1"/>
        </p:nvSpPr>
        <p:spPr bwMode="auto">
          <a:xfrm>
            <a:off x="8192432" y="1835058"/>
            <a:ext cx="360363" cy="338137"/>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6" name="Freeform 560"/>
          <p:cNvSpPr>
            <a:spLocks/>
          </p:cNvSpPr>
          <p:nvPr userDrawn="1"/>
        </p:nvSpPr>
        <p:spPr bwMode="auto">
          <a:xfrm>
            <a:off x="8246407" y="5065121"/>
            <a:ext cx="252413" cy="515939"/>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7" name="Freeform 580"/>
          <p:cNvSpPr>
            <a:spLocks/>
          </p:cNvSpPr>
          <p:nvPr userDrawn="1"/>
        </p:nvSpPr>
        <p:spPr bwMode="auto">
          <a:xfrm>
            <a:off x="8124167" y="3689010"/>
            <a:ext cx="496888" cy="495300"/>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8" name="Freeform 159"/>
          <p:cNvSpPr>
            <a:spLocks/>
          </p:cNvSpPr>
          <p:nvPr userDrawn="1"/>
        </p:nvSpPr>
        <p:spPr bwMode="auto">
          <a:xfrm>
            <a:off x="1745239" y="1165625"/>
            <a:ext cx="711201" cy="512763"/>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9" name="Freeform 226"/>
          <p:cNvSpPr>
            <a:spLocks/>
          </p:cNvSpPr>
          <p:nvPr userDrawn="1"/>
        </p:nvSpPr>
        <p:spPr bwMode="auto">
          <a:xfrm>
            <a:off x="1845248" y="4401641"/>
            <a:ext cx="511175" cy="519113"/>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3" name="Freeform 247"/>
          <p:cNvSpPr>
            <a:spLocks/>
          </p:cNvSpPr>
          <p:nvPr userDrawn="1"/>
        </p:nvSpPr>
        <p:spPr bwMode="auto">
          <a:xfrm>
            <a:off x="1892878" y="2385445"/>
            <a:ext cx="415925" cy="512763"/>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grpSp>
        <p:nvGrpSpPr>
          <p:cNvPr id="114" name="Group 270"/>
          <p:cNvGrpSpPr>
            <a:grpSpLocks noChangeAspect="1"/>
          </p:cNvGrpSpPr>
          <p:nvPr userDrawn="1"/>
        </p:nvGrpSpPr>
        <p:grpSpPr bwMode="auto">
          <a:xfrm>
            <a:off x="1885733" y="3016359"/>
            <a:ext cx="430213" cy="463551"/>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17" name="Freeform 308"/>
          <p:cNvSpPr>
            <a:spLocks/>
          </p:cNvSpPr>
          <p:nvPr userDrawn="1"/>
        </p:nvSpPr>
        <p:spPr bwMode="auto">
          <a:xfrm>
            <a:off x="1842866" y="3673134"/>
            <a:ext cx="515938" cy="527051"/>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8" name="Freeform 636"/>
          <p:cNvSpPr>
            <a:spLocks/>
          </p:cNvSpPr>
          <p:nvPr userDrawn="1"/>
        </p:nvSpPr>
        <p:spPr bwMode="auto">
          <a:xfrm>
            <a:off x="1876997" y="1780287"/>
            <a:ext cx="447674" cy="447672"/>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9" name="Freeform 147"/>
          <p:cNvSpPr>
            <a:spLocks noEditPoints="1"/>
          </p:cNvSpPr>
          <p:nvPr userDrawn="1"/>
        </p:nvSpPr>
        <p:spPr bwMode="auto">
          <a:xfrm>
            <a:off x="8732925" y="1162461"/>
            <a:ext cx="492125" cy="519113"/>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20" name="Freeform 421"/>
          <p:cNvSpPr>
            <a:spLocks noEditPoints="1"/>
          </p:cNvSpPr>
          <p:nvPr userDrawn="1"/>
        </p:nvSpPr>
        <p:spPr bwMode="auto">
          <a:xfrm>
            <a:off x="8796432" y="4405610"/>
            <a:ext cx="365125" cy="511175"/>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21" name="Freeform 533"/>
          <p:cNvSpPr>
            <a:spLocks/>
          </p:cNvSpPr>
          <p:nvPr userDrawn="1"/>
        </p:nvSpPr>
        <p:spPr bwMode="auto">
          <a:xfrm>
            <a:off x="8720227" y="3086209"/>
            <a:ext cx="517527" cy="323851"/>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22" name="Freeform 568"/>
          <p:cNvSpPr>
            <a:spLocks/>
          </p:cNvSpPr>
          <p:nvPr userDrawn="1"/>
        </p:nvSpPr>
        <p:spPr bwMode="auto">
          <a:xfrm>
            <a:off x="8754363" y="5098470"/>
            <a:ext cx="449263" cy="449263"/>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23" name="Freeform 572"/>
          <p:cNvSpPr>
            <a:spLocks/>
          </p:cNvSpPr>
          <p:nvPr userDrawn="1"/>
        </p:nvSpPr>
        <p:spPr bwMode="auto">
          <a:xfrm>
            <a:off x="8749595" y="3741407"/>
            <a:ext cx="458788" cy="390525"/>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24" name="Freeform 632"/>
          <p:cNvSpPr>
            <a:spLocks/>
          </p:cNvSpPr>
          <p:nvPr userDrawn="1"/>
        </p:nvSpPr>
        <p:spPr bwMode="auto">
          <a:xfrm>
            <a:off x="8837701" y="2499745"/>
            <a:ext cx="282574" cy="284163"/>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25" name="Freeform 640"/>
          <p:cNvSpPr>
            <a:spLocks noEditPoints="1"/>
          </p:cNvSpPr>
          <p:nvPr userDrawn="1"/>
        </p:nvSpPr>
        <p:spPr bwMode="auto">
          <a:xfrm>
            <a:off x="8838492" y="1818389"/>
            <a:ext cx="280988" cy="371475"/>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grpSp>
        <p:nvGrpSpPr>
          <p:cNvPr id="126" name="Group 413"/>
          <p:cNvGrpSpPr>
            <a:grpSpLocks noChangeAspect="1"/>
          </p:cNvGrpSpPr>
          <p:nvPr userDrawn="1"/>
        </p:nvGrpSpPr>
        <p:grpSpPr bwMode="auto">
          <a:xfrm>
            <a:off x="9352800" y="4510385"/>
            <a:ext cx="457200" cy="301625"/>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Line 415"/>
            <p:cNvSpPr>
              <a:spLocks noChangeShapeType="1"/>
            </p:cNvSpPr>
            <p:nvPr/>
          </p:nvSpPr>
          <p:spPr bwMode="auto">
            <a:xfrm flipH="1" flipV="1">
              <a:off x="4232" y="3235"/>
              <a:ext cx="20" cy="19"/>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Line 416"/>
            <p:cNvSpPr>
              <a:spLocks noChangeShapeType="1"/>
            </p:cNvSpPr>
            <p:nvPr/>
          </p:nvSpPr>
          <p:spPr bwMode="auto">
            <a:xfrm flipV="1">
              <a:off x="4335" y="3192"/>
              <a:ext cx="1" cy="2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Line 417"/>
            <p:cNvSpPr>
              <a:spLocks noChangeShapeType="1"/>
            </p:cNvSpPr>
            <p:nvPr/>
          </p:nvSpPr>
          <p:spPr bwMode="auto">
            <a:xfrm flipV="1">
              <a:off x="4424" y="3235"/>
              <a:ext cx="17" cy="2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31" name="Freeform 513"/>
          <p:cNvSpPr>
            <a:spLocks/>
          </p:cNvSpPr>
          <p:nvPr userDrawn="1"/>
        </p:nvSpPr>
        <p:spPr bwMode="auto">
          <a:xfrm>
            <a:off x="9328196" y="2448143"/>
            <a:ext cx="506412" cy="387351"/>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2" name="Freeform 517"/>
          <p:cNvSpPr>
            <a:spLocks noEditPoints="1"/>
          </p:cNvSpPr>
          <p:nvPr userDrawn="1"/>
        </p:nvSpPr>
        <p:spPr bwMode="auto">
          <a:xfrm>
            <a:off x="9425032" y="1183089"/>
            <a:ext cx="312739" cy="477839"/>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3" name="Freeform 564"/>
          <p:cNvSpPr>
            <a:spLocks/>
          </p:cNvSpPr>
          <p:nvPr userDrawn="1"/>
        </p:nvSpPr>
        <p:spPr bwMode="auto">
          <a:xfrm>
            <a:off x="9382171" y="5161970"/>
            <a:ext cx="398462" cy="322263"/>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4" name="Freeform 584"/>
          <p:cNvSpPr>
            <a:spLocks/>
          </p:cNvSpPr>
          <p:nvPr userDrawn="1"/>
        </p:nvSpPr>
        <p:spPr bwMode="auto">
          <a:xfrm>
            <a:off x="9399632" y="3681876"/>
            <a:ext cx="363539" cy="509587"/>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5" name="Freeform 592"/>
          <p:cNvSpPr>
            <a:spLocks/>
          </p:cNvSpPr>
          <p:nvPr userDrawn="1"/>
        </p:nvSpPr>
        <p:spPr bwMode="auto">
          <a:xfrm>
            <a:off x="9323431" y="3061603"/>
            <a:ext cx="515938" cy="373063"/>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6" name="Freeform 644"/>
          <p:cNvSpPr>
            <a:spLocks/>
          </p:cNvSpPr>
          <p:nvPr userDrawn="1"/>
        </p:nvSpPr>
        <p:spPr bwMode="auto">
          <a:xfrm>
            <a:off x="9440113" y="1838231"/>
            <a:ext cx="282574" cy="331788"/>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7" name="Freeform 493"/>
          <p:cNvSpPr>
            <a:spLocks/>
          </p:cNvSpPr>
          <p:nvPr userDrawn="1"/>
        </p:nvSpPr>
        <p:spPr bwMode="auto">
          <a:xfrm>
            <a:off x="10006013" y="4403229"/>
            <a:ext cx="317500" cy="515937"/>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8" name="Freeform 529"/>
          <p:cNvSpPr>
            <a:spLocks noEditPoints="1"/>
          </p:cNvSpPr>
          <p:nvPr userDrawn="1"/>
        </p:nvSpPr>
        <p:spPr bwMode="auto">
          <a:xfrm>
            <a:off x="9975060" y="2498943"/>
            <a:ext cx="379413" cy="285751"/>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9" name="Freeform 588"/>
          <p:cNvSpPr>
            <a:spLocks/>
          </p:cNvSpPr>
          <p:nvPr userDrawn="1"/>
        </p:nvSpPr>
        <p:spPr bwMode="auto">
          <a:xfrm>
            <a:off x="9934577" y="3740614"/>
            <a:ext cx="460375" cy="392113"/>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0" name="Freeform 608"/>
          <p:cNvSpPr>
            <a:spLocks/>
          </p:cNvSpPr>
          <p:nvPr userDrawn="1"/>
        </p:nvSpPr>
        <p:spPr bwMode="auto">
          <a:xfrm>
            <a:off x="9982207" y="5066717"/>
            <a:ext cx="365125" cy="512763"/>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1" name="Freeform 628"/>
          <p:cNvSpPr>
            <a:spLocks/>
          </p:cNvSpPr>
          <p:nvPr userDrawn="1"/>
        </p:nvSpPr>
        <p:spPr bwMode="auto">
          <a:xfrm>
            <a:off x="9925050" y="3066376"/>
            <a:ext cx="479424" cy="363537"/>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2" name="Freeform 648"/>
          <p:cNvSpPr>
            <a:spLocks/>
          </p:cNvSpPr>
          <p:nvPr userDrawn="1"/>
        </p:nvSpPr>
        <p:spPr bwMode="auto">
          <a:xfrm>
            <a:off x="10011569" y="1263258"/>
            <a:ext cx="306388" cy="317500"/>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143" name="Freeform 652"/>
          <p:cNvSpPr>
            <a:spLocks/>
          </p:cNvSpPr>
          <p:nvPr userDrawn="1"/>
        </p:nvSpPr>
        <p:spPr bwMode="auto">
          <a:xfrm>
            <a:off x="9954418" y="1888239"/>
            <a:ext cx="420688" cy="231775"/>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1588" cap="flat">
            <a:noFill/>
            <a:prstDash val="solid"/>
            <a:miter lim="800000"/>
            <a:headEnd/>
            <a:tailEnd/>
          </a:ln>
        </p:spPr>
        <p:txBody>
          <a:bodyPr vert="horz" wrap="square" lIns="91432" tIns="45717" rIns="91432" bIns="45717" numCol="1" anchor="t" anchorCtr="0" compatLnSpc="1">
            <a:prstTxWarp prst="textNoShape">
              <a:avLst/>
            </a:prstTxWarp>
          </a:bodyPr>
          <a:lstStyle/>
          <a:p>
            <a:endParaRPr lang="en-US"/>
          </a:p>
        </p:txBody>
      </p:sp>
      <p:sp>
        <p:nvSpPr>
          <p:cNvPr id="144" name="Freeform 525"/>
          <p:cNvSpPr>
            <a:spLocks/>
          </p:cNvSpPr>
          <p:nvPr userDrawn="1"/>
        </p:nvSpPr>
        <p:spPr bwMode="auto">
          <a:xfrm>
            <a:off x="10561591" y="2500541"/>
            <a:ext cx="369888" cy="282575"/>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5" name="Freeform 576"/>
          <p:cNvSpPr>
            <a:spLocks noEditPoints="1"/>
          </p:cNvSpPr>
          <p:nvPr userDrawn="1"/>
        </p:nvSpPr>
        <p:spPr bwMode="auto">
          <a:xfrm>
            <a:off x="10502065" y="4473076"/>
            <a:ext cx="488951" cy="376237"/>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6" name="Freeform 596"/>
          <p:cNvSpPr>
            <a:spLocks noEditPoints="1"/>
          </p:cNvSpPr>
          <p:nvPr userDrawn="1"/>
        </p:nvSpPr>
        <p:spPr bwMode="auto">
          <a:xfrm>
            <a:off x="10513966" y="3677104"/>
            <a:ext cx="465138" cy="519112"/>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7" name="Freeform 604"/>
          <p:cNvSpPr>
            <a:spLocks/>
          </p:cNvSpPr>
          <p:nvPr userDrawn="1"/>
        </p:nvSpPr>
        <p:spPr bwMode="auto">
          <a:xfrm>
            <a:off x="10533022" y="5197689"/>
            <a:ext cx="427037" cy="250825"/>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8" name="Freeform 620"/>
          <p:cNvSpPr>
            <a:spLocks/>
          </p:cNvSpPr>
          <p:nvPr userDrawn="1"/>
        </p:nvSpPr>
        <p:spPr bwMode="auto">
          <a:xfrm>
            <a:off x="10510800" y="3107639"/>
            <a:ext cx="471487" cy="280988"/>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9" name="Freeform 656"/>
          <p:cNvSpPr>
            <a:spLocks/>
          </p:cNvSpPr>
          <p:nvPr userDrawn="1"/>
        </p:nvSpPr>
        <p:spPr bwMode="auto">
          <a:xfrm>
            <a:off x="10490156" y="1748539"/>
            <a:ext cx="512762" cy="511175"/>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50" name="Freeform 660"/>
          <p:cNvSpPr>
            <a:spLocks/>
          </p:cNvSpPr>
          <p:nvPr userDrawn="1"/>
        </p:nvSpPr>
        <p:spPr bwMode="auto">
          <a:xfrm>
            <a:off x="10610013" y="1191033"/>
            <a:ext cx="273050" cy="461963"/>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151" name="Freeform 143"/>
          <p:cNvSpPr>
            <a:spLocks noEditPoints="1"/>
          </p:cNvSpPr>
          <p:nvPr userDrawn="1"/>
        </p:nvSpPr>
        <p:spPr bwMode="auto">
          <a:xfrm>
            <a:off x="11197612" y="5171494"/>
            <a:ext cx="294750" cy="303199"/>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52" name="Freeform 600"/>
          <p:cNvSpPr>
            <a:spLocks/>
          </p:cNvSpPr>
          <p:nvPr userDrawn="1"/>
        </p:nvSpPr>
        <p:spPr bwMode="auto">
          <a:xfrm>
            <a:off x="11088608" y="3816010"/>
            <a:ext cx="512762" cy="241300"/>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53" name="Freeform 612"/>
          <p:cNvSpPr>
            <a:spLocks/>
          </p:cNvSpPr>
          <p:nvPr userDrawn="1"/>
        </p:nvSpPr>
        <p:spPr bwMode="auto">
          <a:xfrm>
            <a:off x="11114799" y="4431010"/>
            <a:ext cx="460376" cy="460375"/>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54" name="Freeform 616"/>
          <p:cNvSpPr>
            <a:spLocks/>
          </p:cNvSpPr>
          <p:nvPr userDrawn="1"/>
        </p:nvSpPr>
        <p:spPr bwMode="auto">
          <a:xfrm>
            <a:off x="11096546" y="3043347"/>
            <a:ext cx="496888" cy="409575"/>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155" name="Freeform 624"/>
          <p:cNvSpPr>
            <a:spLocks/>
          </p:cNvSpPr>
          <p:nvPr userDrawn="1"/>
        </p:nvSpPr>
        <p:spPr bwMode="auto">
          <a:xfrm>
            <a:off x="11115596" y="2407672"/>
            <a:ext cx="458788" cy="468313"/>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56" name="Freeform 664"/>
          <p:cNvSpPr>
            <a:spLocks noEditPoints="1"/>
          </p:cNvSpPr>
          <p:nvPr userDrawn="1"/>
        </p:nvSpPr>
        <p:spPr bwMode="auto">
          <a:xfrm>
            <a:off x="11088608" y="1205314"/>
            <a:ext cx="512762" cy="433388"/>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57" name="Freeform 668"/>
          <p:cNvSpPr>
            <a:spLocks/>
          </p:cNvSpPr>
          <p:nvPr userDrawn="1"/>
        </p:nvSpPr>
        <p:spPr bwMode="auto">
          <a:xfrm>
            <a:off x="11159254" y="1815214"/>
            <a:ext cx="371475" cy="377825"/>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33" name="Freeform 9"/>
          <p:cNvSpPr>
            <a:spLocks/>
          </p:cNvSpPr>
          <p:nvPr userDrawn="1"/>
        </p:nvSpPr>
        <p:spPr bwMode="auto">
          <a:xfrm>
            <a:off x="447682" y="5857907"/>
            <a:ext cx="69731" cy="331423"/>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37" name="Freeform 13"/>
          <p:cNvSpPr>
            <a:spLocks/>
          </p:cNvSpPr>
          <p:nvPr userDrawn="1"/>
        </p:nvSpPr>
        <p:spPr bwMode="auto">
          <a:xfrm>
            <a:off x="611753" y="5857907"/>
            <a:ext cx="72465" cy="331423"/>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41" name="Freeform 17"/>
          <p:cNvSpPr>
            <a:spLocks noEditPoints="1"/>
          </p:cNvSpPr>
          <p:nvPr userDrawn="1"/>
        </p:nvSpPr>
        <p:spPr bwMode="auto">
          <a:xfrm>
            <a:off x="887415" y="6024573"/>
            <a:ext cx="174625" cy="92075"/>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45" name="Freeform 21"/>
          <p:cNvSpPr>
            <a:spLocks noEditPoints="1"/>
          </p:cNvSpPr>
          <p:nvPr userDrawn="1"/>
        </p:nvSpPr>
        <p:spPr bwMode="auto">
          <a:xfrm>
            <a:off x="1243013" y="6003936"/>
            <a:ext cx="160337" cy="117475"/>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49" name="Freeform 25"/>
          <p:cNvSpPr>
            <a:spLocks/>
          </p:cNvSpPr>
          <p:nvPr userDrawn="1"/>
        </p:nvSpPr>
        <p:spPr bwMode="auto">
          <a:xfrm>
            <a:off x="1579567" y="5995996"/>
            <a:ext cx="171449" cy="147637"/>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53" name="Freeform 29"/>
          <p:cNvSpPr>
            <a:spLocks/>
          </p:cNvSpPr>
          <p:nvPr userDrawn="1"/>
        </p:nvSpPr>
        <p:spPr bwMode="auto">
          <a:xfrm>
            <a:off x="1920882" y="5983296"/>
            <a:ext cx="171449" cy="150813"/>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grpSp>
        <p:nvGrpSpPr>
          <p:cNvPr id="1056" name="Group 32"/>
          <p:cNvGrpSpPr>
            <a:grpSpLocks noChangeAspect="1"/>
          </p:cNvGrpSpPr>
          <p:nvPr userDrawn="1"/>
        </p:nvGrpSpPr>
        <p:grpSpPr bwMode="auto">
          <a:xfrm>
            <a:off x="2262188" y="6015045"/>
            <a:ext cx="142875" cy="96839"/>
            <a:chOff x="1425" y="3789"/>
            <a:chExt cx="90" cy="61"/>
          </a:xfrm>
          <a:solidFill>
            <a:srgbClr val="009530"/>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62" name="Freeform 38"/>
          <p:cNvSpPr>
            <a:spLocks/>
          </p:cNvSpPr>
          <p:nvPr userDrawn="1"/>
        </p:nvSpPr>
        <p:spPr bwMode="auto">
          <a:xfrm>
            <a:off x="2584449" y="6048377"/>
            <a:ext cx="141289" cy="31751"/>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66" name="Freeform 42"/>
          <p:cNvSpPr>
            <a:spLocks/>
          </p:cNvSpPr>
          <p:nvPr userDrawn="1"/>
        </p:nvSpPr>
        <p:spPr bwMode="auto">
          <a:xfrm>
            <a:off x="2901952" y="5992815"/>
            <a:ext cx="142875" cy="144463"/>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grpSp>
        <p:nvGrpSpPr>
          <p:cNvPr id="1069" name="Group 45"/>
          <p:cNvGrpSpPr>
            <a:grpSpLocks noChangeAspect="1"/>
          </p:cNvGrpSpPr>
          <p:nvPr userDrawn="1"/>
        </p:nvGrpSpPr>
        <p:grpSpPr bwMode="auto">
          <a:xfrm>
            <a:off x="3222630" y="5999161"/>
            <a:ext cx="134937" cy="131763"/>
            <a:chOff x="2030" y="3779"/>
            <a:chExt cx="85" cy="83"/>
          </a:xfrm>
          <a:solidFill>
            <a:srgbClr val="009530"/>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74" name="Group 50"/>
          <p:cNvGrpSpPr>
            <a:grpSpLocks noChangeAspect="1"/>
          </p:cNvGrpSpPr>
          <p:nvPr userDrawn="1"/>
        </p:nvGrpSpPr>
        <p:grpSpPr bwMode="auto">
          <a:xfrm>
            <a:off x="3535353" y="5994403"/>
            <a:ext cx="136524" cy="141288"/>
            <a:chOff x="2227" y="3776"/>
            <a:chExt cx="86" cy="89"/>
          </a:xfrm>
          <a:solidFill>
            <a:srgbClr val="009530"/>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81" name="Freeform 57"/>
          <p:cNvSpPr>
            <a:spLocks/>
          </p:cNvSpPr>
          <p:nvPr userDrawn="1"/>
        </p:nvSpPr>
        <p:spPr bwMode="auto">
          <a:xfrm>
            <a:off x="3856038" y="5995988"/>
            <a:ext cx="109537" cy="138112"/>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85" name="Freeform 61"/>
          <p:cNvSpPr>
            <a:spLocks/>
          </p:cNvSpPr>
          <p:nvPr userDrawn="1"/>
        </p:nvSpPr>
        <p:spPr bwMode="auto">
          <a:xfrm>
            <a:off x="4160842" y="6000761"/>
            <a:ext cx="100013" cy="130175"/>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89" name="Freeform 65"/>
          <p:cNvSpPr>
            <a:spLocks noEditPoints="1"/>
          </p:cNvSpPr>
          <p:nvPr userDrawn="1"/>
        </p:nvSpPr>
        <p:spPr bwMode="auto">
          <a:xfrm>
            <a:off x="4456117" y="6002339"/>
            <a:ext cx="109538" cy="12700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93" name="Freeform 69"/>
          <p:cNvSpPr>
            <a:spLocks/>
          </p:cNvSpPr>
          <p:nvPr userDrawn="1"/>
        </p:nvSpPr>
        <p:spPr bwMode="auto">
          <a:xfrm>
            <a:off x="4764093" y="6002339"/>
            <a:ext cx="96837" cy="12700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97" name="Freeform 73"/>
          <p:cNvSpPr>
            <a:spLocks noEditPoints="1"/>
          </p:cNvSpPr>
          <p:nvPr userDrawn="1"/>
        </p:nvSpPr>
        <p:spPr bwMode="auto">
          <a:xfrm>
            <a:off x="5060950" y="6000761"/>
            <a:ext cx="103188" cy="130175"/>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01" name="Freeform 77"/>
          <p:cNvSpPr>
            <a:spLocks/>
          </p:cNvSpPr>
          <p:nvPr userDrawn="1"/>
        </p:nvSpPr>
        <p:spPr bwMode="auto">
          <a:xfrm>
            <a:off x="5365750" y="6002339"/>
            <a:ext cx="95250" cy="125412"/>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05" name="Freeform 81"/>
          <p:cNvSpPr>
            <a:spLocks noEditPoints="1"/>
          </p:cNvSpPr>
          <p:nvPr userDrawn="1"/>
        </p:nvSpPr>
        <p:spPr bwMode="auto">
          <a:xfrm>
            <a:off x="5662616" y="6000761"/>
            <a:ext cx="103188" cy="130175"/>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09" name="Freeform 85"/>
          <p:cNvSpPr>
            <a:spLocks noEditPoints="1"/>
          </p:cNvSpPr>
          <p:nvPr userDrawn="1"/>
        </p:nvSpPr>
        <p:spPr bwMode="auto">
          <a:xfrm>
            <a:off x="5962650" y="6000761"/>
            <a:ext cx="103188" cy="130175"/>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13" name="Freeform 89"/>
          <p:cNvSpPr>
            <a:spLocks noEditPoints="1"/>
          </p:cNvSpPr>
          <p:nvPr userDrawn="1"/>
        </p:nvSpPr>
        <p:spPr bwMode="auto">
          <a:xfrm>
            <a:off x="6257933" y="5976937"/>
            <a:ext cx="117475" cy="160339"/>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17" name="Freeform 93"/>
          <p:cNvSpPr>
            <a:spLocks/>
          </p:cNvSpPr>
          <p:nvPr userDrawn="1"/>
        </p:nvSpPr>
        <p:spPr bwMode="auto">
          <a:xfrm>
            <a:off x="6559559" y="6000761"/>
            <a:ext cx="112713" cy="130175"/>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21" name="Freeform 97"/>
          <p:cNvSpPr>
            <a:spLocks noEditPoints="1"/>
          </p:cNvSpPr>
          <p:nvPr userDrawn="1"/>
        </p:nvSpPr>
        <p:spPr bwMode="auto">
          <a:xfrm>
            <a:off x="6850069" y="5997576"/>
            <a:ext cx="131763" cy="134939"/>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25" name="Freeform 101"/>
          <p:cNvSpPr>
            <a:spLocks noEditPoints="1"/>
          </p:cNvSpPr>
          <p:nvPr userDrawn="1"/>
        </p:nvSpPr>
        <p:spPr bwMode="auto">
          <a:xfrm>
            <a:off x="7158038" y="6000751"/>
            <a:ext cx="106362" cy="12700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29" name="Freeform 105"/>
          <p:cNvSpPr>
            <a:spLocks/>
          </p:cNvSpPr>
          <p:nvPr userDrawn="1"/>
        </p:nvSpPr>
        <p:spPr bwMode="auto">
          <a:xfrm>
            <a:off x="7453313" y="6000751"/>
            <a:ext cx="95250" cy="125412"/>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33" name="Freeform 109"/>
          <p:cNvSpPr>
            <a:spLocks/>
          </p:cNvSpPr>
          <p:nvPr userDrawn="1"/>
        </p:nvSpPr>
        <p:spPr bwMode="auto">
          <a:xfrm>
            <a:off x="7732720" y="6010275"/>
            <a:ext cx="112713" cy="112712"/>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37" name="Freeform 113"/>
          <p:cNvSpPr>
            <a:spLocks/>
          </p:cNvSpPr>
          <p:nvPr userDrawn="1"/>
        </p:nvSpPr>
        <p:spPr bwMode="auto">
          <a:xfrm>
            <a:off x="8024812" y="5999163"/>
            <a:ext cx="107951" cy="12700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41" name="Freeform 117"/>
          <p:cNvSpPr>
            <a:spLocks/>
          </p:cNvSpPr>
          <p:nvPr userDrawn="1"/>
        </p:nvSpPr>
        <p:spPr bwMode="auto">
          <a:xfrm>
            <a:off x="8310563" y="6000761"/>
            <a:ext cx="107951" cy="130175"/>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45" name="Freeform 121"/>
          <p:cNvSpPr>
            <a:spLocks/>
          </p:cNvSpPr>
          <p:nvPr userDrawn="1"/>
        </p:nvSpPr>
        <p:spPr bwMode="auto">
          <a:xfrm>
            <a:off x="8596318" y="5983298"/>
            <a:ext cx="96837" cy="163513"/>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49" name="Freeform 125"/>
          <p:cNvSpPr>
            <a:spLocks/>
          </p:cNvSpPr>
          <p:nvPr userDrawn="1"/>
        </p:nvSpPr>
        <p:spPr bwMode="auto">
          <a:xfrm>
            <a:off x="8861386" y="6003927"/>
            <a:ext cx="107948" cy="130175"/>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53" name="Freeform 129"/>
          <p:cNvSpPr>
            <a:spLocks noEditPoints="1"/>
          </p:cNvSpPr>
          <p:nvPr userDrawn="1"/>
        </p:nvSpPr>
        <p:spPr bwMode="auto">
          <a:xfrm>
            <a:off x="9142416" y="6002348"/>
            <a:ext cx="85724" cy="128587"/>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57" name="Freeform 133"/>
          <p:cNvSpPr>
            <a:spLocks noEditPoints="1"/>
          </p:cNvSpPr>
          <p:nvPr userDrawn="1"/>
        </p:nvSpPr>
        <p:spPr bwMode="auto">
          <a:xfrm>
            <a:off x="9405943" y="6034089"/>
            <a:ext cx="87311" cy="58739"/>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61" name="Freeform 137"/>
          <p:cNvSpPr>
            <a:spLocks/>
          </p:cNvSpPr>
          <p:nvPr userDrawn="1"/>
        </p:nvSpPr>
        <p:spPr bwMode="auto">
          <a:xfrm>
            <a:off x="9667880" y="5981702"/>
            <a:ext cx="74613" cy="165100"/>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65" name="Freeform 141"/>
          <p:cNvSpPr>
            <a:spLocks/>
          </p:cNvSpPr>
          <p:nvPr userDrawn="1"/>
        </p:nvSpPr>
        <p:spPr bwMode="auto">
          <a:xfrm>
            <a:off x="9923463" y="5980115"/>
            <a:ext cx="74613" cy="165100"/>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69" name="Freeform 145"/>
          <p:cNvSpPr>
            <a:spLocks/>
          </p:cNvSpPr>
          <p:nvPr userDrawn="1"/>
        </p:nvSpPr>
        <p:spPr bwMode="auto">
          <a:xfrm>
            <a:off x="10174296" y="6002339"/>
            <a:ext cx="55563" cy="125412"/>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73" name="Freeform 149"/>
          <p:cNvSpPr>
            <a:spLocks/>
          </p:cNvSpPr>
          <p:nvPr userDrawn="1"/>
        </p:nvSpPr>
        <p:spPr bwMode="auto">
          <a:xfrm>
            <a:off x="10418765" y="5983288"/>
            <a:ext cx="52388" cy="163512"/>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77" name="Freeform 153"/>
          <p:cNvSpPr>
            <a:spLocks/>
          </p:cNvSpPr>
          <p:nvPr userDrawn="1"/>
        </p:nvSpPr>
        <p:spPr bwMode="auto">
          <a:xfrm>
            <a:off x="10650538" y="5981702"/>
            <a:ext cx="52388" cy="165100"/>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81" name="Freeform 157"/>
          <p:cNvSpPr>
            <a:spLocks/>
          </p:cNvSpPr>
          <p:nvPr userDrawn="1"/>
        </p:nvSpPr>
        <p:spPr bwMode="auto">
          <a:xfrm>
            <a:off x="10887075" y="5992813"/>
            <a:ext cx="34926" cy="146051"/>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85" name="Freeform 161"/>
          <p:cNvSpPr>
            <a:spLocks/>
          </p:cNvSpPr>
          <p:nvPr userDrawn="1"/>
        </p:nvSpPr>
        <p:spPr bwMode="auto">
          <a:xfrm>
            <a:off x="11114094" y="5992813"/>
            <a:ext cx="41275" cy="146051"/>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89" name="Freeform 165"/>
          <p:cNvSpPr>
            <a:spLocks noEditPoints="1"/>
          </p:cNvSpPr>
          <p:nvPr userDrawn="1"/>
        </p:nvSpPr>
        <p:spPr bwMode="auto">
          <a:xfrm>
            <a:off x="11333167" y="6000751"/>
            <a:ext cx="34926" cy="12700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93" name="Freeform 169"/>
          <p:cNvSpPr>
            <a:spLocks/>
          </p:cNvSpPr>
          <p:nvPr userDrawn="1"/>
        </p:nvSpPr>
        <p:spPr bwMode="auto">
          <a:xfrm>
            <a:off x="11542713" y="6030915"/>
            <a:ext cx="74613" cy="68263"/>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04" name="Freeform 6"/>
          <p:cNvSpPr>
            <a:spLocks/>
          </p:cNvSpPr>
          <p:nvPr userDrawn="1"/>
        </p:nvSpPr>
        <p:spPr bwMode="auto">
          <a:xfrm>
            <a:off x="1828060" y="5070689"/>
            <a:ext cx="509315" cy="554783"/>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05" name="Freeform 6"/>
          <p:cNvSpPr>
            <a:spLocks/>
          </p:cNvSpPr>
          <p:nvPr userDrawn="1"/>
        </p:nvSpPr>
        <p:spPr bwMode="auto">
          <a:xfrm>
            <a:off x="6935214" y="3718379"/>
            <a:ext cx="544462" cy="3536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dirty="0">
              <a:solidFill>
                <a:srgbClr val="009530"/>
              </a:solidFill>
            </a:endParaRPr>
          </a:p>
        </p:txBody>
      </p:sp>
      <p:sp>
        <p:nvSpPr>
          <p:cNvPr id="194" name="TextBox 193"/>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1406363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eneric Pictos_White">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solidFill>
                  <a:srgbClr val="FFFFFF"/>
                </a:solidFill>
              </a:defRPr>
            </a:lvl1pPr>
          </a:lstStyle>
          <a:p>
            <a:r>
              <a:rPr lang="en-US" dirty="0"/>
              <a:t>Generic Pictograms and symbols</a:t>
            </a:r>
            <a:endParaRPr lang="en-US" noProof="0" dirty="0"/>
          </a:p>
        </p:txBody>
      </p:sp>
      <p:sp>
        <p:nvSpPr>
          <p:cNvPr id="5" name="Freeform 171"/>
          <p:cNvSpPr>
            <a:spLocks/>
          </p:cNvSpPr>
          <p:nvPr userDrawn="1"/>
        </p:nvSpPr>
        <p:spPr bwMode="auto">
          <a:xfrm>
            <a:off x="553115" y="1163252"/>
            <a:ext cx="466725" cy="517525"/>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 name="Freeform 175"/>
          <p:cNvSpPr>
            <a:spLocks/>
          </p:cNvSpPr>
          <p:nvPr userDrawn="1"/>
        </p:nvSpPr>
        <p:spPr bwMode="auto">
          <a:xfrm>
            <a:off x="584858" y="1746153"/>
            <a:ext cx="403226" cy="515939"/>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 name="Freeform 191"/>
          <p:cNvSpPr>
            <a:spLocks/>
          </p:cNvSpPr>
          <p:nvPr userDrawn="1"/>
        </p:nvSpPr>
        <p:spPr bwMode="auto">
          <a:xfrm>
            <a:off x="572159" y="2383860"/>
            <a:ext cx="428626" cy="515937"/>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8" name="Freeform 195"/>
          <p:cNvSpPr>
            <a:spLocks/>
          </p:cNvSpPr>
          <p:nvPr userDrawn="1"/>
        </p:nvSpPr>
        <p:spPr bwMode="auto">
          <a:xfrm>
            <a:off x="537234" y="2997309"/>
            <a:ext cx="498474" cy="501651"/>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9" name="Freeform 199"/>
          <p:cNvSpPr>
            <a:spLocks/>
          </p:cNvSpPr>
          <p:nvPr userDrawn="1"/>
        </p:nvSpPr>
        <p:spPr bwMode="auto">
          <a:xfrm>
            <a:off x="556285" y="3677907"/>
            <a:ext cx="460375" cy="517525"/>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 name="Freeform 207"/>
          <p:cNvSpPr>
            <a:spLocks/>
          </p:cNvSpPr>
          <p:nvPr userDrawn="1"/>
        </p:nvSpPr>
        <p:spPr bwMode="auto">
          <a:xfrm>
            <a:off x="551522" y="4419885"/>
            <a:ext cx="469900" cy="48260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 name="Freeform 230"/>
          <p:cNvSpPr>
            <a:spLocks/>
          </p:cNvSpPr>
          <p:nvPr userDrawn="1"/>
        </p:nvSpPr>
        <p:spPr bwMode="auto">
          <a:xfrm>
            <a:off x="527709" y="5089736"/>
            <a:ext cx="517527" cy="466725"/>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2" name="Freeform 151"/>
          <p:cNvSpPr>
            <a:spLocks/>
          </p:cNvSpPr>
          <p:nvPr userDrawn="1"/>
        </p:nvSpPr>
        <p:spPr bwMode="auto">
          <a:xfrm>
            <a:off x="1203146" y="1164037"/>
            <a:ext cx="384175" cy="515939"/>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 name="Freeform 183"/>
          <p:cNvSpPr>
            <a:spLocks/>
          </p:cNvSpPr>
          <p:nvPr userDrawn="1"/>
        </p:nvSpPr>
        <p:spPr bwMode="auto">
          <a:xfrm>
            <a:off x="1139652" y="1741394"/>
            <a:ext cx="511175" cy="525463"/>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 name="Freeform 187"/>
          <p:cNvSpPr>
            <a:spLocks/>
          </p:cNvSpPr>
          <p:nvPr userDrawn="1"/>
        </p:nvSpPr>
        <p:spPr bwMode="auto">
          <a:xfrm>
            <a:off x="1140441" y="2457667"/>
            <a:ext cx="509589" cy="368300"/>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5" name="Freeform 203"/>
          <p:cNvSpPr>
            <a:spLocks/>
          </p:cNvSpPr>
          <p:nvPr userDrawn="1"/>
        </p:nvSpPr>
        <p:spPr bwMode="auto">
          <a:xfrm>
            <a:off x="1130914" y="4404013"/>
            <a:ext cx="528638" cy="514351"/>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6" name="Freeform 211"/>
          <p:cNvSpPr>
            <a:spLocks/>
          </p:cNvSpPr>
          <p:nvPr userDrawn="1"/>
        </p:nvSpPr>
        <p:spPr bwMode="auto">
          <a:xfrm>
            <a:off x="1158699" y="3076683"/>
            <a:ext cx="473075" cy="342900"/>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17" name="Freeform 234"/>
          <p:cNvSpPr>
            <a:spLocks/>
          </p:cNvSpPr>
          <p:nvPr userDrawn="1"/>
        </p:nvSpPr>
        <p:spPr bwMode="auto">
          <a:xfrm>
            <a:off x="1133301" y="5102436"/>
            <a:ext cx="523876" cy="441325"/>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8" name="Freeform 300"/>
          <p:cNvSpPr>
            <a:spLocks/>
          </p:cNvSpPr>
          <p:nvPr userDrawn="1"/>
        </p:nvSpPr>
        <p:spPr bwMode="auto">
          <a:xfrm>
            <a:off x="1178547" y="3719966"/>
            <a:ext cx="433387" cy="433388"/>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9" name="Freeform 179"/>
          <p:cNvSpPr>
            <a:spLocks/>
          </p:cNvSpPr>
          <p:nvPr userDrawn="1"/>
        </p:nvSpPr>
        <p:spPr bwMode="auto">
          <a:xfrm>
            <a:off x="2545294" y="1160077"/>
            <a:ext cx="520700" cy="523875"/>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0" name="Freeform 221"/>
          <p:cNvSpPr>
            <a:spLocks/>
          </p:cNvSpPr>
          <p:nvPr userDrawn="1"/>
        </p:nvSpPr>
        <p:spPr bwMode="auto">
          <a:xfrm>
            <a:off x="2561958" y="4446885"/>
            <a:ext cx="487364" cy="428625"/>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1" name="Freeform 267"/>
          <p:cNvSpPr>
            <a:spLocks/>
          </p:cNvSpPr>
          <p:nvPr userDrawn="1"/>
        </p:nvSpPr>
        <p:spPr bwMode="auto">
          <a:xfrm>
            <a:off x="2550845" y="2387033"/>
            <a:ext cx="509589" cy="509587"/>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2" name="Freeform 276"/>
          <p:cNvSpPr>
            <a:spLocks/>
          </p:cNvSpPr>
          <p:nvPr userDrawn="1"/>
        </p:nvSpPr>
        <p:spPr bwMode="auto">
          <a:xfrm>
            <a:off x="2561963" y="2991761"/>
            <a:ext cx="487362" cy="512763"/>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3" name="Freeform 280"/>
          <p:cNvSpPr>
            <a:spLocks noEditPoints="1"/>
          </p:cNvSpPr>
          <p:nvPr userDrawn="1"/>
        </p:nvSpPr>
        <p:spPr bwMode="auto">
          <a:xfrm>
            <a:off x="2546090" y="1762823"/>
            <a:ext cx="519113" cy="48260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4" name="Freeform 316"/>
          <p:cNvSpPr>
            <a:spLocks/>
          </p:cNvSpPr>
          <p:nvPr userDrawn="1"/>
        </p:nvSpPr>
        <p:spPr bwMode="auto">
          <a:xfrm>
            <a:off x="2542114" y="5070689"/>
            <a:ext cx="527049" cy="504825"/>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5" name="Freeform 341"/>
          <p:cNvSpPr>
            <a:spLocks/>
          </p:cNvSpPr>
          <p:nvPr userDrawn="1"/>
        </p:nvSpPr>
        <p:spPr bwMode="auto">
          <a:xfrm>
            <a:off x="2548465" y="3718388"/>
            <a:ext cx="514350" cy="436563"/>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6" name="Freeform 155"/>
          <p:cNvSpPr>
            <a:spLocks/>
          </p:cNvSpPr>
          <p:nvPr userDrawn="1"/>
        </p:nvSpPr>
        <p:spPr bwMode="auto">
          <a:xfrm>
            <a:off x="3199295" y="1190233"/>
            <a:ext cx="438150" cy="463551"/>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27" name="Freeform 238"/>
          <p:cNvSpPr>
            <a:spLocks/>
          </p:cNvSpPr>
          <p:nvPr userDrawn="1"/>
        </p:nvSpPr>
        <p:spPr bwMode="auto">
          <a:xfrm>
            <a:off x="3154845" y="4423073"/>
            <a:ext cx="527049" cy="476249"/>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8" name="Freeform 284"/>
          <p:cNvSpPr>
            <a:spLocks/>
          </p:cNvSpPr>
          <p:nvPr userDrawn="1"/>
        </p:nvSpPr>
        <p:spPr bwMode="auto">
          <a:xfrm>
            <a:off x="3262797" y="1795367"/>
            <a:ext cx="311150" cy="417512"/>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9" name="Freeform 288"/>
          <p:cNvSpPr>
            <a:spLocks/>
          </p:cNvSpPr>
          <p:nvPr userDrawn="1"/>
        </p:nvSpPr>
        <p:spPr bwMode="auto">
          <a:xfrm>
            <a:off x="3185802" y="2421155"/>
            <a:ext cx="465138" cy="441324"/>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30" name="Freeform 304"/>
          <p:cNvSpPr>
            <a:spLocks noEditPoints="1"/>
          </p:cNvSpPr>
          <p:nvPr userDrawn="1"/>
        </p:nvSpPr>
        <p:spPr bwMode="auto">
          <a:xfrm>
            <a:off x="3220728" y="2998905"/>
            <a:ext cx="395288" cy="498475"/>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31" name="Freeform 337"/>
          <p:cNvSpPr>
            <a:spLocks noEditPoints="1"/>
          </p:cNvSpPr>
          <p:nvPr userDrawn="1"/>
        </p:nvSpPr>
        <p:spPr bwMode="auto">
          <a:xfrm>
            <a:off x="3168339" y="3678690"/>
            <a:ext cx="500062" cy="515939"/>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32" name="Freeform 353"/>
          <p:cNvSpPr>
            <a:spLocks/>
          </p:cNvSpPr>
          <p:nvPr userDrawn="1"/>
        </p:nvSpPr>
        <p:spPr bwMode="auto">
          <a:xfrm>
            <a:off x="3181042" y="5101645"/>
            <a:ext cx="474663" cy="442913"/>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33" name="Freeform 365"/>
          <p:cNvSpPr>
            <a:spLocks/>
          </p:cNvSpPr>
          <p:nvPr userDrawn="1"/>
        </p:nvSpPr>
        <p:spPr bwMode="auto">
          <a:xfrm>
            <a:off x="4852549" y="1785047"/>
            <a:ext cx="220663" cy="442912"/>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grpSp>
        <p:nvGrpSpPr>
          <p:cNvPr id="3" name="Group 214"/>
          <p:cNvGrpSpPr>
            <a:grpSpLocks noChangeAspect="1"/>
          </p:cNvGrpSpPr>
          <p:nvPr userDrawn="1"/>
        </p:nvGrpSpPr>
        <p:grpSpPr bwMode="auto">
          <a:xfrm>
            <a:off x="3835964" y="4300834"/>
            <a:ext cx="390281" cy="553711"/>
            <a:chOff x="1257" y="2375"/>
            <a:chExt cx="320" cy="454"/>
          </a:xfrm>
          <a:solidFill>
            <a:schemeClr val="bg1"/>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8" name="Freeform 259"/>
          <p:cNvSpPr>
            <a:spLocks noEditPoints="1"/>
          </p:cNvSpPr>
          <p:nvPr userDrawn="1"/>
        </p:nvSpPr>
        <p:spPr bwMode="auto">
          <a:xfrm>
            <a:off x="3767576" y="1210877"/>
            <a:ext cx="527049" cy="422275"/>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39" name="Freeform 292"/>
          <p:cNvSpPr>
            <a:spLocks/>
          </p:cNvSpPr>
          <p:nvPr userDrawn="1"/>
        </p:nvSpPr>
        <p:spPr bwMode="auto">
          <a:xfrm>
            <a:off x="3771548" y="2996515"/>
            <a:ext cx="519111" cy="503239"/>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0" name="Freeform 325"/>
          <p:cNvSpPr>
            <a:spLocks/>
          </p:cNvSpPr>
          <p:nvPr userDrawn="1"/>
        </p:nvSpPr>
        <p:spPr bwMode="auto">
          <a:xfrm>
            <a:off x="3802503" y="1745364"/>
            <a:ext cx="457200" cy="517525"/>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1" name="Freeform 329"/>
          <p:cNvSpPr>
            <a:spLocks/>
          </p:cNvSpPr>
          <p:nvPr userDrawn="1"/>
        </p:nvSpPr>
        <p:spPr bwMode="auto">
          <a:xfrm>
            <a:off x="3774722" y="2433072"/>
            <a:ext cx="512762" cy="417513"/>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2" name="Freeform 381"/>
          <p:cNvSpPr>
            <a:spLocks/>
          </p:cNvSpPr>
          <p:nvPr userDrawn="1"/>
        </p:nvSpPr>
        <p:spPr bwMode="auto">
          <a:xfrm>
            <a:off x="3794567" y="3677907"/>
            <a:ext cx="473075" cy="517525"/>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3" name="Freeform 410"/>
          <p:cNvSpPr>
            <a:spLocks noEditPoints="1"/>
          </p:cNvSpPr>
          <p:nvPr userDrawn="1"/>
        </p:nvSpPr>
        <p:spPr bwMode="auto">
          <a:xfrm>
            <a:off x="3805675" y="5098470"/>
            <a:ext cx="450851" cy="449263"/>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4" name="Freeform 255"/>
          <p:cNvSpPr>
            <a:spLocks/>
          </p:cNvSpPr>
          <p:nvPr userDrawn="1"/>
        </p:nvSpPr>
        <p:spPr bwMode="auto">
          <a:xfrm>
            <a:off x="4380307" y="1105308"/>
            <a:ext cx="603250" cy="633413"/>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5" name="Freeform 312"/>
          <p:cNvSpPr>
            <a:spLocks/>
          </p:cNvSpPr>
          <p:nvPr userDrawn="1"/>
        </p:nvSpPr>
        <p:spPr bwMode="auto">
          <a:xfrm>
            <a:off x="4454129" y="4434185"/>
            <a:ext cx="455613" cy="454025"/>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6" name="Freeform 333"/>
          <p:cNvSpPr>
            <a:spLocks/>
          </p:cNvSpPr>
          <p:nvPr userDrawn="1"/>
        </p:nvSpPr>
        <p:spPr bwMode="auto">
          <a:xfrm>
            <a:off x="4447782" y="3013183"/>
            <a:ext cx="468311" cy="469900"/>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47" name="Freeform 361"/>
          <p:cNvSpPr>
            <a:spLocks noEditPoints="1"/>
          </p:cNvSpPr>
          <p:nvPr userDrawn="1"/>
        </p:nvSpPr>
        <p:spPr bwMode="auto">
          <a:xfrm>
            <a:off x="4581134" y="1746158"/>
            <a:ext cx="201613" cy="515937"/>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8" name="Freeform 377"/>
          <p:cNvSpPr>
            <a:spLocks/>
          </p:cNvSpPr>
          <p:nvPr userDrawn="1"/>
        </p:nvSpPr>
        <p:spPr bwMode="auto">
          <a:xfrm>
            <a:off x="4475557" y="2382272"/>
            <a:ext cx="412750" cy="519113"/>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49" name="Freeform 393"/>
          <p:cNvSpPr>
            <a:spLocks/>
          </p:cNvSpPr>
          <p:nvPr userDrawn="1"/>
        </p:nvSpPr>
        <p:spPr bwMode="auto">
          <a:xfrm>
            <a:off x="4424757" y="5181017"/>
            <a:ext cx="514350" cy="284163"/>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50" name="Freeform 433"/>
          <p:cNvSpPr>
            <a:spLocks/>
          </p:cNvSpPr>
          <p:nvPr userDrawn="1"/>
        </p:nvSpPr>
        <p:spPr bwMode="auto">
          <a:xfrm>
            <a:off x="4532707" y="3676310"/>
            <a:ext cx="298450" cy="520700"/>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51" name="Freeform 251"/>
          <p:cNvSpPr>
            <a:spLocks/>
          </p:cNvSpPr>
          <p:nvPr userDrawn="1"/>
        </p:nvSpPr>
        <p:spPr bwMode="auto">
          <a:xfrm>
            <a:off x="5070032" y="1189437"/>
            <a:ext cx="514350" cy="465139"/>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52" name="Freeform 345"/>
          <p:cNvSpPr>
            <a:spLocks/>
          </p:cNvSpPr>
          <p:nvPr userDrawn="1"/>
        </p:nvSpPr>
        <p:spPr bwMode="auto">
          <a:xfrm>
            <a:off x="5069239" y="3083033"/>
            <a:ext cx="515938" cy="33020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53" name="Freeform 349"/>
          <p:cNvSpPr>
            <a:spLocks/>
          </p:cNvSpPr>
          <p:nvPr userDrawn="1"/>
        </p:nvSpPr>
        <p:spPr bwMode="auto">
          <a:xfrm>
            <a:off x="5135913" y="4398457"/>
            <a:ext cx="382588" cy="525463"/>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54" name="Freeform 369"/>
          <p:cNvSpPr>
            <a:spLocks/>
          </p:cNvSpPr>
          <p:nvPr userDrawn="1"/>
        </p:nvSpPr>
        <p:spPr bwMode="auto">
          <a:xfrm>
            <a:off x="5251008" y="2397343"/>
            <a:ext cx="152400" cy="488951"/>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grpSp>
        <p:nvGrpSpPr>
          <p:cNvPr id="34" name="Group 54"/>
          <p:cNvGrpSpPr/>
          <p:nvPr userDrawn="1"/>
        </p:nvGrpSpPr>
        <p:grpSpPr>
          <a:xfrm>
            <a:off x="5093851" y="5090521"/>
            <a:ext cx="466725" cy="465139"/>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Line 404"/>
            <p:cNvSpPr>
              <a:spLocks noChangeShapeType="1"/>
            </p:cNvSpPr>
            <p:nvPr/>
          </p:nvSpPr>
          <p:spPr bwMode="auto">
            <a:xfrm flipH="1">
              <a:off x="5492751" y="5551488"/>
              <a:ext cx="7938"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Line 405"/>
            <p:cNvSpPr>
              <a:spLocks noChangeShapeType="1"/>
            </p:cNvSpPr>
            <p:nvPr/>
          </p:nvSpPr>
          <p:spPr bwMode="auto">
            <a:xfrm>
              <a:off x="5500688" y="5551488"/>
              <a:ext cx="57150" cy="254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1" name="Freeform 441"/>
          <p:cNvSpPr>
            <a:spLocks/>
          </p:cNvSpPr>
          <p:nvPr userDrawn="1"/>
        </p:nvSpPr>
        <p:spPr bwMode="auto">
          <a:xfrm>
            <a:off x="5182750" y="1746153"/>
            <a:ext cx="288925" cy="515939"/>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2" name="Freeform 497"/>
          <p:cNvSpPr>
            <a:spLocks noEditPoints="1"/>
          </p:cNvSpPr>
          <p:nvPr userDrawn="1"/>
        </p:nvSpPr>
        <p:spPr bwMode="auto">
          <a:xfrm>
            <a:off x="5073208" y="3772363"/>
            <a:ext cx="508001" cy="328613"/>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3" name="Freeform 263"/>
          <p:cNvSpPr>
            <a:spLocks/>
          </p:cNvSpPr>
          <p:nvPr userDrawn="1"/>
        </p:nvSpPr>
        <p:spPr bwMode="auto">
          <a:xfrm>
            <a:off x="5732774" y="1160863"/>
            <a:ext cx="409575" cy="522288"/>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4" name="Freeform 357"/>
          <p:cNvSpPr>
            <a:spLocks/>
          </p:cNvSpPr>
          <p:nvPr userDrawn="1"/>
        </p:nvSpPr>
        <p:spPr bwMode="auto">
          <a:xfrm>
            <a:off x="5670857" y="4389732"/>
            <a:ext cx="533400" cy="542925"/>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5" name="Freeform 373"/>
          <p:cNvSpPr>
            <a:spLocks/>
          </p:cNvSpPr>
          <p:nvPr userDrawn="1"/>
        </p:nvSpPr>
        <p:spPr bwMode="auto">
          <a:xfrm>
            <a:off x="5751824" y="2381467"/>
            <a:ext cx="371475" cy="520700"/>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6" name="Freeform 429"/>
          <p:cNvSpPr>
            <a:spLocks/>
          </p:cNvSpPr>
          <p:nvPr userDrawn="1"/>
        </p:nvSpPr>
        <p:spPr bwMode="auto">
          <a:xfrm>
            <a:off x="5722456" y="3090980"/>
            <a:ext cx="430213" cy="314325"/>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7" name="Freeform 445"/>
          <p:cNvSpPr>
            <a:spLocks noEditPoints="1"/>
          </p:cNvSpPr>
          <p:nvPr userDrawn="1"/>
        </p:nvSpPr>
        <p:spPr bwMode="auto">
          <a:xfrm>
            <a:off x="5685938" y="1744570"/>
            <a:ext cx="503238" cy="519113"/>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8" name="Freeform 485"/>
          <p:cNvSpPr>
            <a:spLocks/>
          </p:cNvSpPr>
          <p:nvPr userDrawn="1"/>
        </p:nvSpPr>
        <p:spPr bwMode="auto">
          <a:xfrm>
            <a:off x="5680382" y="3815216"/>
            <a:ext cx="514350" cy="242888"/>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69" name="Freeform 505"/>
          <p:cNvSpPr>
            <a:spLocks/>
          </p:cNvSpPr>
          <p:nvPr userDrawn="1"/>
        </p:nvSpPr>
        <p:spPr bwMode="auto">
          <a:xfrm>
            <a:off x="5688320" y="5100047"/>
            <a:ext cx="498474" cy="446088"/>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0" name="Freeform 167"/>
          <p:cNvSpPr>
            <a:spLocks/>
          </p:cNvSpPr>
          <p:nvPr userDrawn="1"/>
        </p:nvSpPr>
        <p:spPr bwMode="auto">
          <a:xfrm>
            <a:off x="6303433" y="1163252"/>
            <a:ext cx="490538" cy="517525"/>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1" name="Freeform 385"/>
          <p:cNvSpPr>
            <a:spLocks noEditPoints="1"/>
          </p:cNvSpPr>
          <p:nvPr userDrawn="1"/>
        </p:nvSpPr>
        <p:spPr bwMode="auto">
          <a:xfrm>
            <a:off x="6292321" y="4427029"/>
            <a:ext cx="512762" cy="468312"/>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2" name="Freeform 437"/>
          <p:cNvSpPr>
            <a:spLocks/>
          </p:cNvSpPr>
          <p:nvPr userDrawn="1"/>
        </p:nvSpPr>
        <p:spPr bwMode="auto">
          <a:xfrm>
            <a:off x="6341535" y="2391797"/>
            <a:ext cx="414337" cy="500063"/>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3" name="Freeform 453"/>
          <p:cNvSpPr>
            <a:spLocks/>
          </p:cNvSpPr>
          <p:nvPr userDrawn="1"/>
        </p:nvSpPr>
        <p:spPr bwMode="auto">
          <a:xfrm>
            <a:off x="6289940" y="1835058"/>
            <a:ext cx="517527" cy="338137"/>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4" name="Freeform 461"/>
          <p:cNvSpPr>
            <a:spLocks noEditPoints="1"/>
          </p:cNvSpPr>
          <p:nvPr userDrawn="1"/>
        </p:nvSpPr>
        <p:spPr bwMode="auto">
          <a:xfrm>
            <a:off x="6392333" y="2995732"/>
            <a:ext cx="312739" cy="504825"/>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5" name="Freeform 489"/>
          <p:cNvSpPr>
            <a:spLocks/>
          </p:cNvSpPr>
          <p:nvPr userDrawn="1"/>
        </p:nvSpPr>
        <p:spPr bwMode="auto">
          <a:xfrm>
            <a:off x="6289940" y="3765210"/>
            <a:ext cx="517527" cy="342900"/>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6" name="Freeform 509"/>
          <p:cNvSpPr>
            <a:spLocks/>
          </p:cNvSpPr>
          <p:nvPr userDrawn="1"/>
        </p:nvSpPr>
        <p:spPr bwMode="auto">
          <a:xfrm>
            <a:off x="6328041" y="5200861"/>
            <a:ext cx="441325" cy="244475"/>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77" name="Freeform 296"/>
          <p:cNvSpPr>
            <a:spLocks/>
          </p:cNvSpPr>
          <p:nvPr userDrawn="1"/>
        </p:nvSpPr>
        <p:spPr bwMode="auto">
          <a:xfrm>
            <a:off x="6893146" y="1160863"/>
            <a:ext cx="525463" cy="522288"/>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8" name="Freeform 397"/>
          <p:cNvSpPr>
            <a:spLocks noEditPoints="1"/>
          </p:cNvSpPr>
          <p:nvPr userDrawn="1"/>
        </p:nvSpPr>
        <p:spPr bwMode="auto">
          <a:xfrm>
            <a:off x="6963790" y="4400041"/>
            <a:ext cx="384175" cy="522288"/>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79" name="Freeform 449"/>
          <p:cNvSpPr>
            <a:spLocks/>
          </p:cNvSpPr>
          <p:nvPr userDrawn="1"/>
        </p:nvSpPr>
        <p:spPr bwMode="auto">
          <a:xfrm>
            <a:off x="7020938" y="2386231"/>
            <a:ext cx="269876" cy="511175"/>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80" name="Freeform 469"/>
          <p:cNvSpPr>
            <a:spLocks/>
          </p:cNvSpPr>
          <p:nvPr userDrawn="1"/>
        </p:nvSpPr>
        <p:spPr bwMode="auto">
          <a:xfrm>
            <a:off x="6898701" y="1839820"/>
            <a:ext cx="514350" cy="328613"/>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81" name="Freeform 477"/>
          <p:cNvSpPr>
            <a:spLocks noEditPoints="1"/>
          </p:cNvSpPr>
          <p:nvPr userDrawn="1"/>
        </p:nvSpPr>
        <p:spPr bwMode="auto">
          <a:xfrm>
            <a:off x="6893943" y="3112413"/>
            <a:ext cx="523876" cy="271463"/>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91" name="Freeform 552"/>
          <p:cNvSpPr>
            <a:spLocks/>
          </p:cNvSpPr>
          <p:nvPr userDrawn="1"/>
        </p:nvSpPr>
        <p:spPr bwMode="auto">
          <a:xfrm>
            <a:off x="6984425" y="5076245"/>
            <a:ext cx="342900" cy="493713"/>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grpSp>
        <p:nvGrpSpPr>
          <p:cNvPr id="82" name="Group 319"/>
          <p:cNvGrpSpPr>
            <a:grpSpLocks noChangeAspect="1"/>
          </p:cNvGrpSpPr>
          <p:nvPr userDrawn="1"/>
        </p:nvGrpSpPr>
        <p:grpSpPr bwMode="auto">
          <a:xfrm>
            <a:off x="7631290" y="1168808"/>
            <a:ext cx="266700" cy="506413"/>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5" name="Freeform 389"/>
          <p:cNvSpPr>
            <a:spLocks/>
          </p:cNvSpPr>
          <p:nvPr userDrawn="1"/>
        </p:nvSpPr>
        <p:spPr bwMode="auto">
          <a:xfrm>
            <a:off x="7549539" y="4511960"/>
            <a:ext cx="430213" cy="298451"/>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96" name="Freeform 457"/>
          <p:cNvSpPr>
            <a:spLocks noEditPoints="1"/>
          </p:cNvSpPr>
          <p:nvPr userDrawn="1"/>
        </p:nvSpPr>
        <p:spPr bwMode="auto">
          <a:xfrm>
            <a:off x="7596362" y="2405289"/>
            <a:ext cx="336550" cy="473075"/>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97" name="Freeform 465"/>
          <p:cNvSpPr>
            <a:spLocks/>
          </p:cNvSpPr>
          <p:nvPr userDrawn="1"/>
        </p:nvSpPr>
        <p:spPr bwMode="auto">
          <a:xfrm>
            <a:off x="7504290" y="1737426"/>
            <a:ext cx="520700" cy="53340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98" name="Freeform 481"/>
          <p:cNvSpPr>
            <a:spLocks/>
          </p:cNvSpPr>
          <p:nvPr userDrawn="1"/>
        </p:nvSpPr>
        <p:spPr bwMode="auto">
          <a:xfrm>
            <a:off x="7524928" y="2999701"/>
            <a:ext cx="479424" cy="496887"/>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99" name="Freeform 537"/>
          <p:cNvSpPr>
            <a:spLocks noEditPoints="1"/>
          </p:cNvSpPr>
          <p:nvPr userDrawn="1"/>
        </p:nvSpPr>
        <p:spPr bwMode="auto">
          <a:xfrm>
            <a:off x="7582872" y="3681876"/>
            <a:ext cx="363539" cy="509587"/>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0" name="Freeform 556"/>
          <p:cNvSpPr>
            <a:spLocks/>
          </p:cNvSpPr>
          <p:nvPr userDrawn="1"/>
        </p:nvSpPr>
        <p:spPr bwMode="auto">
          <a:xfrm>
            <a:off x="7534454" y="5128621"/>
            <a:ext cx="460375" cy="388939"/>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1" name="Freeform 163"/>
          <p:cNvSpPr>
            <a:spLocks/>
          </p:cNvSpPr>
          <p:nvPr userDrawn="1"/>
        </p:nvSpPr>
        <p:spPr bwMode="auto">
          <a:xfrm>
            <a:off x="8135280" y="1183096"/>
            <a:ext cx="474662" cy="477837"/>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102" name="Freeform 425"/>
          <p:cNvSpPr>
            <a:spLocks/>
          </p:cNvSpPr>
          <p:nvPr userDrawn="1"/>
        </p:nvSpPr>
        <p:spPr bwMode="auto">
          <a:xfrm>
            <a:off x="8170994" y="4488941"/>
            <a:ext cx="403226" cy="344488"/>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103" name="Freeform 473"/>
          <p:cNvSpPr>
            <a:spLocks/>
          </p:cNvSpPr>
          <p:nvPr userDrawn="1"/>
        </p:nvSpPr>
        <p:spPr bwMode="auto">
          <a:xfrm>
            <a:off x="8110674" y="2506097"/>
            <a:ext cx="523876" cy="271463"/>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4" name="Freeform 501"/>
          <p:cNvSpPr>
            <a:spLocks/>
          </p:cNvSpPr>
          <p:nvPr userDrawn="1"/>
        </p:nvSpPr>
        <p:spPr bwMode="auto">
          <a:xfrm>
            <a:off x="8115432" y="3068757"/>
            <a:ext cx="514350" cy="358775"/>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5" name="Freeform 521"/>
          <p:cNvSpPr>
            <a:spLocks/>
          </p:cNvSpPr>
          <p:nvPr userDrawn="1"/>
        </p:nvSpPr>
        <p:spPr bwMode="auto">
          <a:xfrm>
            <a:off x="8192432" y="1835058"/>
            <a:ext cx="360363" cy="338137"/>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6" name="Freeform 560"/>
          <p:cNvSpPr>
            <a:spLocks/>
          </p:cNvSpPr>
          <p:nvPr userDrawn="1"/>
        </p:nvSpPr>
        <p:spPr bwMode="auto">
          <a:xfrm>
            <a:off x="8246407" y="5065121"/>
            <a:ext cx="252413" cy="515939"/>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7" name="Freeform 580"/>
          <p:cNvSpPr>
            <a:spLocks/>
          </p:cNvSpPr>
          <p:nvPr userDrawn="1"/>
        </p:nvSpPr>
        <p:spPr bwMode="auto">
          <a:xfrm>
            <a:off x="8124167" y="3689010"/>
            <a:ext cx="496888" cy="495300"/>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8" name="Freeform 159"/>
          <p:cNvSpPr>
            <a:spLocks/>
          </p:cNvSpPr>
          <p:nvPr userDrawn="1"/>
        </p:nvSpPr>
        <p:spPr bwMode="auto">
          <a:xfrm>
            <a:off x="1745239" y="1165625"/>
            <a:ext cx="711201" cy="512763"/>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9" name="Freeform 226"/>
          <p:cNvSpPr>
            <a:spLocks/>
          </p:cNvSpPr>
          <p:nvPr userDrawn="1"/>
        </p:nvSpPr>
        <p:spPr bwMode="auto">
          <a:xfrm>
            <a:off x="1845248" y="4401641"/>
            <a:ext cx="511175" cy="519113"/>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3" name="Freeform 247"/>
          <p:cNvSpPr>
            <a:spLocks/>
          </p:cNvSpPr>
          <p:nvPr userDrawn="1"/>
        </p:nvSpPr>
        <p:spPr bwMode="auto">
          <a:xfrm>
            <a:off x="1892878" y="2385445"/>
            <a:ext cx="415925" cy="512763"/>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grpSp>
        <p:nvGrpSpPr>
          <p:cNvPr id="110" name="Group 270"/>
          <p:cNvGrpSpPr>
            <a:grpSpLocks noChangeAspect="1"/>
          </p:cNvGrpSpPr>
          <p:nvPr userDrawn="1"/>
        </p:nvGrpSpPr>
        <p:grpSpPr bwMode="auto">
          <a:xfrm>
            <a:off x="1885733" y="3016359"/>
            <a:ext cx="430213" cy="463551"/>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17" name="Freeform 308"/>
          <p:cNvSpPr>
            <a:spLocks/>
          </p:cNvSpPr>
          <p:nvPr userDrawn="1"/>
        </p:nvSpPr>
        <p:spPr bwMode="auto">
          <a:xfrm>
            <a:off x="1842866" y="3673134"/>
            <a:ext cx="515938" cy="527051"/>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8" name="Freeform 636"/>
          <p:cNvSpPr>
            <a:spLocks/>
          </p:cNvSpPr>
          <p:nvPr userDrawn="1"/>
        </p:nvSpPr>
        <p:spPr bwMode="auto">
          <a:xfrm>
            <a:off x="1876997" y="1780287"/>
            <a:ext cx="447674" cy="447672"/>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9" name="Freeform 147"/>
          <p:cNvSpPr>
            <a:spLocks noEditPoints="1"/>
          </p:cNvSpPr>
          <p:nvPr userDrawn="1"/>
        </p:nvSpPr>
        <p:spPr bwMode="auto">
          <a:xfrm>
            <a:off x="8732925" y="1162461"/>
            <a:ext cx="492125" cy="519113"/>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20" name="Freeform 421"/>
          <p:cNvSpPr>
            <a:spLocks noEditPoints="1"/>
          </p:cNvSpPr>
          <p:nvPr userDrawn="1"/>
        </p:nvSpPr>
        <p:spPr bwMode="auto">
          <a:xfrm>
            <a:off x="8796432" y="4405610"/>
            <a:ext cx="365125" cy="511175"/>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21" name="Freeform 533"/>
          <p:cNvSpPr>
            <a:spLocks/>
          </p:cNvSpPr>
          <p:nvPr userDrawn="1"/>
        </p:nvSpPr>
        <p:spPr bwMode="auto">
          <a:xfrm>
            <a:off x="8720227" y="3086209"/>
            <a:ext cx="517527" cy="323851"/>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22" name="Freeform 568"/>
          <p:cNvSpPr>
            <a:spLocks/>
          </p:cNvSpPr>
          <p:nvPr userDrawn="1"/>
        </p:nvSpPr>
        <p:spPr bwMode="auto">
          <a:xfrm>
            <a:off x="8754363" y="5098470"/>
            <a:ext cx="449263" cy="449263"/>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23" name="Freeform 572"/>
          <p:cNvSpPr>
            <a:spLocks/>
          </p:cNvSpPr>
          <p:nvPr userDrawn="1"/>
        </p:nvSpPr>
        <p:spPr bwMode="auto">
          <a:xfrm>
            <a:off x="8749595" y="3741407"/>
            <a:ext cx="458788" cy="390525"/>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24" name="Freeform 632"/>
          <p:cNvSpPr>
            <a:spLocks/>
          </p:cNvSpPr>
          <p:nvPr userDrawn="1"/>
        </p:nvSpPr>
        <p:spPr bwMode="auto">
          <a:xfrm>
            <a:off x="8837701" y="2499745"/>
            <a:ext cx="282574" cy="284163"/>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25" name="Freeform 640"/>
          <p:cNvSpPr>
            <a:spLocks noEditPoints="1"/>
          </p:cNvSpPr>
          <p:nvPr userDrawn="1"/>
        </p:nvSpPr>
        <p:spPr bwMode="auto">
          <a:xfrm>
            <a:off x="8838492" y="1818389"/>
            <a:ext cx="280988" cy="371475"/>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grpSp>
        <p:nvGrpSpPr>
          <p:cNvPr id="114" name="Group 413"/>
          <p:cNvGrpSpPr>
            <a:grpSpLocks noChangeAspect="1"/>
          </p:cNvGrpSpPr>
          <p:nvPr userDrawn="1"/>
        </p:nvGrpSpPr>
        <p:grpSpPr bwMode="auto">
          <a:xfrm>
            <a:off x="9352800" y="4510385"/>
            <a:ext cx="457200" cy="301625"/>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Line 415"/>
            <p:cNvSpPr>
              <a:spLocks noChangeShapeType="1"/>
            </p:cNvSpPr>
            <p:nvPr/>
          </p:nvSpPr>
          <p:spPr bwMode="auto">
            <a:xfrm flipH="1" flipV="1">
              <a:off x="4232" y="3235"/>
              <a:ext cx="20" cy="19"/>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Line 416"/>
            <p:cNvSpPr>
              <a:spLocks noChangeShapeType="1"/>
            </p:cNvSpPr>
            <p:nvPr/>
          </p:nvSpPr>
          <p:spPr bwMode="auto">
            <a:xfrm flipV="1">
              <a:off x="4335" y="3192"/>
              <a:ext cx="1" cy="2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Line 417"/>
            <p:cNvSpPr>
              <a:spLocks noChangeShapeType="1"/>
            </p:cNvSpPr>
            <p:nvPr/>
          </p:nvSpPr>
          <p:spPr bwMode="auto">
            <a:xfrm flipV="1">
              <a:off x="4424" y="3235"/>
              <a:ext cx="17" cy="21"/>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31" name="Freeform 513"/>
          <p:cNvSpPr>
            <a:spLocks/>
          </p:cNvSpPr>
          <p:nvPr userDrawn="1"/>
        </p:nvSpPr>
        <p:spPr bwMode="auto">
          <a:xfrm>
            <a:off x="9328196" y="2448143"/>
            <a:ext cx="506412" cy="387351"/>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2" name="Freeform 517"/>
          <p:cNvSpPr>
            <a:spLocks noEditPoints="1"/>
          </p:cNvSpPr>
          <p:nvPr userDrawn="1"/>
        </p:nvSpPr>
        <p:spPr bwMode="auto">
          <a:xfrm>
            <a:off x="9425032" y="1183089"/>
            <a:ext cx="312739" cy="477839"/>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3" name="Freeform 564"/>
          <p:cNvSpPr>
            <a:spLocks/>
          </p:cNvSpPr>
          <p:nvPr userDrawn="1"/>
        </p:nvSpPr>
        <p:spPr bwMode="auto">
          <a:xfrm>
            <a:off x="9382171" y="5161970"/>
            <a:ext cx="398462" cy="322263"/>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4" name="Freeform 584"/>
          <p:cNvSpPr>
            <a:spLocks/>
          </p:cNvSpPr>
          <p:nvPr userDrawn="1"/>
        </p:nvSpPr>
        <p:spPr bwMode="auto">
          <a:xfrm>
            <a:off x="9399632" y="3681876"/>
            <a:ext cx="363539" cy="509587"/>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5" name="Freeform 592"/>
          <p:cNvSpPr>
            <a:spLocks/>
          </p:cNvSpPr>
          <p:nvPr userDrawn="1"/>
        </p:nvSpPr>
        <p:spPr bwMode="auto">
          <a:xfrm>
            <a:off x="9323431" y="3061603"/>
            <a:ext cx="515938" cy="373063"/>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6" name="Freeform 644"/>
          <p:cNvSpPr>
            <a:spLocks/>
          </p:cNvSpPr>
          <p:nvPr userDrawn="1"/>
        </p:nvSpPr>
        <p:spPr bwMode="auto">
          <a:xfrm>
            <a:off x="9440113" y="1838231"/>
            <a:ext cx="282574" cy="331788"/>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7" name="Freeform 493"/>
          <p:cNvSpPr>
            <a:spLocks/>
          </p:cNvSpPr>
          <p:nvPr userDrawn="1"/>
        </p:nvSpPr>
        <p:spPr bwMode="auto">
          <a:xfrm>
            <a:off x="10006013" y="4403229"/>
            <a:ext cx="317500" cy="515937"/>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8" name="Freeform 529"/>
          <p:cNvSpPr>
            <a:spLocks noEditPoints="1"/>
          </p:cNvSpPr>
          <p:nvPr userDrawn="1"/>
        </p:nvSpPr>
        <p:spPr bwMode="auto">
          <a:xfrm>
            <a:off x="9975060" y="2498943"/>
            <a:ext cx="379413" cy="285751"/>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39" name="Freeform 588"/>
          <p:cNvSpPr>
            <a:spLocks/>
          </p:cNvSpPr>
          <p:nvPr userDrawn="1"/>
        </p:nvSpPr>
        <p:spPr bwMode="auto">
          <a:xfrm>
            <a:off x="9934577" y="3740614"/>
            <a:ext cx="460375" cy="392113"/>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0" name="Freeform 608"/>
          <p:cNvSpPr>
            <a:spLocks/>
          </p:cNvSpPr>
          <p:nvPr userDrawn="1"/>
        </p:nvSpPr>
        <p:spPr bwMode="auto">
          <a:xfrm>
            <a:off x="9982207" y="5066717"/>
            <a:ext cx="365125" cy="512763"/>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1" name="Freeform 628"/>
          <p:cNvSpPr>
            <a:spLocks/>
          </p:cNvSpPr>
          <p:nvPr userDrawn="1"/>
        </p:nvSpPr>
        <p:spPr bwMode="auto">
          <a:xfrm>
            <a:off x="9925050" y="3066376"/>
            <a:ext cx="479424" cy="363537"/>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2" name="Freeform 648"/>
          <p:cNvSpPr>
            <a:spLocks/>
          </p:cNvSpPr>
          <p:nvPr userDrawn="1"/>
        </p:nvSpPr>
        <p:spPr bwMode="auto">
          <a:xfrm>
            <a:off x="10011569" y="1263258"/>
            <a:ext cx="306388" cy="317500"/>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143" name="Freeform 652"/>
          <p:cNvSpPr>
            <a:spLocks/>
          </p:cNvSpPr>
          <p:nvPr userDrawn="1"/>
        </p:nvSpPr>
        <p:spPr bwMode="auto">
          <a:xfrm>
            <a:off x="9954418" y="1888239"/>
            <a:ext cx="420688" cy="231775"/>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chemeClr val="bg1"/>
          </a:solidFill>
          <a:ln w="1588" cap="flat">
            <a:noFill/>
            <a:prstDash val="solid"/>
            <a:miter lim="800000"/>
            <a:headEnd/>
            <a:tailEnd/>
          </a:ln>
        </p:spPr>
        <p:txBody>
          <a:bodyPr vert="horz" wrap="square" lIns="91432" tIns="45717" rIns="91432" bIns="45717" numCol="1" anchor="t" anchorCtr="0" compatLnSpc="1">
            <a:prstTxWarp prst="textNoShape">
              <a:avLst/>
            </a:prstTxWarp>
          </a:bodyPr>
          <a:lstStyle/>
          <a:p>
            <a:endParaRPr lang="en-US"/>
          </a:p>
        </p:txBody>
      </p:sp>
      <p:sp>
        <p:nvSpPr>
          <p:cNvPr id="144" name="Freeform 525"/>
          <p:cNvSpPr>
            <a:spLocks/>
          </p:cNvSpPr>
          <p:nvPr userDrawn="1"/>
        </p:nvSpPr>
        <p:spPr bwMode="auto">
          <a:xfrm>
            <a:off x="10561591" y="2500541"/>
            <a:ext cx="369888" cy="282575"/>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5" name="Freeform 576"/>
          <p:cNvSpPr>
            <a:spLocks noEditPoints="1"/>
          </p:cNvSpPr>
          <p:nvPr userDrawn="1"/>
        </p:nvSpPr>
        <p:spPr bwMode="auto">
          <a:xfrm>
            <a:off x="10502065" y="4473076"/>
            <a:ext cx="488951" cy="376237"/>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6" name="Freeform 596"/>
          <p:cNvSpPr>
            <a:spLocks noEditPoints="1"/>
          </p:cNvSpPr>
          <p:nvPr userDrawn="1"/>
        </p:nvSpPr>
        <p:spPr bwMode="auto">
          <a:xfrm>
            <a:off x="10513966" y="3677104"/>
            <a:ext cx="465138" cy="519112"/>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7" name="Freeform 604"/>
          <p:cNvSpPr>
            <a:spLocks/>
          </p:cNvSpPr>
          <p:nvPr userDrawn="1"/>
        </p:nvSpPr>
        <p:spPr bwMode="auto">
          <a:xfrm>
            <a:off x="10533022" y="5197689"/>
            <a:ext cx="427037" cy="250825"/>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8" name="Freeform 620"/>
          <p:cNvSpPr>
            <a:spLocks/>
          </p:cNvSpPr>
          <p:nvPr userDrawn="1"/>
        </p:nvSpPr>
        <p:spPr bwMode="auto">
          <a:xfrm>
            <a:off x="10510800" y="3107639"/>
            <a:ext cx="471487" cy="280988"/>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49" name="Freeform 656"/>
          <p:cNvSpPr>
            <a:spLocks/>
          </p:cNvSpPr>
          <p:nvPr userDrawn="1"/>
        </p:nvSpPr>
        <p:spPr bwMode="auto">
          <a:xfrm>
            <a:off x="10490156" y="1748539"/>
            <a:ext cx="512762" cy="511175"/>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50" name="Freeform 660"/>
          <p:cNvSpPr>
            <a:spLocks/>
          </p:cNvSpPr>
          <p:nvPr userDrawn="1"/>
        </p:nvSpPr>
        <p:spPr bwMode="auto">
          <a:xfrm>
            <a:off x="10610013" y="1191033"/>
            <a:ext cx="273050" cy="461963"/>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151" name="Freeform 143"/>
          <p:cNvSpPr>
            <a:spLocks noEditPoints="1"/>
          </p:cNvSpPr>
          <p:nvPr userDrawn="1"/>
        </p:nvSpPr>
        <p:spPr bwMode="auto">
          <a:xfrm>
            <a:off x="11197612" y="5171494"/>
            <a:ext cx="294750" cy="303199"/>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52" name="Freeform 600"/>
          <p:cNvSpPr>
            <a:spLocks/>
          </p:cNvSpPr>
          <p:nvPr userDrawn="1"/>
        </p:nvSpPr>
        <p:spPr bwMode="auto">
          <a:xfrm>
            <a:off x="11088608" y="3816010"/>
            <a:ext cx="512762" cy="241300"/>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53" name="Freeform 612"/>
          <p:cNvSpPr>
            <a:spLocks/>
          </p:cNvSpPr>
          <p:nvPr userDrawn="1"/>
        </p:nvSpPr>
        <p:spPr bwMode="auto">
          <a:xfrm>
            <a:off x="11114799" y="4431010"/>
            <a:ext cx="460376" cy="460375"/>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54" name="Freeform 616"/>
          <p:cNvSpPr>
            <a:spLocks/>
          </p:cNvSpPr>
          <p:nvPr userDrawn="1"/>
        </p:nvSpPr>
        <p:spPr bwMode="auto">
          <a:xfrm>
            <a:off x="11096546" y="3043347"/>
            <a:ext cx="496888" cy="409575"/>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p>
        </p:txBody>
      </p:sp>
      <p:sp>
        <p:nvSpPr>
          <p:cNvPr id="155" name="Freeform 624"/>
          <p:cNvSpPr>
            <a:spLocks/>
          </p:cNvSpPr>
          <p:nvPr userDrawn="1"/>
        </p:nvSpPr>
        <p:spPr bwMode="auto">
          <a:xfrm>
            <a:off x="11115596" y="2407672"/>
            <a:ext cx="458788" cy="468313"/>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56" name="Freeform 664"/>
          <p:cNvSpPr>
            <a:spLocks noEditPoints="1"/>
          </p:cNvSpPr>
          <p:nvPr userDrawn="1"/>
        </p:nvSpPr>
        <p:spPr bwMode="auto">
          <a:xfrm>
            <a:off x="11088608" y="1205314"/>
            <a:ext cx="512762" cy="433388"/>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57" name="Freeform 668"/>
          <p:cNvSpPr>
            <a:spLocks/>
          </p:cNvSpPr>
          <p:nvPr userDrawn="1"/>
        </p:nvSpPr>
        <p:spPr bwMode="auto">
          <a:xfrm>
            <a:off x="11159254" y="1815214"/>
            <a:ext cx="371475" cy="377825"/>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41" name="Freeform 17"/>
          <p:cNvSpPr>
            <a:spLocks noEditPoints="1"/>
          </p:cNvSpPr>
          <p:nvPr userDrawn="1"/>
        </p:nvSpPr>
        <p:spPr bwMode="auto">
          <a:xfrm>
            <a:off x="887415" y="6024573"/>
            <a:ext cx="174625" cy="92075"/>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45" name="Freeform 21"/>
          <p:cNvSpPr>
            <a:spLocks noEditPoints="1"/>
          </p:cNvSpPr>
          <p:nvPr userDrawn="1"/>
        </p:nvSpPr>
        <p:spPr bwMode="auto">
          <a:xfrm>
            <a:off x="1243013" y="6003936"/>
            <a:ext cx="160337" cy="117475"/>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49" name="Freeform 25"/>
          <p:cNvSpPr>
            <a:spLocks/>
          </p:cNvSpPr>
          <p:nvPr userDrawn="1"/>
        </p:nvSpPr>
        <p:spPr bwMode="auto">
          <a:xfrm>
            <a:off x="1579567" y="5995996"/>
            <a:ext cx="171449" cy="147637"/>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53" name="Freeform 29"/>
          <p:cNvSpPr>
            <a:spLocks/>
          </p:cNvSpPr>
          <p:nvPr userDrawn="1"/>
        </p:nvSpPr>
        <p:spPr bwMode="auto">
          <a:xfrm>
            <a:off x="1920882" y="5983296"/>
            <a:ext cx="171449" cy="150813"/>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grpSp>
        <p:nvGrpSpPr>
          <p:cNvPr id="126" name="Group 32"/>
          <p:cNvGrpSpPr>
            <a:grpSpLocks noChangeAspect="1"/>
          </p:cNvGrpSpPr>
          <p:nvPr userDrawn="1"/>
        </p:nvGrpSpPr>
        <p:grpSpPr bwMode="auto">
          <a:xfrm>
            <a:off x="2262188" y="6015045"/>
            <a:ext cx="142875" cy="96839"/>
            <a:chOff x="1425" y="3789"/>
            <a:chExt cx="90" cy="61"/>
          </a:xfrm>
          <a:solidFill>
            <a:schemeClr val="bg1"/>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62" name="Freeform 38"/>
          <p:cNvSpPr>
            <a:spLocks/>
          </p:cNvSpPr>
          <p:nvPr userDrawn="1"/>
        </p:nvSpPr>
        <p:spPr bwMode="auto">
          <a:xfrm>
            <a:off x="2584449" y="6048377"/>
            <a:ext cx="141289" cy="31751"/>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66" name="Freeform 42"/>
          <p:cNvSpPr>
            <a:spLocks/>
          </p:cNvSpPr>
          <p:nvPr userDrawn="1"/>
        </p:nvSpPr>
        <p:spPr bwMode="auto">
          <a:xfrm>
            <a:off x="2901952" y="5992815"/>
            <a:ext cx="142875" cy="144463"/>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grpSp>
        <p:nvGrpSpPr>
          <p:cNvPr id="158" name="Group 45"/>
          <p:cNvGrpSpPr>
            <a:grpSpLocks noChangeAspect="1"/>
          </p:cNvGrpSpPr>
          <p:nvPr userDrawn="1"/>
        </p:nvGrpSpPr>
        <p:grpSpPr bwMode="auto">
          <a:xfrm>
            <a:off x="3222630" y="5999161"/>
            <a:ext cx="134937" cy="131763"/>
            <a:chOff x="2030" y="3779"/>
            <a:chExt cx="85" cy="83"/>
          </a:xfrm>
          <a:solidFill>
            <a:schemeClr val="bg1"/>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59" name="Group 50"/>
          <p:cNvGrpSpPr>
            <a:grpSpLocks noChangeAspect="1"/>
          </p:cNvGrpSpPr>
          <p:nvPr userDrawn="1"/>
        </p:nvGrpSpPr>
        <p:grpSpPr bwMode="auto">
          <a:xfrm>
            <a:off x="3535353" y="5994403"/>
            <a:ext cx="136524" cy="141288"/>
            <a:chOff x="2227" y="3776"/>
            <a:chExt cx="86" cy="89"/>
          </a:xfrm>
          <a:solidFill>
            <a:schemeClr val="bg1"/>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081" name="Freeform 57"/>
          <p:cNvSpPr>
            <a:spLocks/>
          </p:cNvSpPr>
          <p:nvPr userDrawn="1"/>
        </p:nvSpPr>
        <p:spPr bwMode="auto">
          <a:xfrm>
            <a:off x="3856038" y="5995988"/>
            <a:ext cx="109537" cy="138112"/>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85" name="Freeform 61"/>
          <p:cNvSpPr>
            <a:spLocks/>
          </p:cNvSpPr>
          <p:nvPr userDrawn="1"/>
        </p:nvSpPr>
        <p:spPr bwMode="auto">
          <a:xfrm>
            <a:off x="4160842" y="6000761"/>
            <a:ext cx="100013" cy="130175"/>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89" name="Freeform 65"/>
          <p:cNvSpPr>
            <a:spLocks noEditPoints="1"/>
          </p:cNvSpPr>
          <p:nvPr userDrawn="1"/>
        </p:nvSpPr>
        <p:spPr bwMode="auto">
          <a:xfrm>
            <a:off x="4456117" y="6002339"/>
            <a:ext cx="109538" cy="12700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93" name="Freeform 69"/>
          <p:cNvSpPr>
            <a:spLocks/>
          </p:cNvSpPr>
          <p:nvPr userDrawn="1"/>
        </p:nvSpPr>
        <p:spPr bwMode="auto">
          <a:xfrm>
            <a:off x="4764093" y="6002339"/>
            <a:ext cx="96837" cy="12700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097" name="Freeform 73"/>
          <p:cNvSpPr>
            <a:spLocks noEditPoints="1"/>
          </p:cNvSpPr>
          <p:nvPr userDrawn="1"/>
        </p:nvSpPr>
        <p:spPr bwMode="auto">
          <a:xfrm>
            <a:off x="5060950" y="6000761"/>
            <a:ext cx="103188" cy="130175"/>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01" name="Freeform 77"/>
          <p:cNvSpPr>
            <a:spLocks/>
          </p:cNvSpPr>
          <p:nvPr userDrawn="1"/>
        </p:nvSpPr>
        <p:spPr bwMode="auto">
          <a:xfrm>
            <a:off x="5365750" y="6002339"/>
            <a:ext cx="95250" cy="125412"/>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05" name="Freeform 81"/>
          <p:cNvSpPr>
            <a:spLocks noEditPoints="1"/>
          </p:cNvSpPr>
          <p:nvPr userDrawn="1"/>
        </p:nvSpPr>
        <p:spPr bwMode="auto">
          <a:xfrm>
            <a:off x="5662616" y="6000761"/>
            <a:ext cx="103188" cy="130175"/>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09" name="Freeform 85"/>
          <p:cNvSpPr>
            <a:spLocks noEditPoints="1"/>
          </p:cNvSpPr>
          <p:nvPr userDrawn="1"/>
        </p:nvSpPr>
        <p:spPr bwMode="auto">
          <a:xfrm>
            <a:off x="5962650" y="6000761"/>
            <a:ext cx="103188" cy="130175"/>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13" name="Freeform 89"/>
          <p:cNvSpPr>
            <a:spLocks noEditPoints="1"/>
          </p:cNvSpPr>
          <p:nvPr userDrawn="1"/>
        </p:nvSpPr>
        <p:spPr bwMode="auto">
          <a:xfrm>
            <a:off x="6257933" y="5976937"/>
            <a:ext cx="117475" cy="160339"/>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17" name="Freeform 93"/>
          <p:cNvSpPr>
            <a:spLocks/>
          </p:cNvSpPr>
          <p:nvPr userDrawn="1"/>
        </p:nvSpPr>
        <p:spPr bwMode="auto">
          <a:xfrm>
            <a:off x="6559559" y="6000761"/>
            <a:ext cx="112713" cy="130175"/>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21" name="Freeform 97"/>
          <p:cNvSpPr>
            <a:spLocks noEditPoints="1"/>
          </p:cNvSpPr>
          <p:nvPr userDrawn="1"/>
        </p:nvSpPr>
        <p:spPr bwMode="auto">
          <a:xfrm>
            <a:off x="6850069" y="5997576"/>
            <a:ext cx="131763" cy="134939"/>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25" name="Freeform 101"/>
          <p:cNvSpPr>
            <a:spLocks noEditPoints="1"/>
          </p:cNvSpPr>
          <p:nvPr userDrawn="1"/>
        </p:nvSpPr>
        <p:spPr bwMode="auto">
          <a:xfrm>
            <a:off x="7158038" y="6000751"/>
            <a:ext cx="106362" cy="12700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29" name="Freeform 105"/>
          <p:cNvSpPr>
            <a:spLocks/>
          </p:cNvSpPr>
          <p:nvPr userDrawn="1"/>
        </p:nvSpPr>
        <p:spPr bwMode="auto">
          <a:xfrm>
            <a:off x="7453313" y="6000751"/>
            <a:ext cx="95250" cy="125412"/>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33" name="Freeform 109"/>
          <p:cNvSpPr>
            <a:spLocks/>
          </p:cNvSpPr>
          <p:nvPr userDrawn="1"/>
        </p:nvSpPr>
        <p:spPr bwMode="auto">
          <a:xfrm>
            <a:off x="7732720" y="6010275"/>
            <a:ext cx="112713" cy="112712"/>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37" name="Freeform 113"/>
          <p:cNvSpPr>
            <a:spLocks/>
          </p:cNvSpPr>
          <p:nvPr userDrawn="1"/>
        </p:nvSpPr>
        <p:spPr bwMode="auto">
          <a:xfrm>
            <a:off x="8024812" y="5999163"/>
            <a:ext cx="107951" cy="12700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41" name="Freeform 117"/>
          <p:cNvSpPr>
            <a:spLocks/>
          </p:cNvSpPr>
          <p:nvPr userDrawn="1"/>
        </p:nvSpPr>
        <p:spPr bwMode="auto">
          <a:xfrm>
            <a:off x="8310563" y="6000761"/>
            <a:ext cx="107951" cy="130175"/>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45" name="Freeform 121"/>
          <p:cNvSpPr>
            <a:spLocks/>
          </p:cNvSpPr>
          <p:nvPr userDrawn="1"/>
        </p:nvSpPr>
        <p:spPr bwMode="auto">
          <a:xfrm>
            <a:off x="8596318" y="5983298"/>
            <a:ext cx="96837" cy="163513"/>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49" name="Freeform 125"/>
          <p:cNvSpPr>
            <a:spLocks/>
          </p:cNvSpPr>
          <p:nvPr userDrawn="1"/>
        </p:nvSpPr>
        <p:spPr bwMode="auto">
          <a:xfrm>
            <a:off x="8861386" y="6003927"/>
            <a:ext cx="107948" cy="130175"/>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53" name="Freeform 129"/>
          <p:cNvSpPr>
            <a:spLocks noEditPoints="1"/>
          </p:cNvSpPr>
          <p:nvPr userDrawn="1"/>
        </p:nvSpPr>
        <p:spPr bwMode="auto">
          <a:xfrm>
            <a:off x="9142416" y="6002348"/>
            <a:ext cx="85724" cy="128587"/>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57" name="Freeform 133"/>
          <p:cNvSpPr>
            <a:spLocks noEditPoints="1"/>
          </p:cNvSpPr>
          <p:nvPr userDrawn="1"/>
        </p:nvSpPr>
        <p:spPr bwMode="auto">
          <a:xfrm>
            <a:off x="9405943" y="6034089"/>
            <a:ext cx="87311" cy="58739"/>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61" name="Freeform 137"/>
          <p:cNvSpPr>
            <a:spLocks/>
          </p:cNvSpPr>
          <p:nvPr userDrawn="1"/>
        </p:nvSpPr>
        <p:spPr bwMode="auto">
          <a:xfrm>
            <a:off x="9667880" y="5981702"/>
            <a:ext cx="74613" cy="165100"/>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65" name="Freeform 141"/>
          <p:cNvSpPr>
            <a:spLocks/>
          </p:cNvSpPr>
          <p:nvPr userDrawn="1"/>
        </p:nvSpPr>
        <p:spPr bwMode="auto">
          <a:xfrm>
            <a:off x="9923463" y="5980115"/>
            <a:ext cx="74613" cy="165100"/>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69" name="Freeform 145"/>
          <p:cNvSpPr>
            <a:spLocks/>
          </p:cNvSpPr>
          <p:nvPr userDrawn="1"/>
        </p:nvSpPr>
        <p:spPr bwMode="auto">
          <a:xfrm>
            <a:off x="10174296" y="6002339"/>
            <a:ext cx="55563" cy="125412"/>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73" name="Freeform 149"/>
          <p:cNvSpPr>
            <a:spLocks/>
          </p:cNvSpPr>
          <p:nvPr userDrawn="1"/>
        </p:nvSpPr>
        <p:spPr bwMode="auto">
          <a:xfrm>
            <a:off x="10418765" y="5983288"/>
            <a:ext cx="52388" cy="163512"/>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77" name="Freeform 153"/>
          <p:cNvSpPr>
            <a:spLocks/>
          </p:cNvSpPr>
          <p:nvPr userDrawn="1"/>
        </p:nvSpPr>
        <p:spPr bwMode="auto">
          <a:xfrm>
            <a:off x="10650538" y="5981702"/>
            <a:ext cx="52388" cy="165100"/>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81" name="Freeform 157"/>
          <p:cNvSpPr>
            <a:spLocks/>
          </p:cNvSpPr>
          <p:nvPr userDrawn="1"/>
        </p:nvSpPr>
        <p:spPr bwMode="auto">
          <a:xfrm>
            <a:off x="10887075" y="5992813"/>
            <a:ext cx="34926" cy="146051"/>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85" name="Freeform 161"/>
          <p:cNvSpPr>
            <a:spLocks/>
          </p:cNvSpPr>
          <p:nvPr userDrawn="1"/>
        </p:nvSpPr>
        <p:spPr bwMode="auto">
          <a:xfrm>
            <a:off x="11114094" y="5992813"/>
            <a:ext cx="41275" cy="146051"/>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89" name="Freeform 165"/>
          <p:cNvSpPr>
            <a:spLocks noEditPoints="1"/>
          </p:cNvSpPr>
          <p:nvPr userDrawn="1"/>
        </p:nvSpPr>
        <p:spPr bwMode="auto">
          <a:xfrm>
            <a:off x="11333167" y="6000751"/>
            <a:ext cx="34926" cy="12700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193" name="Freeform 169"/>
          <p:cNvSpPr>
            <a:spLocks/>
          </p:cNvSpPr>
          <p:nvPr userDrawn="1"/>
        </p:nvSpPr>
        <p:spPr bwMode="auto">
          <a:xfrm>
            <a:off x="11542713" y="6030915"/>
            <a:ext cx="74613" cy="68263"/>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05" name="Freeform 6"/>
          <p:cNvSpPr>
            <a:spLocks/>
          </p:cNvSpPr>
          <p:nvPr userDrawn="1"/>
        </p:nvSpPr>
        <p:spPr bwMode="auto">
          <a:xfrm>
            <a:off x="1828060" y="5070689"/>
            <a:ext cx="509315" cy="554783"/>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210" name="Freeform 6"/>
          <p:cNvSpPr>
            <a:spLocks/>
          </p:cNvSpPr>
          <p:nvPr userDrawn="1"/>
        </p:nvSpPr>
        <p:spPr bwMode="auto">
          <a:xfrm>
            <a:off x="6935214" y="3718379"/>
            <a:ext cx="544462" cy="3536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dirty="0">
              <a:solidFill>
                <a:srgbClr val="009530"/>
              </a:solidFill>
            </a:endParaRPr>
          </a:p>
        </p:txBody>
      </p:sp>
      <p:sp>
        <p:nvSpPr>
          <p:cNvPr id="197" name="Freeform 9"/>
          <p:cNvSpPr>
            <a:spLocks/>
          </p:cNvSpPr>
          <p:nvPr userDrawn="1"/>
        </p:nvSpPr>
        <p:spPr bwMode="auto">
          <a:xfrm>
            <a:off x="447682" y="5857907"/>
            <a:ext cx="69731" cy="331423"/>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98" name="Freeform 13"/>
          <p:cNvSpPr>
            <a:spLocks/>
          </p:cNvSpPr>
          <p:nvPr userDrawn="1"/>
        </p:nvSpPr>
        <p:spPr bwMode="auto">
          <a:xfrm>
            <a:off x="611753" y="5857907"/>
            <a:ext cx="72465" cy="331423"/>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sp>
        <p:nvSpPr>
          <p:cNvPr id="199" name="TextBox 198"/>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chemeClr val="bg1"/>
                </a:solidFill>
                <a:latin typeface="Arial" pitchFamily="34" charset="0"/>
                <a:cs typeface="Arial" pitchFamily="34" charset="0"/>
              </a:rPr>
              <a:t>Confidential Property of Schneider Electric</a:t>
            </a:r>
          </a:p>
        </p:txBody>
      </p:sp>
      <p:sp>
        <p:nvSpPr>
          <p:cNvPr id="200"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1406363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465" y="5421737"/>
            <a:ext cx="3570927" cy="164148"/>
          </a:xfrm>
          <a:prstGeom prst="rect">
            <a:avLst/>
          </a:prstGeom>
        </p:spPr>
        <p:txBody>
          <a:bodyPr lIns="0" tIns="0" rIns="0" bIns="0" anchor="b" anchorCtr="0">
            <a:noAutofit/>
          </a:bodyPr>
          <a:lstStyle>
            <a:lvl1pPr marL="21160" indent="0">
              <a:buNone/>
              <a:defRPr sz="1066" baseline="0">
                <a:solidFill>
                  <a:srgbClr val="8E8F93"/>
                </a:solidFill>
              </a:defRPr>
            </a:lvl1pPr>
          </a:lstStyle>
          <a:p>
            <a:pPr lvl="0"/>
            <a:r>
              <a:rPr lang="en-US" dirty="0"/>
              <a:t>Optional description / context goes here</a:t>
            </a:r>
          </a:p>
        </p:txBody>
      </p:sp>
      <p:sp>
        <p:nvSpPr>
          <p:cNvPr id="26" name="Text Placeholder 11"/>
          <p:cNvSpPr>
            <a:spLocks noGrp="1"/>
          </p:cNvSpPr>
          <p:nvPr>
            <p:ph type="body" sz="quarter" idx="21" hasCustomPrompt="1"/>
          </p:nvPr>
        </p:nvSpPr>
        <p:spPr>
          <a:xfrm>
            <a:off x="8254969" y="5421737"/>
            <a:ext cx="3658763" cy="164148"/>
          </a:xfrm>
          <a:prstGeom prst="rect">
            <a:avLst/>
          </a:prstGeom>
        </p:spPr>
        <p:txBody>
          <a:bodyPr lIns="0" tIns="0" rIns="0" bIns="0" anchor="b" anchorCtr="0">
            <a:noAutofit/>
          </a:bodyPr>
          <a:lstStyle>
            <a:lvl1pPr marL="21160" indent="0">
              <a:buNone/>
              <a:defRPr sz="1066" baseline="0">
                <a:solidFill>
                  <a:srgbClr val="8E8F93"/>
                </a:solidFill>
              </a:defRPr>
            </a:lvl1pPr>
          </a:lstStyle>
          <a:p>
            <a:pPr lvl="0"/>
            <a:r>
              <a:rPr lang="en-US" dirty="0"/>
              <a:t>Optional description / context goes here</a:t>
            </a:r>
          </a:p>
        </p:txBody>
      </p:sp>
      <p:sp>
        <p:nvSpPr>
          <p:cNvPr id="29" name="Text Placeholder 11"/>
          <p:cNvSpPr>
            <a:spLocks noGrp="1"/>
          </p:cNvSpPr>
          <p:nvPr>
            <p:ph type="body" sz="quarter" idx="24" hasCustomPrompt="1"/>
          </p:nvPr>
        </p:nvSpPr>
        <p:spPr>
          <a:xfrm>
            <a:off x="4308951" y="5421737"/>
            <a:ext cx="3622883" cy="164148"/>
          </a:xfrm>
          <a:prstGeom prst="rect">
            <a:avLst/>
          </a:prstGeom>
        </p:spPr>
        <p:txBody>
          <a:bodyPr lIns="0" tIns="0" rIns="0" bIns="0" anchor="b" anchorCtr="0">
            <a:noAutofit/>
          </a:bodyPr>
          <a:lstStyle>
            <a:lvl1pPr marL="21160" indent="0">
              <a:buNone/>
              <a:defRPr sz="1066" baseline="0">
                <a:solidFill>
                  <a:srgbClr val="8E8F93"/>
                </a:solidFill>
              </a:defRPr>
            </a:lvl1pPr>
          </a:lstStyle>
          <a:p>
            <a:pPr lvl="0"/>
            <a:r>
              <a:rPr lang="en-US" dirty="0"/>
              <a:t>Optional description / context goes here</a:t>
            </a:r>
          </a:p>
        </p:txBody>
      </p:sp>
      <p:sp>
        <p:nvSpPr>
          <p:cNvPr id="3" name="Content Placeholder 2"/>
          <p:cNvSpPr>
            <a:spLocks noGrp="1"/>
          </p:cNvSpPr>
          <p:nvPr>
            <p:ph sz="quarter" idx="32"/>
          </p:nvPr>
        </p:nvSpPr>
        <p:spPr>
          <a:xfrm>
            <a:off x="336465" y="1590338"/>
            <a:ext cx="3597394" cy="355563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3"/>
          </p:nvPr>
        </p:nvSpPr>
        <p:spPr>
          <a:xfrm>
            <a:off x="4308951" y="1590337"/>
            <a:ext cx="3622883"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4"/>
          </p:nvPr>
        </p:nvSpPr>
        <p:spPr>
          <a:xfrm>
            <a:off x="8254969" y="1590337"/>
            <a:ext cx="3658763" cy="3559419"/>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4"/>
          </p:nvPr>
        </p:nvSpPr>
        <p:spPr>
          <a:xfrm>
            <a:off x="2329915" y="6476207"/>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a:t>
            </a:fld>
            <a:endParaRPr lang="en-US" dirty="0"/>
          </a:p>
        </p:txBody>
      </p:sp>
      <p:sp>
        <p:nvSpPr>
          <p:cNvPr id="14" name="Footer Placeholder 4"/>
          <p:cNvSpPr>
            <a:spLocks noGrp="1"/>
          </p:cNvSpPr>
          <p:nvPr>
            <p:ph type="ftr" sz="quarter" idx="3"/>
          </p:nvPr>
        </p:nvSpPr>
        <p:spPr>
          <a:xfrm>
            <a:off x="336464" y="6476207"/>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13" name="Text Placeholder 11"/>
          <p:cNvSpPr>
            <a:spLocks noGrp="1"/>
          </p:cNvSpPr>
          <p:nvPr>
            <p:ph type="body" sz="quarter" idx="35"/>
          </p:nvPr>
        </p:nvSpPr>
        <p:spPr>
          <a:xfrm>
            <a:off x="336463" y="306916"/>
            <a:ext cx="11577267" cy="492443"/>
          </a:xfrm>
        </p:spPr>
        <p:txBody>
          <a:bodyPr>
            <a:noAutofit/>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5" name="Text Placeholder 13"/>
          <p:cNvSpPr>
            <a:spLocks noGrp="1"/>
          </p:cNvSpPr>
          <p:nvPr>
            <p:ph type="body" sz="quarter" idx="36"/>
          </p:nvPr>
        </p:nvSpPr>
        <p:spPr>
          <a:xfrm>
            <a:off x="336463" y="911155"/>
            <a:ext cx="11577267" cy="338555"/>
          </a:xfrm>
        </p:spPr>
        <p:txBody>
          <a:bodyPr>
            <a:noAutofit/>
          </a:bodyPr>
          <a:lstStyle>
            <a:lvl1pPr marL="478230" indent="-457070">
              <a:buFontTx/>
              <a:buNone/>
              <a:defRPr sz="2133" baseline="0">
                <a:solidFill>
                  <a:schemeClr val="accent1"/>
                </a:solidFill>
              </a:defRPr>
            </a:lvl1pPr>
            <a:lvl2pPr marL="543828" indent="-304713">
              <a:buFontTx/>
              <a:buNone/>
              <a:defRPr/>
            </a:lvl2pPr>
            <a:lvl3pPr marL="782943" indent="-304713">
              <a:buFontTx/>
              <a:buNone/>
              <a:defRPr/>
            </a:lvl3pPr>
            <a:lvl4pPr marL="1024175" indent="-304713">
              <a:buFontTx/>
              <a:buNone/>
              <a:defRPr/>
            </a:lvl4pPr>
            <a:lvl5pPr marL="1252709" indent="-304713">
              <a:buFontTx/>
              <a:buNone/>
              <a:defRPr/>
            </a:lvl5pPr>
          </a:lstStyle>
          <a:p>
            <a:pPr lvl="0"/>
            <a:r>
              <a:rPr lang="en-US" dirty="0"/>
              <a:t>Click to edit Master text styles</a:t>
            </a:r>
          </a:p>
        </p:txBody>
      </p:sp>
    </p:spTree>
    <p:extLst>
      <p:ext uri="{BB962C8B-B14F-4D97-AF65-F5344CB8AC3E}">
        <p14:creationId xmlns:p14="http://schemas.microsoft.com/office/powerpoint/2010/main" val="68520070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2329916" y="6476210"/>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20" name="Footer Placeholder 4"/>
          <p:cNvSpPr>
            <a:spLocks noGrp="1"/>
          </p:cNvSpPr>
          <p:nvPr>
            <p:ph type="ftr" sz="quarter" idx="3"/>
          </p:nvPr>
        </p:nvSpPr>
        <p:spPr>
          <a:xfrm>
            <a:off x="336465" y="6476210"/>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solidFill>
                  <a:srgbClr val="626469"/>
                </a:solidFill>
              </a:rPr>
              <a:t>Confidential Property of Schneider Electric |</a:t>
            </a:r>
          </a:p>
        </p:txBody>
      </p:sp>
    </p:spTree>
    <p:extLst>
      <p:ext uri="{BB962C8B-B14F-4D97-AF65-F5344CB8AC3E}">
        <p14:creationId xmlns:p14="http://schemas.microsoft.com/office/powerpoint/2010/main" val="3458834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29916" y="6476208"/>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296">
              <a:defRPr/>
            </a:pPr>
            <a:r>
              <a:rPr lang="en-US">
                <a:solidFill>
                  <a:srgbClr val="3DCD58"/>
                </a:solidFill>
              </a:rPr>
              <a:t>Page </a:t>
            </a:r>
            <a:fld id="{5A9C12DC-491F-9444-86A2-13AC5C62A2FC}" type="slidenum">
              <a:rPr lang="en-US" smtClean="0">
                <a:solidFill>
                  <a:srgbClr val="3DCD58"/>
                </a:solidFill>
              </a:rPr>
              <a:pPr defTabSz="609296">
                <a:defRPr/>
              </a:pPr>
              <a:t>‹#›</a:t>
            </a:fld>
            <a:endParaRPr lang="en-US" dirty="0">
              <a:solidFill>
                <a:srgbClr val="3DCD58"/>
              </a:solidFill>
            </a:endParaRPr>
          </a:p>
        </p:txBody>
      </p:sp>
      <p:sp>
        <p:nvSpPr>
          <p:cNvPr id="5" name="Footer Placeholder 4"/>
          <p:cNvSpPr>
            <a:spLocks noGrp="1"/>
          </p:cNvSpPr>
          <p:nvPr>
            <p:ph type="ftr" sz="quarter" idx="3"/>
          </p:nvPr>
        </p:nvSpPr>
        <p:spPr>
          <a:xfrm>
            <a:off x="336465" y="6476209"/>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296">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235330844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6" name="Rectangle 5"/>
          <p:cNvSpPr/>
          <p:nvPr userDrawn="1"/>
        </p:nvSpPr>
        <p:spPr>
          <a:xfrm>
            <a:off x="11215283" y="5983095"/>
            <a:ext cx="619933" cy="5245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solidFill>
                <a:prstClr val="white"/>
              </a:solidFill>
            </a:endParaRPr>
          </a:p>
        </p:txBody>
      </p:sp>
      <p:sp>
        <p:nvSpPr>
          <p:cNvPr id="2" name="Title 1"/>
          <p:cNvSpPr>
            <a:spLocks noGrp="1"/>
          </p:cNvSpPr>
          <p:nvPr>
            <p:ph type="ctrTitle" hasCustomPrompt="1"/>
          </p:nvPr>
        </p:nvSpPr>
        <p:spPr>
          <a:xfrm>
            <a:off x="608013" y="2130442"/>
            <a:ext cx="10971212" cy="1470025"/>
          </a:xfrm>
        </p:spPr>
        <p:txBody>
          <a:bodyPr lIns="0" anchor="b" anchorCtr="0">
            <a:noAutofit/>
          </a:bodyPr>
          <a:lstStyle>
            <a:lvl1pPr algn="l">
              <a:defRPr sz="3600" b="1">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609440" y="3644659"/>
            <a:ext cx="10971212" cy="1099871"/>
          </a:xfrm>
        </p:spPr>
        <p:txBody>
          <a:bodyPr lIns="0">
            <a:noAutofit/>
          </a:bodyPr>
          <a:lstStyle>
            <a:lvl1pPr marL="0" indent="0" algn="l">
              <a:buNone/>
              <a:defRPr sz="2300">
                <a:solidFill>
                  <a:srgbClr val="626469"/>
                </a:solidFill>
                <a:latin typeface="Arial" pitchFamily="34" charset="0"/>
                <a:cs typeface="Arial" pitchFamily="34" charset="0"/>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5" indent="0" algn="ctr">
              <a:buNone/>
              <a:defRPr>
                <a:solidFill>
                  <a:schemeClr val="tx1">
                    <a:tint val="75000"/>
                  </a:schemeClr>
                </a:solidFill>
              </a:defRPr>
            </a:lvl4pPr>
            <a:lvl5pPr marL="1828648" indent="0" algn="ctr">
              <a:buNone/>
              <a:defRPr>
                <a:solidFill>
                  <a:schemeClr val="tx1">
                    <a:tint val="75000"/>
                  </a:schemeClr>
                </a:solidFill>
              </a:defRPr>
            </a:lvl5pPr>
            <a:lvl6pPr marL="2285809" indent="0" algn="ctr">
              <a:buNone/>
              <a:defRPr>
                <a:solidFill>
                  <a:schemeClr val="tx1">
                    <a:tint val="75000"/>
                  </a:schemeClr>
                </a:solidFill>
              </a:defRPr>
            </a:lvl6pPr>
            <a:lvl7pPr marL="2742971"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609606" y="5124587"/>
            <a:ext cx="8586159" cy="1120775"/>
          </a:xfrm>
        </p:spPr>
        <p:txBody>
          <a:bodyPr>
            <a:normAutofit/>
          </a:bodyPr>
          <a:lstStyle>
            <a:lvl1pPr marL="0" indent="0">
              <a:buNone/>
              <a:defRPr sz="1600">
                <a:solidFill>
                  <a:srgbClr val="898989"/>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9689214" y="5904395"/>
            <a:ext cx="1891445" cy="564671"/>
          </a:xfrm>
          <a:prstGeom prst="rect">
            <a:avLst/>
          </a:prstGeom>
          <a:noFill/>
        </p:spPr>
      </p:pic>
    </p:spTree>
    <p:extLst>
      <p:ext uri="{BB962C8B-B14F-4D97-AF65-F5344CB8AC3E}">
        <p14:creationId xmlns:p14="http://schemas.microsoft.com/office/powerpoint/2010/main" val="12688631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Spruce Green">
    <p:bg>
      <p:bgPr>
        <a:solidFill>
          <a:srgbClr val="009530"/>
        </a:solidFill>
        <a:effectLst/>
      </p:bgPr>
    </p:bg>
    <p:spTree>
      <p:nvGrpSpPr>
        <p:cNvPr id="1" name=""/>
        <p:cNvGrpSpPr/>
        <p:nvPr/>
      </p:nvGrpSpPr>
      <p:grpSpPr>
        <a:xfrm>
          <a:off x="0" y="0"/>
          <a:ext cx="0" cy="0"/>
          <a:chOff x="0" y="0"/>
          <a:chExt cx="0" cy="0"/>
        </a:xfrm>
      </p:grpSpPr>
      <p:sp>
        <p:nvSpPr>
          <p:cNvPr id="6" name="Rectangle 5"/>
          <p:cNvSpPr/>
          <p:nvPr/>
        </p:nvSpPr>
        <p:spPr>
          <a:xfrm>
            <a:off x="11215283" y="6206806"/>
            <a:ext cx="619933" cy="524519"/>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solidFill>
                <a:prstClr val="white"/>
              </a:solidFill>
            </a:endParaRPr>
          </a:p>
        </p:txBody>
      </p:sp>
      <p:sp>
        <p:nvSpPr>
          <p:cNvPr id="2" name="Title 1"/>
          <p:cNvSpPr>
            <a:spLocks noGrp="1"/>
          </p:cNvSpPr>
          <p:nvPr>
            <p:ph type="ctrTitle" hasCustomPrompt="1"/>
          </p:nvPr>
        </p:nvSpPr>
        <p:spPr>
          <a:xfrm>
            <a:off x="599918" y="2130442"/>
            <a:ext cx="10979309" cy="1470025"/>
          </a:xfrm>
        </p:spPr>
        <p:txBody>
          <a:bodyPr lIns="0" anchor="b" anchorCtr="0">
            <a:noAutofit/>
          </a:bodyPr>
          <a:lstStyle>
            <a:lvl1pPr algn="l">
              <a:defRPr sz="3600" b="1">
                <a:solidFill>
                  <a:schemeClr val="bg1"/>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599918" y="3644659"/>
            <a:ext cx="10979309" cy="1099871"/>
          </a:xfrm>
        </p:spPr>
        <p:txBody>
          <a:bodyPr lIns="0">
            <a:noAutofit/>
          </a:bodyPr>
          <a:lstStyle>
            <a:lvl1pPr marL="0" indent="0" algn="l">
              <a:buNone/>
              <a:defRPr sz="2300">
                <a:solidFill>
                  <a:schemeClr val="bg1"/>
                </a:solidFill>
                <a:latin typeface="Arial" pitchFamily="34" charset="0"/>
                <a:cs typeface="Arial" pitchFamily="34" charset="0"/>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5" indent="0" algn="ctr">
              <a:buNone/>
              <a:defRPr>
                <a:solidFill>
                  <a:schemeClr val="tx1">
                    <a:tint val="75000"/>
                  </a:schemeClr>
                </a:solidFill>
              </a:defRPr>
            </a:lvl4pPr>
            <a:lvl5pPr marL="1828648" indent="0" algn="ctr">
              <a:buNone/>
              <a:defRPr>
                <a:solidFill>
                  <a:schemeClr val="tx1">
                    <a:tint val="75000"/>
                  </a:schemeClr>
                </a:solidFill>
              </a:defRPr>
            </a:lvl5pPr>
            <a:lvl6pPr marL="2285809" indent="0" algn="ctr">
              <a:buNone/>
              <a:defRPr>
                <a:solidFill>
                  <a:schemeClr val="tx1">
                    <a:tint val="75000"/>
                  </a:schemeClr>
                </a:solidFill>
              </a:defRPr>
            </a:lvl6pPr>
            <a:lvl7pPr marL="2742971"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600082" y="5124587"/>
            <a:ext cx="8586159" cy="1120775"/>
          </a:xfrm>
        </p:spPr>
        <p:txBody>
          <a:bodyPr>
            <a:normAutofit/>
          </a:bodyPr>
          <a:lstStyle>
            <a:lvl1pPr marL="0" indent="0">
              <a:buNone/>
              <a:defRPr sz="16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9686420" y="5902135"/>
            <a:ext cx="1892808" cy="566928"/>
          </a:xfrm>
          <a:prstGeom prst="rect">
            <a:avLst/>
          </a:prstGeom>
          <a:noFill/>
        </p:spPr>
      </p:pic>
    </p:spTree>
    <p:extLst>
      <p:ext uri="{BB962C8B-B14F-4D97-AF65-F5344CB8AC3E}">
        <p14:creationId xmlns:p14="http://schemas.microsoft.com/office/powerpoint/2010/main" val="12688631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lide Bubbles">
    <p:bg>
      <p:bgPr>
        <a:solidFill>
          <a:srgbClr val="009530"/>
        </a:solidFill>
        <a:effectLst/>
      </p:bgPr>
    </p:bg>
    <p:spTree>
      <p:nvGrpSpPr>
        <p:cNvPr id="1" name=""/>
        <p:cNvGrpSpPr/>
        <p:nvPr/>
      </p:nvGrpSpPr>
      <p:grpSpPr>
        <a:xfrm>
          <a:off x="0" y="0"/>
          <a:ext cx="0" cy="0"/>
          <a:chOff x="0" y="0"/>
          <a:chExt cx="0" cy="0"/>
        </a:xfrm>
      </p:grpSpPr>
      <p:pic>
        <p:nvPicPr>
          <p:cNvPr id="8" name="Picture 7" descr="023611862_prevstill.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5318" t="14066" r="17976" b="9228"/>
          <a:stretch/>
        </p:blipFill>
        <p:spPr>
          <a:xfrm>
            <a:off x="0" y="-20632"/>
            <a:ext cx="12188825" cy="6899263"/>
          </a:xfrm>
          <a:prstGeom prst="rect">
            <a:avLst/>
          </a:prstGeom>
        </p:spPr>
      </p:pic>
      <p:sp>
        <p:nvSpPr>
          <p:cNvPr id="2" name="Title 1"/>
          <p:cNvSpPr>
            <a:spLocks noGrp="1"/>
          </p:cNvSpPr>
          <p:nvPr>
            <p:ph type="ctrTitle" hasCustomPrompt="1"/>
          </p:nvPr>
        </p:nvSpPr>
        <p:spPr>
          <a:xfrm>
            <a:off x="599918" y="2130442"/>
            <a:ext cx="10979309" cy="1470025"/>
          </a:xfrm>
        </p:spPr>
        <p:txBody>
          <a:bodyPr lIns="0" anchor="b" anchorCtr="0">
            <a:noAutofit/>
          </a:bodyPr>
          <a:lstStyle>
            <a:lvl1pPr algn="l">
              <a:defRPr sz="3600" b="1">
                <a:solidFill>
                  <a:schemeClr val="bg1"/>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599918" y="3644659"/>
            <a:ext cx="10979309" cy="1099871"/>
          </a:xfrm>
        </p:spPr>
        <p:txBody>
          <a:bodyPr lIns="0">
            <a:noAutofit/>
          </a:bodyPr>
          <a:lstStyle>
            <a:lvl1pPr marL="0" indent="0" algn="l">
              <a:buNone/>
              <a:defRPr sz="2300">
                <a:solidFill>
                  <a:schemeClr val="bg1"/>
                </a:solidFill>
                <a:latin typeface="Arial" pitchFamily="34" charset="0"/>
                <a:cs typeface="Arial" pitchFamily="34" charset="0"/>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5" indent="0" algn="ctr">
              <a:buNone/>
              <a:defRPr>
                <a:solidFill>
                  <a:schemeClr val="tx1">
                    <a:tint val="75000"/>
                  </a:schemeClr>
                </a:solidFill>
              </a:defRPr>
            </a:lvl4pPr>
            <a:lvl5pPr marL="1828648" indent="0" algn="ctr">
              <a:buNone/>
              <a:defRPr>
                <a:solidFill>
                  <a:schemeClr val="tx1">
                    <a:tint val="75000"/>
                  </a:schemeClr>
                </a:solidFill>
              </a:defRPr>
            </a:lvl5pPr>
            <a:lvl6pPr marL="2285809" indent="0" algn="ctr">
              <a:buNone/>
              <a:defRPr>
                <a:solidFill>
                  <a:schemeClr val="tx1">
                    <a:tint val="75000"/>
                  </a:schemeClr>
                </a:solidFill>
              </a:defRPr>
            </a:lvl6pPr>
            <a:lvl7pPr marL="2742971"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600082" y="5124587"/>
            <a:ext cx="8586159" cy="1120775"/>
          </a:xfrm>
        </p:spPr>
        <p:txBody>
          <a:bodyPr>
            <a:normAutofit/>
          </a:bodyPr>
          <a:lstStyle>
            <a:lvl1pPr marL="0" indent="0">
              <a:buNone/>
              <a:defRPr sz="16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9686420" y="5902135"/>
            <a:ext cx="1892808" cy="566928"/>
          </a:xfrm>
          <a:prstGeom prst="rect">
            <a:avLst/>
          </a:prstGeom>
          <a:noFill/>
        </p:spPr>
      </p:pic>
    </p:spTree>
    <p:extLst>
      <p:ext uri="{BB962C8B-B14F-4D97-AF65-F5344CB8AC3E}">
        <p14:creationId xmlns:p14="http://schemas.microsoft.com/office/powerpoint/2010/main" val="12688631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City">
    <p:bg>
      <p:bgPr>
        <a:solidFill>
          <a:srgbClr val="009530"/>
        </a:solidFill>
        <a:effectLst/>
      </p:bgPr>
    </p:bg>
    <p:spTree>
      <p:nvGrpSpPr>
        <p:cNvPr id="1" name=""/>
        <p:cNvGrpSpPr/>
        <p:nvPr/>
      </p:nvGrpSpPr>
      <p:grpSpPr>
        <a:xfrm>
          <a:off x="0" y="0"/>
          <a:ext cx="0" cy="0"/>
          <a:chOff x="0" y="0"/>
          <a:chExt cx="0" cy="0"/>
        </a:xfrm>
      </p:grpSpPr>
      <p:pic>
        <p:nvPicPr>
          <p:cNvPr id="10" name="Picture 9" descr="city_369.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4003" t="1175" r="6116" b="9373"/>
          <a:stretch/>
        </p:blipFill>
        <p:spPr>
          <a:xfrm>
            <a:off x="-70558" y="-63950"/>
            <a:ext cx="12329940" cy="6985899"/>
          </a:xfrm>
          <a:prstGeom prst="rect">
            <a:avLst/>
          </a:prstGeom>
          <a:noFill/>
          <a:ln>
            <a:noFill/>
          </a:ln>
        </p:spPr>
      </p:pic>
      <p:sp>
        <p:nvSpPr>
          <p:cNvPr id="2" name="Title 1"/>
          <p:cNvSpPr>
            <a:spLocks noGrp="1"/>
          </p:cNvSpPr>
          <p:nvPr>
            <p:ph type="ctrTitle" hasCustomPrompt="1"/>
          </p:nvPr>
        </p:nvSpPr>
        <p:spPr>
          <a:xfrm>
            <a:off x="599918" y="2130442"/>
            <a:ext cx="10979309" cy="1470025"/>
          </a:xfrm>
        </p:spPr>
        <p:txBody>
          <a:bodyPr lIns="0" anchor="b" anchorCtr="0">
            <a:noAutofit/>
          </a:bodyPr>
          <a:lstStyle>
            <a:lvl1pPr algn="l">
              <a:defRPr sz="3600" b="1">
                <a:solidFill>
                  <a:srgbClr val="009530"/>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599918" y="3644659"/>
            <a:ext cx="10979309" cy="1099871"/>
          </a:xfrm>
        </p:spPr>
        <p:txBody>
          <a:bodyPr lIns="0">
            <a:noAutofit/>
          </a:bodyPr>
          <a:lstStyle>
            <a:lvl1pPr marL="0" indent="0" algn="l">
              <a:buNone/>
              <a:defRPr sz="2300">
                <a:solidFill>
                  <a:srgbClr val="009530"/>
                </a:solidFill>
                <a:latin typeface="Arial" pitchFamily="34" charset="0"/>
                <a:cs typeface="Arial" pitchFamily="34" charset="0"/>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5" indent="0" algn="ctr">
              <a:buNone/>
              <a:defRPr>
                <a:solidFill>
                  <a:schemeClr val="tx1">
                    <a:tint val="75000"/>
                  </a:schemeClr>
                </a:solidFill>
              </a:defRPr>
            </a:lvl4pPr>
            <a:lvl5pPr marL="1828648" indent="0" algn="ctr">
              <a:buNone/>
              <a:defRPr>
                <a:solidFill>
                  <a:schemeClr val="tx1">
                    <a:tint val="75000"/>
                  </a:schemeClr>
                </a:solidFill>
              </a:defRPr>
            </a:lvl5pPr>
            <a:lvl6pPr marL="2285809" indent="0" algn="ctr">
              <a:buNone/>
              <a:defRPr>
                <a:solidFill>
                  <a:schemeClr val="tx1">
                    <a:tint val="75000"/>
                  </a:schemeClr>
                </a:solidFill>
              </a:defRPr>
            </a:lvl6pPr>
            <a:lvl7pPr marL="2742971"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600082" y="5124587"/>
            <a:ext cx="8586159" cy="1120775"/>
          </a:xfrm>
        </p:spPr>
        <p:txBody>
          <a:bodyPr>
            <a:normAutofit/>
          </a:bodyPr>
          <a:lstStyle>
            <a:lvl1pPr marL="0" indent="0">
              <a:buNone/>
              <a:defRPr sz="16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9686420" y="5902135"/>
            <a:ext cx="1892808" cy="566928"/>
          </a:xfrm>
          <a:prstGeom prst="rect">
            <a:avLst/>
          </a:prstGeom>
          <a:noFill/>
        </p:spPr>
      </p:pic>
    </p:spTree>
    <p:extLst>
      <p:ext uri="{BB962C8B-B14F-4D97-AF65-F5344CB8AC3E}">
        <p14:creationId xmlns:p14="http://schemas.microsoft.com/office/powerpoint/2010/main" val="12688631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City">
    <p:bg>
      <p:bgPr>
        <a:solidFill>
          <a:srgbClr val="009530"/>
        </a:solidFill>
        <a:effectLst/>
      </p:bgPr>
    </p:bg>
    <p:spTree>
      <p:nvGrpSpPr>
        <p:cNvPr id="1" name=""/>
        <p:cNvGrpSpPr/>
        <p:nvPr/>
      </p:nvGrpSpPr>
      <p:grpSpPr>
        <a:xfrm>
          <a:off x="0" y="0"/>
          <a:ext cx="0" cy="0"/>
          <a:chOff x="0" y="0"/>
          <a:chExt cx="0" cy="0"/>
        </a:xfrm>
      </p:grpSpPr>
      <p:pic>
        <p:nvPicPr>
          <p:cNvPr id="10" name="Picture 9" descr="city_369.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4003" t="1175" r="6116" b="9373"/>
          <a:stretch/>
        </p:blipFill>
        <p:spPr>
          <a:xfrm>
            <a:off x="-70558" y="-63950"/>
            <a:ext cx="12329940" cy="6985899"/>
          </a:xfrm>
          <a:prstGeom prst="rect">
            <a:avLst/>
          </a:prstGeom>
          <a:noFill/>
          <a:ln>
            <a:noFill/>
          </a:ln>
        </p:spPr>
      </p:pic>
      <p:sp>
        <p:nvSpPr>
          <p:cNvPr id="2" name="Title 1"/>
          <p:cNvSpPr>
            <a:spLocks noGrp="1"/>
          </p:cNvSpPr>
          <p:nvPr>
            <p:ph type="ctrTitle" hasCustomPrompt="1"/>
          </p:nvPr>
        </p:nvSpPr>
        <p:spPr>
          <a:xfrm>
            <a:off x="599918" y="2130442"/>
            <a:ext cx="10979309" cy="1470025"/>
          </a:xfrm>
        </p:spPr>
        <p:txBody>
          <a:bodyPr lIns="0" anchor="b" anchorCtr="0">
            <a:noAutofit/>
          </a:bodyPr>
          <a:lstStyle>
            <a:lvl1pPr algn="l">
              <a:defRPr sz="3600" b="1">
                <a:solidFill>
                  <a:srgbClr val="009530"/>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599918" y="3644659"/>
            <a:ext cx="10979309" cy="1099871"/>
          </a:xfrm>
        </p:spPr>
        <p:txBody>
          <a:bodyPr lIns="0">
            <a:noAutofit/>
          </a:bodyPr>
          <a:lstStyle>
            <a:lvl1pPr marL="0" indent="0" algn="l">
              <a:buNone/>
              <a:defRPr sz="2300">
                <a:solidFill>
                  <a:srgbClr val="009530"/>
                </a:solidFill>
                <a:latin typeface="Arial" pitchFamily="34" charset="0"/>
                <a:cs typeface="Arial" pitchFamily="34" charset="0"/>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5" indent="0" algn="ctr">
              <a:buNone/>
              <a:defRPr>
                <a:solidFill>
                  <a:schemeClr val="tx1">
                    <a:tint val="75000"/>
                  </a:schemeClr>
                </a:solidFill>
              </a:defRPr>
            </a:lvl4pPr>
            <a:lvl5pPr marL="1828648" indent="0" algn="ctr">
              <a:buNone/>
              <a:defRPr>
                <a:solidFill>
                  <a:schemeClr val="tx1">
                    <a:tint val="75000"/>
                  </a:schemeClr>
                </a:solidFill>
              </a:defRPr>
            </a:lvl5pPr>
            <a:lvl6pPr marL="2285809" indent="0" algn="ctr">
              <a:buNone/>
              <a:defRPr>
                <a:solidFill>
                  <a:schemeClr val="tx1">
                    <a:tint val="75000"/>
                  </a:schemeClr>
                </a:solidFill>
              </a:defRPr>
            </a:lvl6pPr>
            <a:lvl7pPr marL="2742971"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600082" y="5124587"/>
            <a:ext cx="8586159" cy="1120775"/>
          </a:xfrm>
        </p:spPr>
        <p:txBody>
          <a:bodyPr>
            <a:normAutofit/>
          </a:bodyPr>
          <a:lstStyle>
            <a:lvl1pPr marL="0" indent="0">
              <a:buNone/>
              <a:defRPr sz="16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9686420" y="5902135"/>
            <a:ext cx="1892808" cy="566928"/>
          </a:xfrm>
          <a:prstGeom prst="rect">
            <a:avLst/>
          </a:prstGeom>
          <a:noFill/>
        </p:spPr>
      </p:pic>
    </p:spTree>
    <p:extLst>
      <p:ext uri="{BB962C8B-B14F-4D97-AF65-F5344CB8AC3E}">
        <p14:creationId xmlns:p14="http://schemas.microsoft.com/office/powerpoint/2010/main" val="1268863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lide Light Image">
    <p:bg>
      <p:bgPr>
        <a:solidFill>
          <a:srgbClr val="009530"/>
        </a:solidFill>
        <a:effectLst/>
      </p:bgPr>
    </p:bg>
    <p:spTree>
      <p:nvGrpSpPr>
        <p:cNvPr id="1" name=""/>
        <p:cNvGrpSpPr/>
        <p:nvPr/>
      </p:nvGrpSpPr>
      <p:grpSpPr>
        <a:xfrm>
          <a:off x="0" y="0"/>
          <a:ext cx="0" cy="0"/>
          <a:chOff x="0" y="0"/>
          <a:chExt cx="0" cy="0"/>
        </a:xfrm>
      </p:grpSpPr>
      <p:pic>
        <p:nvPicPr>
          <p:cNvPr id="8" name="Picture 7" descr="Cover_UJH1374_layers_v2.jpg"/>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5"/>
          <a:stretch/>
        </p:blipFill>
        <p:spPr>
          <a:xfrm>
            <a:off x="4" y="0"/>
            <a:ext cx="12188824" cy="6858000"/>
          </a:xfrm>
          <a:prstGeom prst="rect">
            <a:avLst/>
          </a:prstGeom>
        </p:spPr>
      </p:pic>
      <p:sp>
        <p:nvSpPr>
          <p:cNvPr id="2" name="Title 1"/>
          <p:cNvSpPr>
            <a:spLocks noGrp="1"/>
          </p:cNvSpPr>
          <p:nvPr>
            <p:ph type="ctrTitle" hasCustomPrompt="1"/>
          </p:nvPr>
        </p:nvSpPr>
        <p:spPr>
          <a:xfrm>
            <a:off x="599920" y="2130442"/>
            <a:ext cx="8206628" cy="1470025"/>
          </a:xfrm>
        </p:spPr>
        <p:txBody>
          <a:bodyPr lIns="0" anchor="b" anchorCtr="0">
            <a:noAutofit/>
          </a:bodyPr>
          <a:lstStyle>
            <a:lvl1pPr algn="l">
              <a:defRPr sz="3600" b="1">
                <a:solidFill>
                  <a:srgbClr val="FFFFFF"/>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599920" y="3644659"/>
            <a:ext cx="8206628" cy="1099871"/>
          </a:xfrm>
        </p:spPr>
        <p:txBody>
          <a:bodyPr lIns="0">
            <a:noAutofit/>
          </a:bodyPr>
          <a:lstStyle>
            <a:lvl1pPr marL="0" indent="0" algn="l">
              <a:buNone/>
              <a:defRPr sz="2300">
                <a:solidFill>
                  <a:srgbClr val="FFFFFF"/>
                </a:solidFill>
                <a:latin typeface="Arial" pitchFamily="34" charset="0"/>
                <a:cs typeface="Arial" pitchFamily="34" charset="0"/>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5" indent="0" algn="ctr">
              <a:buNone/>
              <a:defRPr>
                <a:solidFill>
                  <a:schemeClr val="tx1">
                    <a:tint val="75000"/>
                  </a:schemeClr>
                </a:solidFill>
              </a:defRPr>
            </a:lvl4pPr>
            <a:lvl5pPr marL="1828648" indent="0" algn="ctr">
              <a:buNone/>
              <a:defRPr>
                <a:solidFill>
                  <a:schemeClr val="tx1">
                    <a:tint val="75000"/>
                  </a:schemeClr>
                </a:solidFill>
              </a:defRPr>
            </a:lvl5pPr>
            <a:lvl6pPr marL="2285809" indent="0" algn="ctr">
              <a:buNone/>
              <a:defRPr>
                <a:solidFill>
                  <a:schemeClr val="tx1">
                    <a:tint val="75000"/>
                  </a:schemeClr>
                </a:solidFill>
              </a:defRPr>
            </a:lvl6pPr>
            <a:lvl7pPr marL="2742971"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600082" y="5124587"/>
            <a:ext cx="8586159" cy="1120775"/>
          </a:xfrm>
        </p:spPr>
        <p:txBody>
          <a:bodyPr>
            <a:normAutofit/>
          </a:bodyPr>
          <a:lstStyle>
            <a:lvl1pPr marL="0" indent="0">
              <a:buNone/>
              <a:defRPr sz="16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9686420" y="5902135"/>
            <a:ext cx="1892808" cy="566928"/>
          </a:xfrm>
          <a:prstGeom prst="rect">
            <a:avLst/>
          </a:prstGeom>
          <a:noFill/>
        </p:spPr>
      </p:pic>
    </p:spTree>
    <p:extLst>
      <p:ext uri="{BB962C8B-B14F-4D97-AF65-F5344CB8AC3E}">
        <p14:creationId xmlns:p14="http://schemas.microsoft.com/office/powerpoint/2010/main" val="12688631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8016" y="265113"/>
            <a:ext cx="10969943" cy="1096963"/>
          </a:xfrm>
        </p:spPr>
        <p:txBody>
          <a:bodyPr/>
          <a:lstStyle>
            <a:lvl1pPr algn="l">
              <a:defRPr/>
            </a:lvl1pPr>
          </a:lstStyle>
          <a:p>
            <a:r>
              <a:rPr lang="en-US" noProof="0" dirty="0"/>
              <a:t>Headline</a:t>
            </a:r>
          </a:p>
        </p:txBody>
      </p:sp>
      <p:sp>
        <p:nvSpPr>
          <p:cNvPr id="3" name="Content Placeholder 2"/>
          <p:cNvSpPr>
            <a:spLocks noGrp="1"/>
          </p:cNvSpPr>
          <p:nvPr>
            <p:ph idx="1"/>
          </p:nvPr>
        </p:nvSpPr>
        <p:spPr>
          <a:xfrm>
            <a:off x="608016" y="1509722"/>
            <a:ext cx="10969943" cy="4649553"/>
          </a:xfrm>
          <a:prstGeom prst="rect">
            <a:avLst/>
          </a:prstGeom>
        </p:spPr>
        <p:txBody>
          <a:bodyPr/>
          <a:lstStyle>
            <a:lvl1pPr>
              <a:buFont typeface="Arial" pitchFamily="34" charset="0"/>
              <a:buChar char="&gt;"/>
              <a:defRPr/>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5" name="TextBox 4"/>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rgbClr val="626469"/>
                </a:solidFill>
                <a:cs typeface="Arial" pitchFamily="34" charset="0"/>
              </a:rPr>
              <a:t>Confidential Property of Schneider Electric</a:t>
            </a:r>
          </a:p>
        </p:txBody>
      </p:sp>
    </p:spTree>
    <p:extLst>
      <p:ext uri="{BB962C8B-B14F-4D97-AF65-F5344CB8AC3E}">
        <p14:creationId xmlns:p14="http://schemas.microsoft.com/office/powerpoint/2010/main" val="1406363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structional">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608013" y="261948"/>
            <a:ext cx="10971212" cy="1109661"/>
          </a:xfrm>
        </p:spPr>
        <p:txBody>
          <a:bodyPr anchor="t" anchorCtr="0"/>
          <a:lstStyle>
            <a:lvl1pPr algn="l">
              <a:defRPr/>
            </a:lvl1pPr>
          </a:lstStyle>
          <a:p>
            <a:r>
              <a:rPr lang="en-US" dirty="0"/>
              <a:t>Click to edit title</a:t>
            </a:r>
          </a:p>
        </p:txBody>
      </p:sp>
      <p:sp>
        <p:nvSpPr>
          <p:cNvPr id="8" name="Picture Placeholder 7"/>
          <p:cNvSpPr>
            <a:spLocks noGrp="1"/>
          </p:cNvSpPr>
          <p:nvPr>
            <p:ph type="pic" sz="quarter" idx="13" hasCustomPrompt="1"/>
          </p:nvPr>
        </p:nvSpPr>
        <p:spPr>
          <a:xfrm>
            <a:off x="4895856" y="1511309"/>
            <a:ext cx="6683375" cy="3754763"/>
          </a:xfrm>
        </p:spPr>
        <p:txBody>
          <a:bodyPr/>
          <a:lstStyle>
            <a:lvl1pPr marL="0" indent="0">
              <a:buNone/>
              <a:defRPr/>
            </a:lvl1pPr>
          </a:lstStyle>
          <a:p>
            <a:r>
              <a:rPr lang="en-US" dirty="0"/>
              <a:t>Drag picture to placeholder or click icon to add</a:t>
            </a:r>
          </a:p>
        </p:txBody>
      </p:sp>
      <p:sp>
        <p:nvSpPr>
          <p:cNvPr id="10" name="Text Placeholder 9"/>
          <p:cNvSpPr>
            <a:spLocks noGrp="1"/>
          </p:cNvSpPr>
          <p:nvPr>
            <p:ph type="body" sz="quarter" idx="14"/>
          </p:nvPr>
        </p:nvSpPr>
        <p:spPr>
          <a:xfrm>
            <a:off x="608440" y="1511308"/>
            <a:ext cx="4148619" cy="4660901"/>
          </a:xfrm>
        </p:spPr>
        <p:txBody>
          <a:bodyPr anchor="t" anchorCtr="0"/>
          <a:lstStyle>
            <a:lvl1pPr marL="0" indent="0">
              <a:buFontTx/>
              <a:buNone/>
              <a:defRPr lang="en-US" sz="2300" kern="1200" baseline="0" dirty="0" smtClean="0">
                <a:solidFill>
                  <a:srgbClr val="009530"/>
                </a:solidFill>
                <a:latin typeface="Arial" pitchFamily="34" charset="0"/>
                <a:ea typeface="+mn-ea"/>
                <a:cs typeface="Arial" pitchFamily="34" charset="0"/>
              </a:defRPr>
            </a:lvl1pPr>
            <a:lvl2pPr>
              <a:defRPr lang="en-US" sz="2000" kern="1200" dirty="0" smtClean="0">
                <a:solidFill>
                  <a:srgbClr val="626469"/>
                </a:solidFill>
                <a:latin typeface="Arial" pitchFamily="34" charset="0"/>
                <a:ea typeface="+mn-ea"/>
                <a:cs typeface="Arial" pitchFamily="34" charset="0"/>
              </a:defRPr>
            </a:lvl2pPr>
            <a:lvl3pPr>
              <a:defRPr lang="en-US" sz="1900" kern="1200" dirty="0" smtClean="0">
                <a:solidFill>
                  <a:srgbClr val="626469"/>
                </a:solidFill>
                <a:latin typeface="Arial" pitchFamily="34" charset="0"/>
                <a:ea typeface="+mn-ea"/>
                <a:cs typeface="Arial" pitchFamily="34" charset="0"/>
              </a:defRPr>
            </a:lvl3pPr>
            <a:lvl4pPr>
              <a:defRPr lang="en-US" sz="1600" kern="1200" baseline="0" dirty="0" smtClean="0">
                <a:solidFill>
                  <a:srgbClr val="626469"/>
                </a:solidFill>
                <a:latin typeface="Arial" pitchFamily="34" charset="0"/>
                <a:ea typeface="+mn-ea"/>
                <a:cs typeface="Arial" pitchFamily="34" charset="0"/>
              </a:defRPr>
            </a:lvl4pPr>
            <a:lvl5pPr>
              <a:defRPr lang="en-US" sz="1500" kern="1200" baseline="0" dirty="0" smtClean="0">
                <a:solidFill>
                  <a:srgbClr val="626469"/>
                </a:solidFill>
                <a:latin typeface="Arial" pitchFamily="34" charset="0"/>
                <a:ea typeface="+mn-ea"/>
                <a:cs typeface="Arial" pitchFamily="34" charset="0"/>
              </a:defRPr>
            </a:lvl5pPr>
          </a:lstStyle>
          <a:p>
            <a:pPr marL="225406" lvl="0" indent="-225406" algn="l" defTabSz="914323" rtl="0" eaLnBrk="1" latinLnBrk="0" hangingPunct="1">
              <a:spcBef>
                <a:spcPct val="20000"/>
              </a:spcBef>
              <a:buClr>
                <a:srgbClr val="009530"/>
              </a:buClr>
              <a:buFont typeface="Arial" pitchFamily="34" charset="0"/>
              <a:buChar char="&gt;"/>
            </a:pPr>
            <a:r>
              <a:rPr lang="en-US" dirty="0"/>
              <a:t>Click to edit Master text styles</a:t>
            </a:r>
          </a:p>
          <a:p>
            <a:pPr marL="457161" lvl="1" indent="-228581" algn="l" defTabSz="914323" rtl="0" eaLnBrk="1" latinLnBrk="0" hangingPunct="1">
              <a:spcBef>
                <a:spcPct val="20000"/>
              </a:spcBef>
              <a:buClr>
                <a:srgbClr val="626469"/>
              </a:buClr>
              <a:buFont typeface="Arial" pitchFamily="34" charset="0"/>
              <a:buChar char="&gt;"/>
            </a:pPr>
            <a:r>
              <a:rPr lang="en-US" dirty="0"/>
              <a:t>Second level</a:t>
            </a:r>
          </a:p>
          <a:p>
            <a:pPr marL="685744" lvl="2" indent="-228581" algn="l" defTabSz="914323" rtl="0" eaLnBrk="1" latinLnBrk="0" hangingPunct="1">
              <a:spcBef>
                <a:spcPct val="20000"/>
              </a:spcBef>
              <a:buClr>
                <a:srgbClr val="626469"/>
              </a:buClr>
              <a:buFont typeface="Arial" pitchFamily="34" charset="0"/>
              <a:buChar char="-"/>
            </a:pPr>
            <a:r>
              <a:rPr lang="en-US" dirty="0"/>
              <a:t>Third level</a:t>
            </a:r>
          </a:p>
          <a:p>
            <a:pPr marL="914323" lvl="3" indent="-228581" algn="l" defTabSz="914323" rtl="0" eaLnBrk="1" latinLnBrk="0" hangingPunct="1">
              <a:spcBef>
                <a:spcPct val="20000"/>
              </a:spcBef>
              <a:buClr>
                <a:srgbClr val="626469"/>
              </a:buClr>
              <a:buFont typeface="Arial" pitchFamily="34" charset="0"/>
              <a:buChar char="-"/>
            </a:pPr>
            <a:r>
              <a:rPr lang="en-US" dirty="0"/>
              <a:t>Fourth level</a:t>
            </a:r>
          </a:p>
          <a:p>
            <a:pPr marL="1142904" lvl="4" indent="-228581" algn="l" defTabSz="914323" rtl="0" eaLnBrk="1" latinLnBrk="0" hangingPunct="1">
              <a:spcBef>
                <a:spcPct val="20000"/>
              </a:spcBef>
              <a:buClr>
                <a:srgbClr val="626469"/>
              </a:buClr>
              <a:buFont typeface="Arial" pitchFamily="34" charset="0"/>
              <a:buChar char="-"/>
            </a:pPr>
            <a:r>
              <a:rPr lang="en-US" dirty="0"/>
              <a:t>Fifth level</a:t>
            </a:r>
          </a:p>
          <a:p>
            <a:pPr lvl="0"/>
            <a:endParaRPr lang="en-US" dirty="0"/>
          </a:p>
        </p:txBody>
      </p:sp>
      <p:sp>
        <p:nvSpPr>
          <p:cNvPr id="9" name="Text Placeholder 8"/>
          <p:cNvSpPr>
            <a:spLocks noGrp="1"/>
          </p:cNvSpPr>
          <p:nvPr>
            <p:ph type="body" sz="quarter" idx="15" hasCustomPrompt="1"/>
          </p:nvPr>
        </p:nvSpPr>
        <p:spPr>
          <a:xfrm>
            <a:off x="4895856" y="5410200"/>
            <a:ext cx="6683375" cy="762000"/>
          </a:xfrm>
        </p:spPr>
        <p:txBody>
          <a:bodyPr/>
          <a:lstStyle>
            <a:lvl1pPr marL="0" indent="0">
              <a:buFontTx/>
              <a:buNone/>
              <a:tabLst/>
              <a:defRPr sz="1900">
                <a:solidFill>
                  <a:srgbClr val="626469"/>
                </a:solidFill>
              </a:defRPr>
            </a:lvl1pPr>
          </a:lstStyle>
          <a:p>
            <a:pPr lvl="0"/>
            <a:r>
              <a:rPr lang="en-US" dirty="0"/>
              <a:t>Caption text</a:t>
            </a:r>
          </a:p>
        </p:txBody>
      </p:sp>
      <p:sp>
        <p:nvSpPr>
          <p:cNvPr id="12" name="TextBox 11"/>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rgbClr val="626469"/>
                </a:solidFill>
                <a:cs typeface="Arial" pitchFamily="34" charset="0"/>
              </a:rPr>
              <a:t>Confidential Property of Schneider Electric</a:t>
            </a:r>
          </a:p>
        </p:txBody>
      </p:sp>
    </p:spTree>
    <p:extLst>
      <p:ext uri="{BB962C8B-B14F-4D97-AF65-F5344CB8AC3E}">
        <p14:creationId xmlns:p14="http://schemas.microsoft.com/office/powerpoint/2010/main" val="4202361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ransition White">
    <p:bg>
      <p:bgPr>
        <a:solidFill>
          <a:schemeClr val="bg1"/>
        </a:solidFill>
        <a:effectLst/>
      </p:bgPr>
    </p:bg>
    <p:spTree>
      <p:nvGrpSpPr>
        <p:cNvPr id="1" name=""/>
        <p:cNvGrpSpPr/>
        <p:nvPr/>
      </p:nvGrpSpPr>
      <p:grpSpPr>
        <a:xfrm>
          <a:off x="0" y="0"/>
          <a:ext cx="0" cy="0"/>
          <a:chOff x="0" y="0"/>
          <a:chExt cx="0" cy="0"/>
        </a:xfrm>
      </p:grpSpPr>
      <p:pic>
        <p:nvPicPr>
          <p:cNvPr id="5" name="Picture 23" descr="C:\Users\Kurt\Desktop\Untitled-1cc.png"/>
          <p:cNvPicPr>
            <a:picLocks noChangeAspect="1" noChangeArrowheads="1"/>
          </p:cNvPicPr>
          <p:nvPr userDrawn="1"/>
        </p:nvPicPr>
        <p:blipFill>
          <a:blip r:embed="rId2" cstate="print"/>
          <a:srcRect/>
          <a:stretch>
            <a:fillRect/>
          </a:stretch>
        </p:blipFill>
        <p:spPr bwMode="auto">
          <a:xfrm>
            <a:off x="10068985" y="6130735"/>
            <a:ext cx="1135598" cy="338328"/>
          </a:xfrm>
          <a:prstGeom prst="rect">
            <a:avLst/>
          </a:prstGeom>
          <a:noFill/>
        </p:spPr>
      </p:pic>
      <p:sp>
        <p:nvSpPr>
          <p:cNvPr id="2" name="Title 1"/>
          <p:cNvSpPr>
            <a:spLocks noGrp="1"/>
          </p:cNvSpPr>
          <p:nvPr>
            <p:ph type="title" hasCustomPrompt="1"/>
          </p:nvPr>
        </p:nvSpPr>
        <p:spPr>
          <a:xfrm>
            <a:off x="609441" y="2436823"/>
            <a:ext cx="10969943" cy="1255711"/>
          </a:xfrm>
        </p:spPr>
        <p:txBody>
          <a:bodyPr anchor="b" anchorCtr="0">
            <a:normAutofit/>
          </a:bodyPr>
          <a:lstStyle>
            <a:lvl1pPr algn="l">
              <a:defRPr baseline="0">
                <a:solidFill>
                  <a:srgbClr val="009530"/>
                </a:solidFill>
              </a:defRPr>
            </a:lvl1pPr>
          </a:lstStyle>
          <a:p>
            <a:r>
              <a:rPr lang="en-US" dirty="0"/>
              <a:t>Transition Slide Headline</a:t>
            </a:r>
          </a:p>
        </p:txBody>
      </p:sp>
      <p:sp>
        <p:nvSpPr>
          <p:cNvPr id="7" name="Text Placeholder 6"/>
          <p:cNvSpPr>
            <a:spLocks noGrp="1"/>
          </p:cNvSpPr>
          <p:nvPr>
            <p:ph type="body" sz="quarter" idx="10" hasCustomPrompt="1"/>
          </p:nvPr>
        </p:nvSpPr>
        <p:spPr>
          <a:xfrm>
            <a:off x="603248" y="3765560"/>
            <a:ext cx="10972800" cy="1228725"/>
          </a:xfrm>
        </p:spPr>
        <p:txBody>
          <a:bodyPr rIns="0">
            <a:noAutofit/>
          </a:bodyPr>
          <a:lstStyle>
            <a:lvl1pPr marL="0" indent="0" algn="l">
              <a:buNone/>
              <a:defRPr sz="2300">
                <a:solidFill>
                  <a:srgbClr val="626469"/>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a:t>
            </a:r>
            <a:r>
              <a:rPr lang="en-US" noProof="0" dirty="0"/>
              <a:t>necessary</a:t>
            </a:r>
          </a:p>
        </p:txBody>
      </p:sp>
      <p:sp>
        <p:nvSpPr>
          <p:cNvPr id="6" name="Freeform 5"/>
          <p:cNvSpPr/>
          <p:nvPr userDrawn="1"/>
        </p:nvSpPr>
        <p:spPr>
          <a:xfrm>
            <a:off x="11289034" y="6252907"/>
            <a:ext cx="45719" cy="21615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rgbClr val="626469"/>
            </a:solidFill>
            <a:prstDash val="solid"/>
          </a:ln>
          <a:effectLst/>
        </p:spPr>
        <p:txBody>
          <a:bodyPr lIns="91432" tIns="45717" rIns="91432" bIns="45717" rtlCol="0" anchor="ctr"/>
          <a:lstStyle/>
          <a:p>
            <a:pPr algn="ctr" defTabSz="1218885">
              <a:defRPr/>
            </a:pPr>
            <a:endParaRPr lang="en-US" sz="2400" kern="0" dirty="0">
              <a:solidFill>
                <a:prstClr val="black"/>
              </a:solidFill>
              <a:latin typeface="Calibri"/>
            </a:endParaRPr>
          </a:p>
        </p:txBody>
      </p:sp>
    </p:spTree>
    <p:extLst>
      <p:ext uri="{BB962C8B-B14F-4D97-AF65-F5344CB8AC3E}">
        <p14:creationId xmlns:p14="http://schemas.microsoft.com/office/powerpoint/2010/main" val="11725449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Large Object White">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74"/>
            <a:ext cx="10969943" cy="1095375"/>
          </a:xfrm>
        </p:spPr>
        <p:txBody>
          <a:bodyPr/>
          <a:lstStyle/>
          <a:p>
            <a:r>
              <a:rPr lang="en-US" dirty="0"/>
              <a:t>Click to edit Master title style</a:t>
            </a:r>
          </a:p>
        </p:txBody>
      </p:sp>
      <p:sp>
        <p:nvSpPr>
          <p:cNvPr id="3" name="Content Placeholder 2"/>
          <p:cNvSpPr>
            <a:spLocks noGrp="1"/>
          </p:cNvSpPr>
          <p:nvPr>
            <p:ph sz="half" idx="1"/>
          </p:nvPr>
        </p:nvSpPr>
        <p:spPr>
          <a:xfrm>
            <a:off x="609441" y="1509715"/>
            <a:ext cx="10969943" cy="4762500"/>
          </a:xfrm>
        </p:spPr>
        <p:txBody>
          <a:bodyPr rIns="0">
            <a:noAutofit/>
          </a:bodyPr>
          <a:lstStyle>
            <a:lvl1pPr marL="0" indent="0" algn="l">
              <a:buNone/>
              <a:defRPr sz="2300">
                <a:solidFill>
                  <a:srgbClr val="626469"/>
                </a:solidFill>
              </a:defRPr>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dirty="0"/>
              <a:t>Click to edit Master text styles</a:t>
            </a:r>
          </a:p>
        </p:txBody>
      </p:sp>
      <p:sp>
        <p:nvSpPr>
          <p:cNvPr id="5" name="TextBox 4"/>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rgbClr val="626469"/>
                </a:solidFill>
                <a:cs typeface="Arial" pitchFamily="34" charset="0"/>
              </a:rPr>
              <a:t>Confidential Property of Schneider Electric</a:t>
            </a:r>
          </a:p>
        </p:txBody>
      </p:sp>
    </p:spTree>
    <p:extLst>
      <p:ext uri="{BB962C8B-B14F-4D97-AF65-F5344CB8AC3E}">
        <p14:creationId xmlns:p14="http://schemas.microsoft.com/office/powerpoint/2010/main" val="11905798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mparison White">
    <p:spTree>
      <p:nvGrpSpPr>
        <p:cNvPr id="1" name=""/>
        <p:cNvGrpSpPr/>
        <p:nvPr/>
      </p:nvGrpSpPr>
      <p:grpSpPr>
        <a:xfrm>
          <a:off x="0" y="0"/>
          <a:ext cx="0" cy="0"/>
          <a:chOff x="0" y="0"/>
          <a:chExt cx="0" cy="0"/>
        </a:xfrm>
      </p:grpSpPr>
      <p:sp>
        <p:nvSpPr>
          <p:cNvPr id="2" name="Title 1"/>
          <p:cNvSpPr>
            <a:spLocks noGrp="1"/>
          </p:cNvSpPr>
          <p:nvPr>
            <p:ph type="title"/>
          </p:nvPr>
        </p:nvSpPr>
        <p:spPr>
          <a:xfrm>
            <a:off x="609446" y="271474"/>
            <a:ext cx="10969784" cy="1095375"/>
          </a:xfrm>
        </p:spPr>
        <p:txBody>
          <a:bodyPr/>
          <a:lstStyle>
            <a:lvl1pPr>
              <a:defRPr>
                <a:solidFill>
                  <a:srgbClr val="009530"/>
                </a:solidFill>
              </a:defRPr>
            </a:lvl1pPr>
          </a:lstStyle>
          <a:p>
            <a:r>
              <a:rPr lang="en-US" dirty="0"/>
              <a:t>Click to edit Master title style</a:t>
            </a:r>
          </a:p>
        </p:txBody>
      </p:sp>
      <p:sp>
        <p:nvSpPr>
          <p:cNvPr id="3" name="Text Placeholder 2"/>
          <p:cNvSpPr>
            <a:spLocks noGrp="1"/>
          </p:cNvSpPr>
          <p:nvPr>
            <p:ph type="body" idx="1"/>
          </p:nvPr>
        </p:nvSpPr>
        <p:spPr>
          <a:xfrm>
            <a:off x="609443" y="1509713"/>
            <a:ext cx="5184933" cy="517525"/>
          </a:xfrm>
        </p:spPr>
        <p:txBody>
          <a:bodyPr rIns="0" anchor="t" anchorCtr="0"/>
          <a:lstStyle>
            <a:lvl1pPr marL="0" indent="0" algn="l">
              <a:buNone/>
              <a:defRPr sz="2300" b="1">
                <a:solidFill>
                  <a:srgbClr val="009530"/>
                </a:solidFill>
                <a:latin typeface="Arial" pitchFamily="34" charset="0"/>
                <a:cs typeface="Arial" pitchFamily="34" charset="0"/>
              </a:defRPr>
            </a:lvl1pPr>
            <a:lvl2pPr marL="457161" indent="0">
              <a:buNone/>
              <a:defRPr sz="2000" b="1"/>
            </a:lvl2pPr>
            <a:lvl3pPr marL="914323" indent="0">
              <a:buNone/>
              <a:defRPr sz="1900" b="1"/>
            </a:lvl3pPr>
            <a:lvl4pPr marL="1371485" indent="0">
              <a:buNone/>
              <a:defRPr sz="1600" b="1"/>
            </a:lvl4pPr>
            <a:lvl5pPr marL="1828648" indent="0">
              <a:buNone/>
              <a:defRPr sz="1600" b="1"/>
            </a:lvl5pPr>
            <a:lvl6pPr marL="2285809" indent="0">
              <a:buNone/>
              <a:defRPr sz="1600" b="1"/>
            </a:lvl6pPr>
            <a:lvl7pPr marL="2742971" indent="0">
              <a:buNone/>
              <a:defRPr sz="1600" b="1"/>
            </a:lvl7pPr>
            <a:lvl8pPr marL="3200133" indent="0">
              <a:buNone/>
              <a:defRPr sz="1600" b="1"/>
            </a:lvl8pPr>
            <a:lvl9pPr marL="3657296" indent="0">
              <a:buNone/>
              <a:defRPr sz="1600" b="1"/>
            </a:lvl9pPr>
          </a:lstStyle>
          <a:p>
            <a:pPr lvl="0"/>
            <a:r>
              <a:rPr lang="en-US" dirty="0"/>
              <a:t>Click to edit Master text styles</a:t>
            </a:r>
          </a:p>
        </p:txBody>
      </p:sp>
      <p:sp>
        <p:nvSpPr>
          <p:cNvPr id="5" name="Text Placeholder 4"/>
          <p:cNvSpPr>
            <a:spLocks noGrp="1"/>
          </p:cNvSpPr>
          <p:nvPr>
            <p:ph type="body" sz="quarter" idx="3"/>
          </p:nvPr>
        </p:nvSpPr>
        <p:spPr>
          <a:xfrm>
            <a:off x="6191757" y="1509713"/>
            <a:ext cx="5387470" cy="517525"/>
          </a:xfrm>
        </p:spPr>
        <p:txBody>
          <a:bodyPr rIns="0" anchor="t" anchorCtr="0"/>
          <a:lstStyle>
            <a:lvl1pPr marL="0" indent="0" algn="l">
              <a:buNone/>
              <a:defRPr sz="2300" b="1">
                <a:solidFill>
                  <a:srgbClr val="009530"/>
                </a:solidFill>
                <a:latin typeface="Arial" pitchFamily="34" charset="0"/>
                <a:cs typeface="Arial" pitchFamily="34" charset="0"/>
              </a:defRPr>
            </a:lvl1pPr>
            <a:lvl2pPr marL="457161" indent="0">
              <a:buNone/>
              <a:defRPr sz="2000" b="1"/>
            </a:lvl2pPr>
            <a:lvl3pPr marL="914323" indent="0">
              <a:buNone/>
              <a:defRPr sz="1900" b="1"/>
            </a:lvl3pPr>
            <a:lvl4pPr marL="1371485" indent="0">
              <a:buNone/>
              <a:defRPr sz="1600" b="1"/>
            </a:lvl4pPr>
            <a:lvl5pPr marL="1828648" indent="0">
              <a:buNone/>
              <a:defRPr sz="1600" b="1"/>
            </a:lvl5pPr>
            <a:lvl6pPr marL="2285809" indent="0">
              <a:buNone/>
              <a:defRPr sz="1600" b="1"/>
            </a:lvl6pPr>
            <a:lvl7pPr marL="2742971" indent="0">
              <a:buNone/>
              <a:defRPr sz="1600" b="1"/>
            </a:lvl7pPr>
            <a:lvl8pPr marL="3200133" indent="0">
              <a:buNone/>
              <a:defRPr sz="1600" b="1"/>
            </a:lvl8pPr>
            <a:lvl9pPr marL="3657296" indent="0">
              <a:buNone/>
              <a:defRPr sz="1600" b="1"/>
            </a:lvl9pPr>
          </a:lstStyle>
          <a:p>
            <a:pPr lvl="0"/>
            <a:r>
              <a:rPr lang="en-US" dirty="0"/>
              <a:t>Click to edit Master text styles</a:t>
            </a:r>
          </a:p>
        </p:txBody>
      </p:sp>
      <p:sp>
        <p:nvSpPr>
          <p:cNvPr id="8" name="Text Placeholder 7"/>
          <p:cNvSpPr>
            <a:spLocks noGrp="1"/>
          </p:cNvSpPr>
          <p:nvPr>
            <p:ph type="body" sz="quarter" idx="10"/>
          </p:nvPr>
        </p:nvSpPr>
        <p:spPr>
          <a:xfrm>
            <a:off x="609605" y="2144721"/>
            <a:ext cx="5184775" cy="4127499"/>
          </a:xfrm>
        </p:spPr>
        <p:txBody>
          <a:bodyPr/>
          <a:lstStyle>
            <a:lvl1pPr>
              <a:defRPr sz="2000"/>
            </a:lvl1pPr>
            <a:lvl2pPr>
              <a:defRPr sz="1900"/>
            </a:lvl2pPr>
            <a:lvl3pPr>
              <a:defRPr sz="1600"/>
            </a:lvl3pPr>
            <a:lvl4pPr>
              <a:defRPr sz="15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1"/>
          </p:nvPr>
        </p:nvSpPr>
        <p:spPr>
          <a:xfrm>
            <a:off x="6191250" y="2144721"/>
            <a:ext cx="5387975" cy="4127499"/>
          </a:xfrm>
        </p:spPr>
        <p:txBody>
          <a:bodyPr/>
          <a:lstStyle>
            <a:lvl1pPr>
              <a:defRPr sz="2000"/>
            </a:lvl1pPr>
            <a:lvl2pPr>
              <a:defRPr sz="1900"/>
            </a:lvl2pPr>
            <a:lvl3pPr>
              <a:defRPr sz="1600"/>
            </a:lvl3pPr>
            <a:lvl4pPr>
              <a:defRPr sz="15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rgbClr val="626469"/>
                </a:solidFill>
                <a:cs typeface="Arial" pitchFamily="34" charset="0"/>
              </a:rPr>
              <a:t>Confidential Property of Schneider Electric</a:t>
            </a:r>
          </a:p>
        </p:txBody>
      </p:sp>
    </p:spTree>
    <p:extLst>
      <p:ext uri="{BB962C8B-B14F-4D97-AF65-F5344CB8AC3E}">
        <p14:creationId xmlns:p14="http://schemas.microsoft.com/office/powerpoint/2010/main" val="22203513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6" name="Rectangle 5"/>
          <p:cNvSpPr/>
          <p:nvPr/>
        </p:nvSpPr>
        <p:spPr>
          <a:xfrm>
            <a:off x="11086300" y="6206806"/>
            <a:ext cx="619933" cy="5245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solidFill>
                <a:prstClr val="white"/>
              </a:solidFill>
            </a:endParaRPr>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9687788" y="5904395"/>
            <a:ext cx="1891445" cy="564671"/>
          </a:xfrm>
          <a:prstGeom prst="rect">
            <a:avLst/>
          </a:prstGeom>
          <a:noFill/>
        </p:spPr>
      </p:pic>
      <p:sp>
        <p:nvSpPr>
          <p:cNvPr id="5" name="TextBox 4"/>
          <p:cNvSpPr txBox="1"/>
          <p:nvPr userDrawn="1"/>
        </p:nvSpPr>
        <p:spPr>
          <a:xfrm>
            <a:off x="608015" y="6130519"/>
            <a:ext cx="9658279" cy="338555"/>
          </a:xfrm>
          <a:prstGeom prst="rect">
            <a:avLst/>
          </a:prstGeom>
          <a:noFill/>
        </p:spPr>
        <p:txBody>
          <a:bodyPr wrap="square" lIns="0" tIns="0" rIns="0" bIns="0" rtlCol="0" anchor="b" anchorCtr="0">
            <a:spAutoFit/>
          </a:bodyPr>
          <a:lstStyle/>
          <a:p>
            <a:r>
              <a:rPr lang="en-US" sz="1100" dirty="0">
                <a:solidFill>
                  <a:srgbClr val="626469"/>
                </a:solidFill>
                <a:ea typeface="ＭＳ Ｐゴシック" pitchFamily="34" charset="-128"/>
                <a:cs typeface="Arial" pitchFamily="34" charset="0"/>
              </a:rPr>
              <a:t>©2014 Schneider Electric. All Rights Reserved.</a:t>
            </a:r>
            <a:br>
              <a:rPr lang="en-US" sz="1100" dirty="0">
                <a:solidFill>
                  <a:srgbClr val="626469"/>
                </a:solidFill>
                <a:ea typeface="ＭＳ Ｐゴシック" pitchFamily="34" charset="-128"/>
                <a:cs typeface="Arial" pitchFamily="34" charset="0"/>
              </a:rPr>
            </a:br>
            <a:r>
              <a:rPr lang="en-US" sz="1100" dirty="0">
                <a:solidFill>
                  <a:srgbClr val="626469"/>
                </a:solidFill>
                <a:ea typeface="ＭＳ Ｐゴシック" pitchFamily="34" charset="-128"/>
                <a:cs typeface="Arial" pitchFamily="34" charset="0"/>
              </a:rPr>
              <a:t>All trademarks are owned by Schneider Electric Industries SAS or its affiliated companies or their respective owners.</a:t>
            </a:r>
          </a:p>
        </p:txBody>
      </p:sp>
      <p:sp>
        <p:nvSpPr>
          <p:cNvPr id="7" name="Rectangle 6"/>
          <p:cNvSpPr/>
          <p:nvPr userDrawn="1"/>
        </p:nvSpPr>
        <p:spPr>
          <a:xfrm>
            <a:off x="518848" y="3002680"/>
            <a:ext cx="7142000" cy="646344"/>
          </a:xfrm>
          <a:prstGeom prst="rect">
            <a:avLst/>
          </a:prstGeom>
        </p:spPr>
        <p:txBody>
          <a:bodyPr wrap="none" lIns="91432" tIns="45717" rIns="91432" bIns="45717" anchor="b" anchorCtr="0">
            <a:spAutoFit/>
          </a:bodyPr>
          <a:lstStyle/>
          <a:p>
            <a:r>
              <a:rPr lang="en-US" sz="3600" b="1" dirty="0">
                <a:solidFill>
                  <a:srgbClr val="009530"/>
                </a:solidFill>
                <a:cs typeface="Arial" pitchFamily="34" charset="0"/>
              </a:rPr>
              <a:t>Make the most of your energy</a:t>
            </a:r>
            <a:r>
              <a:rPr lang="en-US" sz="2000" b="1" baseline="70000" dirty="0">
                <a:solidFill>
                  <a:srgbClr val="009530"/>
                </a:solidFill>
                <a:cs typeface="Arial" pitchFamily="34" charset="0"/>
              </a:rPr>
              <a:t>SM</a:t>
            </a:r>
            <a:r>
              <a:rPr lang="en-US" sz="2400" b="1" baseline="30000" dirty="0">
                <a:solidFill>
                  <a:srgbClr val="009530"/>
                </a:solidFill>
                <a:cs typeface="Arial" pitchFamily="34" charset="0"/>
              </a:rPr>
              <a:t> </a:t>
            </a:r>
            <a:endParaRPr lang="en-US" dirty="0">
              <a:solidFill>
                <a:srgbClr val="87D200"/>
              </a:solidFill>
            </a:endParaRPr>
          </a:p>
        </p:txBody>
      </p:sp>
    </p:spTree>
    <p:extLst>
      <p:ext uri="{BB962C8B-B14F-4D97-AF65-F5344CB8AC3E}">
        <p14:creationId xmlns:p14="http://schemas.microsoft.com/office/powerpoint/2010/main" val="12688631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Spruce Green">
    <p:bg>
      <p:bgPr>
        <a:solidFill>
          <a:srgbClr val="009530"/>
        </a:solidFill>
        <a:effectLst/>
      </p:bgPr>
    </p:bg>
    <p:spTree>
      <p:nvGrpSpPr>
        <p:cNvPr id="1" name=""/>
        <p:cNvGrpSpPr/>
        <p:nvPr/>
      </p:nvGrpSpPr>
      <p:grpSpPr>
        <a:xfrm>
          <a:off x="0" y="0"/>
          <a:ext cx="0" cy="0"/>
          <a:chOff x="0" y="0"/>
          <a:chExt cx="0" cy="0"/>
        </a:xfrm>
      </p:grpSpPr>
      <p:sp>
        <p:nvSpPr>
          <p:cNvPr id="6" name="Rectangle 5"/>
          <p:cNvSpPr/>
          <p:nvPr/>
        </p:nvSpPr>
        <p:spPr>
          <a:xfrm>
            <a:off x="11215283" y="6206806"/>
            <a:ext cx="619933" cy="524519"/>
          </a:xfrm>
          <a:prstGeom prst="rect">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solidFill>
                <a:prstClr val="white"/>
              </a:solidFill>
            </a:endParaRPr>
          </a:p>
        </p:txBody>
      </p:sp>
      <p:pic>
        <p:nvPicPr>
          <p:cNvPr id="7" name="Picture 23" descr="C:\Users\Kurt\Desktop\Untitled-1cc.png"/>
          <p:cNvPicPr>
            <a:picLocks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9686420" y="5902135"/>
            <a:ext cx="1892808" cy="566928"/>
          </a:xfrm>
          <a:prstGeom prst="rect">
            <a:avLst/>
          </a:prstGeom>
          <a:noFill/>
        </p:spPr>
      </p:pic>
      <p:sp>
        <p:nvSpPr>
          <p:cNvPr id="5" name="Rectangle 4"/>
          <p:cNvSpPr/>
          <p:nvPr userDrawn="1"/>
        </p:nvSpPr>
        <p:spPr>
          <a:xfrm>
            <a:off x="518848" y="3002680"/>
            <a:ext cx="7142000" cy="646344"/>
          </a:xfrm>
          <a:prstGeom prst="rect">
            <a:avLst/>
          </a:prstGeom>
        </p:spPr>
        <p:txBody>
          <a:bodyPr wrap="none" lIns="91432" tIns="45717" rIns="91432" bIns="45717" anchor="b" anchorCtr="0">
            <a:spAutoFit/>
          </a:bodyPr>
          <a:lstStyle/>
          <a:p>
            <a:r>
              <a:rPr lang="en-US" sz="3600" b="1" dirty="0">
                <a:solidFill>
                  <a:prstClr val="white"/>
                </a:solidFill>
                <a:cs typeface="Arial" pitchFamily="34" charset="0"/>
              </a:rPr>
              <a:t>Make the most of your energy</a:t>
            </a:r>
            <a:r>
              <a:rPr lang="en-US" sz="2000" b="1" baseline="70000" dirty="0">
                <a:solidFill>
                  <a:prstClr val="white"/>
                </a:solidFill>
                <a:cs typeface="Arial" pitchFamily="34" charset="0"/>
              </a:rPr>
              <a:t>SM</a:t>
            </a:r>
            <a:r>
              <a:rPr lang="en-US" sz="2400" b="1" baseline="30000" dirty="0">
                <a:solidFill>
                  <a:prstClr val="white"/>
                </a:solidFill>
                <a:cs typeface="Arial" pitchFamily="34" charset="0"/>
              </a:rPr>
              <a:t> </a:t>
            </a:r>
            <a:endParaRPr lang="en-US" dirty="0">
              <a:solidFill>
                <a:prstClr val="white"/>
              </a:solidFill>
            </a:endParaRPr>
          </a:p>
        </p:txBody>
      </p:sp>
    </p:spTree>
    <p:extLst>
      <p:ext uri="{BB962C8B-B14F-4D97-AF65-F5344CB8AC3E}">
        <p14:creationId xmlns:p14="http://schemas.microsoft.com/office/powerpoint/2010/main" val="12688631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Slide Thank You">
    <p:spTree>
      <p:nvGrpSpPr>
        <p:cNvPr id="1" name=""/>
        <p:cNvGrpSpPr/>
        <p:nvPr/>
      </p:nvGrpSpPr>
      <p:grpSpPr>
        <a:xfrm>
          <a:off x="0" y="0"/>
          <a:ext cx="0" cy="0"/>
          <a:chOff x="0" y="0"/>
          <a:chExt cx="0" cy="0"/>
        </a:xfrm>
      </p:grpSpPr>
      <p:sp>
        <p:nvSpPr>
          <p:cNvPr id="6" name="Rectangle 5"/>
          <p:cNvSpPr/>
          <p:nvPr/>
        </p:nvSpPr>
        <p:spPr>
          <a:xfrm>
            <a:off x="11086300" y="6206806"/>
            <a:ext cx="619933" cy="5245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solidFill>
                <a:prstClr val="white"/>
              </a:solidFill>
            </a:endParaRPr>
          </a:p>
        </p:txBody>
      </p:sp>
      <p:pic>
        <p:nvPicPr>
          <p:cNvPr id="14" name="Picture 23" descr="C:\Users\Kurt\Desktop\Untitled-1cc.png"/>
          <p:cNvPicPr>
            <a:picLocks noChangeAspect="1" noChangeArrowheads="1"/>
          </p:cNvPicPr>
          <p:nvPr/>
        </p:nvPicPr>
        <p:blipFill>
          <a:blip r:embed="rId2" cstate="print"/>
          <a:srcRect/>
          <a:stretch>
            <a:fillRect/>
          </a:stretch>
        </p:blipFill>
        <p:spPr bwMode="auto">
          <a:xfrm>
            <a:off x="9687788" y="5904395"/>
            <a:ext cx="1891445" cy="564671"/>
          </a:xfrm>
          <a:prstGeom prst="rect">
            <a:avLst/>
          </a:prstGeom>
          <a:noFill/>
        </p:spPr>
      </p:pic>
      <p:sp>
        <p:nvSpPr>
          <p:cNvPr id="5" name="TextBox 4"/>
          <p:cNvSpPr txBox="1"/>
          <p:nvPr userDrawn="1"/>
        </p:nvSpPr>
        <p:spPr>
          <a:xfrm>
            <a:off x="608015" y="6130519"/>
            <a:ext cx="9658279" cy="338555"/>
          </a:xfrm>
          <a:prstGeom prst="rect">
            <a:avLst/>
          </a:prstGeom>
          <a:noFill/>
        </p:spPr>
        <p:txBody>
          <a:bodyPr wrap="square" lIns="0" tIns="0" rIns="0" bIns="0" rtlCol="0" anchor="b" anchorCtr="0">
            <a:spAutoFit/>
          </a:bodyPr>
          <a:lstStyle/>
          <a:p>
            <a:r>
              <a:rPr lang="en-US" sz="1100" dirty="0">
                <a:solidFill>
                  <a:srgbClr val="626469"/>
                </a:solidFill>
                <a:ea typeface="ＭＳ Ｐゴシック" pitchFamily="34" charset="-128"/>
                <a:cs typeface="Arial" pitchFamily="34" charset="0"/>
              </a:rPr>
              <a:t>©2014 Schneider Electric. All Rights Reserved.</a:t>
            </a:r>
            <a:br>
              <a:rPr lang="en-US" sz="1100" dirty="0">
                <a:solidFill>
                  <a:srgbClr val="626469"/>
                </a:solidFill>
                <a:ea typeface="ＭＳ Ｐゴシック" pitchFamily="34" charset="-128"/>
                <a:cs typeface="Arial" pitchFamily="34" charset="0"/>
              </a:rPr>
            </a:br>
            <a:r>
              <a:rPr lang="en-US" sz="1100" dirty="0">
                <a:solidFill>
                  <a:srgbClr val="626469"/>
                </a:solidFill>
                <a:ea typeface="ＭＳ Ｐゴシック" pitchFamily="34" charset="-128"/>
                <a:cs typeface="Arial" pitchFamily="34" charset="0"/>
              </a:rPr>
              <a:t>All trademarks are owned by Schneider Electric Industries SAS or its affiliated companies or their respective owners.</a:t>
            </a:r>
          </a:p>
        </p:txBody>
      </p:sp>
      <p:pic>
        <p:nvPicPr>
          <p:cNvPr id="7" name="Picture 6" descr="Thankyou2.jpg"/>
          <p:cNvPicPr>
            <a:picLocks noChangeAspect="1"/>
          </p:cNvPicPr>
          <p:nvPr userDrawn="1"/>
        </p:nvPicPr>
        <p:blipFill rotWithShape="1">
          <a:blip r:embed="rId3" cstate="print">
            <a:extLst>
              <a:ext uri="{28A0092B-C50C-407E-A947-70E740481C1C}">
                <a14:useLocalDpi xmlns:a14="http://schemas.microsoft.com/office/drawing/2010/main" val="0"/>
              </a:ext>
            </a:extLst>
          </a:blip>
          <a:srcRect r="971"/>
          <a:stretch/>
        </p:blipFill>
        <p:spPr>
          <a:xfrm>
            <a:off x="0" y="1812835"/>
            <a:ext cx="12188825" cy="3022680"/>
          </a:xfrm>
          <a:prstGeom prst="rect">
            <a:avLst/>
          </a:prstGeom>
        </p:spPr>
      </p:pic>
    </p:spTree>
    <p:extLst>
      <p:ext uri="{BB962C8B-B14F-4D97-AF65-F5344CB8AC3E}">
        <p14:creationId xmlns:p14="http://schemas.microsoft.com/office/powerpoint/2010/main" val="12688631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Light Image">
    <p:bg>
      <p:bgPr>
        <a:solidFill>
          <a:srgbClr val="009530"/>
        </a:solidFill>
        <a:effectLst/>
      </p:bgPr>
    </p:bg>
    <p:spTree>
      <p:nvGrpSpPr>
        <p:cNvPr id="1" name=""/>
        <p:cNvGrpSpPr/>
        <p:nvPr/>
      </p:nvGrpSpPr>
      <p:grpSpPr>
        <a:xfrm>
          <a:off x="0" y="0"/>
          <a:ext cx="0" cy="0"/>
          <a:chOff x="0" y="0"/>
          <a:chExt cx="0" cy="0"/>
        </a:xfrm>
      </p:grpSpPr>
      <p:pic>
        <p:nvPicPr>
          <p:cNvPr id="8" name="Picture 7" descr="Cover_UJH1374_layers_v2.jpg"/>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5"/>
          <a:stretch/>
        </p:blipFill>
        <p:spPr>
          <a:xfrm>
            <a:off x="4" y="0"/>
            <a:ext cx="12188824" cy="6858000"/>
          </a:xfrm>
          <a:prstGeom prst="rect">
            <a:avLst/>
          </a:prstGeom>
        </p:spPr>
      </p:pic>
      <p:sp>
        <p:nvSpPr>
          <p:cNvPr id="2" name="Title 1"/>
          <p:cNvSpPr>
            <a:spLocks noGrp="1"/>
          </p:cNvSpPr>
          <p:nvPr>
            <p:ph type="ctrTitle" hasCustomPrompt="1"/>
          </p:nvPr>
        </p:nvSpPr>
        <p:spPr>
          <a:xfrm>
            <a:off x="599920" y="2130442"/>
            <a:ext cx="8206628" cy="1470025"/>
          </a:xfrm>
        </p:spPr>
        <p:txBody>
          <a:bodyPr lIns="0" anchor="b" anchorCtr="0">
            <a:noAutofit/>
          </a:bodyPr>
          <a:lstStyle>
            <a:lvl1pPr algn="l">
              <a:defRPr sz="3600" b="1">
                <a:solidFill>
                  <a:srgbClr val="FFFFFF"/>
                </a:solidFill>
                <a:latin typeface="Arial" pitchFamily="34" charset="0"/>
                <a:cs typeface="Arial" pitchFamily="34" charset="0"/>
              </a:defRPr>
            </a:lvl1pPr>
          </a:lstStyle>
          <a:p>
            <a:r>
              <a:rPr lang="en-US" noProof="0" dirty="0"/>
              <a:t>Slide Title</a:t>
            </a:r>
          </a:p>
        </p:txBody>
      </p:sp>
      <p:sp>
        <p:nvSpPr>
          <p:cNvPr id="3" name="Subtitle 2"/>
          <p:cNvSpPr>
            <a:spLocks noGrp="1"/>
          </p:cNvSpPr>
          <p:nvPr>
            <p:ph type="subTitle" idx="1" hasCustomPrompt="1"/>
          </p:nvPr>
        </p:nvSpPr>
        <p:spPr>
          <a:xfrm>
            <a:off x="599920" y="3644659"/>
            <a:ext cx="8206628" cy="1099871"/>
          </a:xfrm>
        </p:spPr>
        <p:txBody>
          <a:bodyPr lIns="0">
            <a:noAutofit/>
          </a:bodyPr>
          <a:lstStyle>
            <a:lvl1pPr marL="0" indent="0" algn="l">
              <a:buNone/>
              <a:defRPr sz="2300">
                <a:solidFill>
                  <a:srgbClr val="FFFFFF"/>
                </a:solidFill>
                <a:latin typeface="Arial" pitchFamily="34" charset="0"/>
                <a:cs typeface="Arial" pitchFamily="34" charset="0"/>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5" indent="0" algn="ctr">
              <a:buNone/>
              <a:defRPr>
                <a:solidFill>
                  <a:schemeClr val="tx1">
                    <a:tint val="75000"/>
                  </a:schemeClr>
                </a:solidFill>
              </a:defRPr>
            </a:lvl4pPr>
            <a:lvl5pPr marL="1828648" indent="0" algn="ctr">
              <a:buNone/>
              <a:defRPr>
                <a:solidFill>
                  <a:schemeClr val="tx1">
                    <a:tint val="75000"/>
                  </a:schemeClr>
                </a:solidFill>
              </a:defRPr>
            </a:lvl5pPr>
            <a:lvl6pPr marL="2285809" indent="0" algn="ctr">
              <a:buNone/>
              <a:defRPr>
                <a:solidFill>
                  <a:schemeClr val="tx1">
                    <a:tint val="75000"/>
                  </a:schemeClr>
                </a:solidFill>
              </a:defRPr>
            </a:lvl6pPr>
            <a:lvl7pPr marL="2742971" indent="0" algn="ctr">
              <a:buNone/>
              <a:defRPr>
                <a:solidFill>
                  <a:schemeClr val="tx1">
                    <a:tint val="75000"/>
                  </a:schemeClr>
                </a:solidFill>
              </a:defRPr>
            </a:lvl7pPr>
            <a:lvl8pPr marL="3200133" indent="0" algn="ctr">
              <a:buNone/>
              <a:defRPr>
                <a:solidFill>
                  <a:schemeClr val="tx1">
                    <a:tint val="75000"/>
                  </a:schemeClr>
                </a:solidFill>
              </a:defRPr>
            </a:lvl8pPr>
            <a:lvl9pPr marL="3657296" indent="0" algn="ctr">
              <a:buNone/>
              <a:defRPr>
                <a:solidFill>
                  <a:schemeClr val="tx1">
                    <a:tint val="75000"/>
                  </a:schemeClr>
                </a:solidFill>
              </a:defRPr>
            </a:lvl9pPr>
          </a:lstStyle>
          <a:p>
            <a:r>
              <a:rPr lang="en-US" noProof="0" dirty="0"/>
              <a:t>Click to edit Subtitle</a:t>
            </a:r>
          </a:p>
        </p:txBody>
      </p:sp>
      <p:sp>
        <p:nvSpPr>
          <p:cNvPr id="9" name="Text Placeholder 8"/>
          <p:cNvSpPr>
            <a:spLocks noGrp="1"/>
          </p:cNvSpPr>
          <p:nvPr>
            <p:ph type="body" sz="quarter" idx="10" hasCustomPrompt="1"/>
          </p:nvPr>
        </p:nvSpPr>
        <p:spPr>
          <a:xfrm>
            <a:off x="600082" y="5124587"/>
            <a:ext cx="8586159" cy="1120775"/>
          </a:xfrm>
        </p:spPr>
        <p:txBody>
          <a:bodyPr>
            <a:normAutofit/>
          </a:bodyPr>
          <a:lstStyle>
            <a:lvl1pPr marL="0" indent="0">
              <a:buNone/>
              <a:defRPr sz="1600">
                <a:solidFill>
                  <a:schemeClr val="bg1"/>
                </a:solidFill>
                <a:latin typeface="Arial" pitchFamily="34" charset="0"/>
                <a:cs typeface="Arial" pitchFamily="34" charset="0"/>
              </a:defRPr>
            </a:lvl1pPr>
          </a:lstStyle>
          <a:p>
            <a:pPr lvl="0"/>
            <a:r>
              <a:rPr lang="en-US" noProof="0"/>
              <a:t>Date</a:t>
            </a:r>
            <a:br>
              <a:rPr lang="en-US" noProof="0"/>
            </a:br>
            <a:r>
              <a:rPr lang="en-US" noProof="0"/>
              <a:t>Author</a:t>
            </a:r>
            <a:br>
              <a:rPr lang="en-US" noProof="0"/>
            </a:br>
            <a:r>
              <a:rPr lang="en-US" noProof="0"/>
              <a:t>Title</a:t>
            </a:r>
          </a:p>
        </p:txBody>
      </p:sp>
      <p:pic>
        <p:nvPicPr>
          <p:cNvPr id="7" name="Picture 23" descr="C:\Users\Kurt\Desktop\Untitled-1cc.png"/>
          <p:cNvPicPr>
            <a:picLocks noChangeArrowheads="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Lst>
          </a:blip>
          <a:srcRect/>
          <a:stretch>
            <a:fillRect/>
          </a:stretch>
        </p:blipFill>
        <p:spPr bwMode="auto">
          <a:xfrm>
            <a:off x="9686420" y="5902135"/>
            <a:ext cx="1892808" cy="566928"/>
          </a:xfrm>
          <a:prstGeom prst="rect">
            <a:avLst/>
          </a:prstGeom>
          <a:noFill/>
        </p:spPr>
      </p:pic>
    </p:spTree>
    <p:extLst>
      <p:ext uri="{BB962C8B-B14F-4D97-AF65-F5344CB8AC3E}">
        <p14:creationId xmlns:p14="http://schemas.microsoft.com/office/powerpoint/2010/main" val="12688631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Horizontal Split Page Spruce Green Top">
    <p:spTree>
      <p:nvGrpSpPr>
        <p:cNvPr id="1" name=""/>
        <p:cNvGrpSpPr/>
        <p:nvPr/>
      </p:nvGrpSpPr>
      <p:grpSpPr>
        <a:xfrm>
          <a:off x="0" y="0"/>
          <a:ext cx="0" cy="0"/>
          <a:chOff x="0" y="0"/>
          <a:chExt cx="0" cy="0"/>
        </a:xfrm>
      </p:grpSpPr>
      <p:sp>
        <p:nvSpPr>
          <p:cNvPr id="5" name="Rectangle 4"/>
          <p:cNvSpPr/>
          <p:nvPr userDrawn="1"/>
        </p:nvSpPr>
        <p:spPr>
          <a:xfrm>
            <a:off x="0" y="1"/>
            <a:ext cx="12188825" cy="22685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solidFill>
                <a:prstClr val="white"/>
              </a:solidFill>
            </a:endParaRPr>
          </a:p>
        </p:txBody>
      </p:sp>
      <p:sp>
        <p:nvSpPr>
          <p:cNvPr id="2" name="Title 1"/>
          <p:cNvSpPr>
            <a:spLocks noGrp="1"/>
          </p:cNvSpPr>
          <p:nvPr>
            <p:ph type="title"/>
          </p:nvPr>
        </p:nvSpPr>
        <p:spPr>
          <a:xfrm>
            <a:off x="609441" y="271464"/>
            <a:ext cx="10969943" cy="1096963"/>
          </a:xfrm>
        </p:spPr>
        <p:txBody>
          <a:bodyPr/>
          <a:lstStyle>
            <a:lvl1pPr algn="l">
              <a:defRPr>
                <a:solidFill>
                  <a:schemeClr val="bg1"/>
                </a:solidFill>
              </a:defRPr>
            </a:lvl1pPr>
          </a:lstStyle>
          <a:p>
            <a:r>
              <a:rPr lang="en-US" dirty="0"/>
              <a:t>Click to edit Master title style</a:t>
            </a:r>
            <a:endParaRPr lang="en-US" noProof="0" dirty="0"/>
          </a:p>
        </p:txBody>
      </p:sp>
      <p:sp>
        <p:nvSpPr>
          <p:cNvPr id="3" name="Content Placeholder 2"/>
          <p:cNvSpPr>
            <a:spLocks noGrp="1"/>
          </p:cNvSpPr>
          <p:nvPr>
            <p:ph idx="1"/>
          </p:nvPr>
        </p:nvSpPr>
        <p:spPr>
          <a:xfrm>
            <a:off x="609441" y="2476502"/>
            <a:ext cx="10969943" cy="3682767"/>
          </a:xfrm>
          <a:prstGeom prst="rect">
            <a:avLst/>
          </a:prstGeom>
        </p:spPr>
        <p:txBody>
          <a:bodyPr/>
          <a:lstStyle>
            <a:lvl1pPr>
              <a:buFont typeface="Arial" pitchFamily="34" charset="0"/>
              <a:buChar char="&gt;"/>
              <a:defRPr/>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TextBox 5"/>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rgbClr val="626469"/>
                </a:solidFill>
                <a:cs typeface="Arial" pitchFamily="34" charset="0"/>
              </a:rPr>
              <a:t>Confidential Property of Schneider Electric</a:t>
            </a:r>
          </a:p>
        </p:txBody>
      </p:sp>
    </p:spTree>
    <p:extLst>
      <p:ext uri="{BB962C8B-B14F-4D97-AF65-F5344CB8AC3E}">
        <p14:creationId xmlns:p14="http://schemas.microsoft.com/office/powerpoint/2010/main" val="1406363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orizontal Split Page Spruce Green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9530"/>
                </a:solidFill>
              </a:defRPr>
            </a:lvl1pPr>
          </a:lstStyle>
          <a:p>
            <a:r>
              <a:rPr lang="en-US" dirty="0"/>
              <a:t>Click to edit Master title style</a:t>
            </a:r>
            <a:endParaRPr lang="en-US" noProof="0" dirty="0"/>
          </a:p>
        </p:txBody>
      </p:sp>
      <p:sp>
        <p:nvSpPr>
          <p:cNvPr id="3" name="Content Placeholder 2"/>
          <p:cNvSpPr>
            <a:spLocks noGrp="1"/>
          </p:cNvSpPr>
          <p:nvPr>
            <p:ph idx="1"/>
          </p:nvPr>
        </p:nvSpPr>
        <p:spPr>
          <a:xfrm>
            <a:off x="609441" y="1509723"/>
            <a:ext cx="10969943" cy="3057525"/>
          </a:xfrm>
          <a:prstGeom prst="rect">
            <a:avLst/>
          </a:prstGeom>
        </p:spPr>
        <p:txBody>
          <a:bodyPr/>
          <a:lstStyle>
            <a:lvl1pPr>
              <a:buFont typeface="Arial" pitchFamily="34" charset="0"/>
              <a:buChar char="&gt;"/>
              <a:defRPr/>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4" name="TextBox 3"/>
          <p:cNvSpPr txBox="1"/>
          <p:nvPr userDrawn="1"/>
        </p:nvSpPr>
        <p:spPr>
          <a:xfrm>
            <a:off x="473081" y="6340063"/>
            <a:ext cx="2839902" cy="215444"/>
          </a:xfrm>
          <a:prstGeom prst="rect">
            <a:avLst/>
          </a:prstGeom>
          <a:noFill/>
        </p:spPr>
        <p:txBody>
          <a:bodyPr wrap="square" lIns="91432" tIns="45717" rIns="91432" bIns="45717" rtlCol="0">
            <a:spAutoFit/>
          </a:bodyPr>
          <a:lstStyle/>
          <a:p>
            <a:r>
              <a:rPr lang="en-US" sz="800" dirty="0">
                <a:solidFill>
                  <a:srgbClr val="626469"/>
                </a:solidFill>
                <a:cs typeface="Arial" pitchFamily="34" charset="0"/>
              </a:rPr>
              <a:t>Confidential Property of Schneider Electric</a:t>
            </a:r>
          </a:p>
        </p:txBody>
      </p:sp>
      <p:sp>
        <p:nvSpPr>
          <p:cNvPr id="6" name="Rectangle 5"/>
          <p:cNvSpPr/>
          <p:nvPr userDrawn="1"/>
        </p:nvSpPr>
        <p:spPr>
          <a:xfrm>
            <a:off x="0" y="4567239"/>
            <a:ext cx="12188825" cy="23034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solidFill>
                <a:prstClr val="white"/>
              </a:solidFill>
            </a:endParaRPr>
          </a:p>
        </p:txBody>
      </p:sp>
      <p:sp>
        <p:nvSpPr>
          <p:cNvPr id="9"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ea typeface="ＭＳ Ｐゴシック" pitchFamily="34" charset="-128"/>
              <a:cs typeface="Arial" pitchFamily="34" charset="0"/>
            </a:endParaRPr>
          </a:p>
        </p:txBody>
      </p:sp>
      <p:sp>
        <p:nvSpPr>
          <p:cNvPr id="13" name="Content Placeholder 2"/>
          <p:cNvSpPr>
            <a:spLocks noGrp="1"/>
          </p:cNvSpPr>
          <p:nvPr>
            <p:ph sz="half" idx="10"/>
          </p:nvPr>
        </p:nvSpPr>
        <p:spPr>
          <a:xfrm>
            <a:off x="609441" y="4567248"/>
            <a:ext cx="10969943" cy="1643781"/>
          </a:xfrm>
        </p:spPr>
        <p:txBody>
          <a:bodyPr rIns="0">
            <a:noAutofit/>
          </a:bodyPr>
          <a:lstStyle>
            <a:lvl1pPr marL="0" indent="0" algn="l">
              <a:buNone/>
              <a:defRPr sz="2300">
                <a:solidFill>
                  <a:srgbClr val="FFFFFF"/>
                </a:solidFill>
              </a:defRPr>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dirty="0"/>
              <a:t>Click to edit Master text styles</a:t>
            </a:r>
          </a:p>
        </p:txBody>
      </p:sp>
      <p:sp>
        <p:nvSpPr>
          <p:cNvPr id="10" name="TextBox 9"/>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prstClr val="white"/>
                </a:solidFill>
                <a:cs typeface="Arial" pitchFamily="34" charset="0"/>
              </a:rPr>
              <a:t>Confidential Property of Schneider Electric</a:t>
            </a:r>
          </a:p>
        </p:txBody>
      </p:sp>
    </p:spTree>
    <p:extLst>
      <p:ext uri="{BB962C8B-B14F-4D97-AF65-F5344CB8AC3E}">
        <p14:creationId xmlns:p14="http://schemas.microsoft.com/office/powerpoint/2010/main" val="1406363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ransitio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2436823"/>
            <a:ext cx="10969943" cy="1255711"/>
          </a:xfrm>
        </p:spPr>
        <p:txBody>
          <a:bodyPr anchor="b" anchorCtr="0">
            <a:normAutofit/>
          </a:bodyPr>
          <a:lstStyle>
            <a:lvl1pPr>
              <a:defRPr>
                <a:solidFill>
                  <a:srgbClr val="FFFFFF"/>
                </a:solidFill>
              </a:defRPr>
            </a:lvl1pPr>
          </a:lstStyle>
          <a:p>
            <a:r>
              <a:rPr lang="en-US" dirty="0"/>
              <a:t>Transition Slide Headline</a:t>
            </a:r>
          </a:p>
        </p:txBody>
      </p:sp>
      <p:pic>
        <p:nvPicPr>
          <p:cNvPr id="5" name="Picture 23" descr="C:\Users\Kurt\Desktop\Untitled-1cc.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10073504" y="6132083"/>
            <a:ext cx="1131079" cy="336983"/>
          </a:xfrm>
          <a:prstGeom prst="rect">
            <a:avLst/>
          </a:prstGeom>
          <a:noFill/>
        </p:spPr>
      </p:pic>
      <p:sp>
        <p:nvSpPr>
          <p:cNvPr id="7" name="Text Placeholder 6"/>
          <p:cNvSpPr>
            <a:spLocks noGrp="1"/>
          </p:cNvSpPr>
          <p:nvPr>
            <p:ph type="body" sz="quarter" idx="10" hasCustomPrompt="1"/>
          </p:nvPr>
        </p:nvSpPr>
        <p:spPr>
          <a:xfrm>
            <a:off x="603248" y="3765551"/>
            <a:ext cx="10972800" cy="1228724"/>
          </a:xfrm>
        </p:spPr>
        <p:txBody>
          <a:bodyPr rIns="0">
            <a:noAutofit/>
          </a:bodyPr>
          <a:lstStyle>
            <a:lvl1pPr marL="0" indent="0" algn="l">
              <a:buNone/>
              <a:defRPr sz="230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necessary</a:t>
            </a:r>
          </a:p>
        </p:txBody>
      </p:sp>
      <p:sp>
        <p:nvSpPr>
          <p:cNvPr id="11" name="Freeform 10"/>
          <p:cNvSpPr/>
          <p:nvPr userDrawn="1"/>
        </p:nvSpPr>
        <p:spPr>
          <a:xfrm>
            <a:off x="11289034" y="6252907"/>
            <a:ext cx="45719" cy="21615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chemeClr val="bg1"/>
            </a:solidFill>
            <a:prstDash val="solid"/>
          </a:ln>
          <a:effectLst/>
        </p:spPr>
        <p:txBody>
          <a:bodyPr lIns="91432" tIns="45717" rIns="91432" bIns="45717" rtlCol="0" anchor="ctr"/>
          <a:lstStyle/>
          <a:p>
            <a:pPr algn="ctr" defTabSz="1218885">
              <a:defRPr/>
            </a:pPr>
            <a:endParaRPr lang="en-US" sz="2400" kern="0" dirty="0">
              <a:solidFill>
                <a:prstClr val="black"/>
              </a:solidFill>
              <a:latin typeface="Calibri"/>
            </a:endParaRPr>
          </a:p>
        </p:txBody>
      </p:sp>
      <p:sp>
        <p:nvSpPr>
          <p:cNvPr id="12"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4010383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Large Object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74"/>
            <a:ext cx="10969943" cy="1095375"/>
          </a:xfrm>
        </p:spPr>
        <p:txBody>
          <a:bodyPr>
            <a:noAutofit/>
          </a:bodyPr>
          <a:lstStyle>
            <a:lvl1pPr>
              <a:defRPr>
                <a:solidFill>
                  <a:srgbClr val="FFFFFF"/>
                </a:solidFill>
              </a:defRPr>
            </a:lvl1pPr>
          </a:lstStyle>
          <a:p>
            <a:r>
              <a:rPr lang="en-US" dirty="0"/>
              <a:t>Click to edit Master title style</a:t>
            </a:r>
          </a:p>
        </p:txBody>
      </p:sp>
      <p:sp>
        <p:nvSpPr>
          <p:cNvPr id="3" name="Content Placeholder 2"/>
          <p:cNvSpPr>
            <a:spLocks noGrp="1"/>
          </p:cNvSpPr>
          <p:nvPr>
            <p:ph sz="half" idx="1"/>
          </p:nvPr>
        </p:nvSpPr>
        <p:spPr>
          <a:xfrm>
            <a:off x="609441" y="1509713"/>
            <a:ext cx="10969943" cy="4701307"/>
          </a:xfrm>
        </p:spPr>
        <p:txBody>
          <a:bodyPr rIns="0">
            <a:noAutofit/>
          </a:bodyPr>
          <a:lstStyle>
            <a:lvl1pPr marL="0" indent="0" algn="l">
              <a:buNone/>
              <a:defRPr sz="2300">
                <a:solidFill>
                  <a:srgbClr val="FFFFFF"/>
                </a:solidFill>
              </a:defRPr>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dirty="0"/>
              <a:t>Click to edit Master text styles</a:t>
            </a:r>
          </a:p>
        </p:txBody>
      </p:sp>
      <p:sp>
        <p:nvSpPr>
          <p:cNvPr id="6" name="TextBox 5"/>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prstClr val="white"/>
                </a:solidFill>
                <a:cs typeface="Arial" pitchFamily="34" charset="0"/>
              </a:rPr>
              <a:t>Confidential Property of Schneider Electric</a:t>
            </a:r>
          </a:p>
        </p:txBody>
      </p:sp>
      <p:sp>
        <p:nvSpPr>
          <p:cNvPr id="8"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14620713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plit Page Spruce Green">
    <p:bg>
      <p:bgPr>
        <a:solidFill>
          <a:srgbClr val="009530"/>
        </a:solid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08019" y="261941"/>
            <a:ext cx="5175249" cy="1271587"/>
          </a:xfrm>
        </p:spPr>
        <p:txBody>
          <a:bodyPr anchor="t" anchorCtr="0"/>
          <a:lstStyle>
            <a:lvl1pPr algn="l">
              <a:defRPr>
                <a:solidFill>
                  <a:schemeClr val="bg1"/>
                </a:solidFill>
              </a:defRPr>
            </a:lvl1pPr>
          </a:lstStyle>
          <a:p>
            <a:r>
              <a:rPr lang="en-US" dirty="0"/>
              <a:t>Click to edit title</a:t>
            </a:r>
          </a:p>
        </p:txBody>
      </p:sp>
      <p:sp>
        <p:nvSpPr>
          <p:cNvPr id="3" name="Rectangle 2"/>
          <p:cNvSpPr/>
          <p:nvPr userDrawn="1"/>
        </p:nvSpPr>
        <p:spPr>
          <a:xfrm>
            <a:off x="6094412" y="0"/>
            <a:ext cx="60944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solidFill>
                <a:prstClr val="white"/>
              </a:solidFill>
            </a:endParaRPr>
          </a:p>
        </p:txBody>
      </p:sp>
      <p:sp>
        <p:nvSpPr>
          <p:cNvPr id="15" name="Content Placeholder 14"/>
          <p:cNvSpPr>
            <a:spLocks noGrp="1"/>
          </p:cNvSpPr>
          <p:nvPr>
            <p:ph sz="quarter" idx="12" hasCustomPrompt="1"/>
          </p:nvPr>
        </p:nvSpPr>
        <p:spPr>
          <a:xfrm>
            <a:off x="6094411" y="0"/>
            <a:ext cx="6094413" cy="6858000"/>
          </a:xfrm>
        </p:spPr>
        <p:txBody>
          <a:bodyPr lIns="274296" tIns="1691499" anchor="t" anchorCtr="0">
            <a:noAutofit/>
          </a:bodyPr>
          <a:lstStyle>
            <a:lvl1pPr>
              <a:buClr>
                <a:srgbClr val="009530"/>
              </a:buClr>
              <a:buFont typeface="Arial" pitchFamily="34" charset="0"/>
              <a:buChar char="&gt;"/>
              <a:defRPr sz="2000">
                <a:solidFill>
                  <a:srgbClr val="009530"/>
                </a:solidFill>
              </a:defRPr>
            </a:lvl1pPr>
            <a:lvl2pPr marL="461923" indent="-222232">
              <a:buClr>
                <a:srgbClr val="626469"/>
              </a:buClr>
              <a:buFont typeface="SE Rounded Medium" pitchFamily="50" charset="0"/>
              <a:buChar char="&gt;"/>
              <a:defRPr sz="1900">
                <a:solidFill>
                  <a:srgbClr val="626469"/>
                </a:solidFill>
              </a:defRPr>
            </a:lvl2pPr>
            <a:lvl3pPr marL="685744" marR="0" indent="-217470" algn="l" defTabSz="914323" rtl="0" eaLnBrk="1" fontAlgn="auto" latinLnBrk="0" hangingPunct="1">
              <a:lnSpc>
                <a:spcPct val="100000"/>
              </a:lnSpc>
              <a:spcBef>
                <a:spcPct val="20000"/>
              </a:spcBef>
              <a:spcAft>
                <a:spcPts val="0"/>
              </a:spcAft>
              <a:buClr>
                <a:srgbClr val="626469"/>
              </a:buClr>
              <a:buSzTx/>
              <a:buFont typeface="Arial" pitchFamily="34" charset="0"/>
              <a:buChar char="-"/>
              <a:tabLst/>
              <a:defRPr sz="1600">
                <a:solidFill>
                  <a:srgbClr val="626469"/>
                </a:solidFill>
              </a:defRPr>
            </a:lvl3pPr>
            <a:lvl4pPr marL="914323" indent="-228581">
              <a:buClr>
                <a:srgbClr val="626469"/>
              </a:buClr>
              <a:buFont typeface="Arial" pitchFamily="34" charset="0"/>
              <a:buChar char="-"/>
              <a:defRPr sz="1500">
                <a:solidFill>
                  <a:srgbClr val="626469"/>
                </a:solidFill>
              </a:defRPr>
            </a:lvl4pPr>
            <a:lvl5pPr>
              <a:defRPr sz="2000">
                <a:solidFill>
                  <a:schemeClr val="bg1"/>
                </a:solidFill>
              </a:defRPr>
            </a:lvl5pPr>
          </a:lstStyle>
          <a:p>
            <a:pPr lvl="0"/>
            <a:r>
              <a:rPr lang="en-US" dirty="0"/>
              <a:t>Paragraph, bullets or photography can be used here.</a:t>
            </a:r>
          </a:p>
          <a:p>
            <a:pPr lvl="1"/>
            <a:r>
              <a:rPr lang="en-US" dirty="0"/>
              <a:t>Bullet</a:t>
            </a:r>
          </a:p>
          <a:p>
            <a:pPr lvl="2"/>
            <a:r>
              <a:rPr lang="en-US" dirty="0"/>
              <a:t>Second level</a:t>
            </a:r>
          </a:p>
          <a:p>
            <a:pPr lvl="3"/>
            <a:r>
              <a:rPr lang="en-US" dirty="0"/>
              <a:t>Third level</a:t>
            </a:r>
          </a:p>
        </p:txBody>
      </p:sp>
      <p:sp>
        <p:nvSpPr>
          <p:cNvPr id="10" name="Text Placeholder 11"/>
          <p:cNvSpPr>
            <a:spLocks noGrp="1"/>
          </p:cNvSpPr>
          <p:nvPr>
            <p:ph type="body" sz="quarter" idx="15" hasCustomPrompt="1"/>
          </p:nvPr>
        </p:nvSpPr>
        <p:spPr>
          <a:xfrm>
            <a:off x="608323" y="1630363"/>
            <a:ext cx="5186057" cy="4421188"/>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9" name="TextBox 8"/>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prstClr val="white"/>
                </a:solidFill>
                <a:cs typeface="Arial" pitchFamily="34" charset="0"/>
              </a:rPr>
              <a:t>Confidential Property of Schneider Electric</a:t>
            </a:r>
          </a:p>
        </p:txBody>
      </p:sp>
      <p:sp>
        <p:nvSpPr>
          <p:cNvPr id="13"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626469"/>
                </a:solidFill>
                <a:ea typeface="ＭＳ Ｐゴシック" pitchFamily="34" charset="-128"/>
                <a:cs typeface="Arial" pitchFamily="34" charset="0"/>
              </a:rPr>
              <a:pPr algn="r" fontAlgn="base">
                <a:spcBef>
                  <a:spcPct val="0"/>
                </a:spcBef>
                <a:spcAft>
                  <a:spcPct val="0"/>
                </a:spcAft>
                <a:defRPr/>
              </a:pPr>
              <a:t>‹#›</a:t>
            </a:fld>
            <a:endParaRPr lang="en-US" sz="1200" dirty="0">
              <a:solidFill>
                <a:srgbClr val="626469"/>
              </a:solidFill>
              <a:ea typeface="ＭＳ Ｐゴシック" pitchFamily="34" charset="-128"/>
              <a:cs typeface="Arial" pitchFamily="34" charset="0"/>
            </a:endParaRPr>
          </a:p>
        </p:txBody>
      </p:sp>
    </p:spTree>
    <p:extLst>
      <p:ext uri="{BB962C8B-B14F-4D97-AF65-F5344CB8AC3E}">
        <p14:creationId xmlns:p14="http://schemas.microsoft.com/office/powerpoint/2010/main" val="21610325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plit Page with Caption Spruce Green">
    <p:bg>
      <p:bgPr>
        <a:solidFill>
          <a:srgbClr val="009530"/>
        </a:solidFill>
        <a:effectLst/>
      </p:bgPr>
    </p:bg>
    <p:spTree>
      <p:nvGrpSpPr>
        <p:cNvPr id="1" name=""/>
        <p:cNvGrpSpPr/>
        <p:nvPr/>
      </p:nvGrpSpPr>
      <p:grpSpPr>
        <a:xfrm>
          <a:off x="0" y="0"/>
          <a:ext cx="0" cy="0"/>
          <a:chOff x="0" y="0"/>
          <a:chExt cx="0" cy="0"/>
        </a:xfrm>
      </p:grpSpPr>
      <p:sp>
        <p:nvSpPr>
          <p:cNvPr id="10" name="Rectangle 9"/>
          <p:cNvSpPr/>
          <p:nvPr userDrawn="1"/>
        </p:nvSpPr>
        <p:spPr>
          <a:xfrm>
            <a:off x="6056313" y="5434376"/>
            <a:ext cx="6132512" cy="144938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solidFill>
                <a:prstClr val="white"/>
              </a:solidFill>
            </a:endParaRPr>
          </a:p>
        </p:txBody>
      </p:sp>
      <p:sp>
        <p:nvSpPr>
          <p:cNvPr id="12" name="Text Placeholder 11"/>
          <p:cNvSpPr>
            <a:spLocks noGrp="1"/>
          </p:cNvSpPr>
          <p:nvPr>
            <p:ph type="body" sz="quarter" idx="15" hasCustomPrompt="1"/>
          </p:nvPr>
        </p:nvSpPr>
        <p:spPr>
          <a:xfrm>
            <a:off x="608014" y="1630369"/>
            <a:ext cx="5186362" cy="4421187"/>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3" name="Picture Placeholder 12"/>
          <p:cNvSpPr>
            <a:spLocks noGrp="1"/>
          </p:cNvSpPr>
          <p:nvPr>
            <p:ph type="pic" sz="quarter" idx="16" hasCustomPrompt="1"/>
          </p:nvPr>
        </p:nvSpPr>
        <p:spPr>
          <a:xfrm>
            <a:off x="6056313" y="8"/>
            <a:ext cx="6132512" cy="5434013"/>
          </a:xfrm>
        </p:spPr>
        <p:txBody>
          <a:bodyPr/>
          <a:lstStyle>
            <a:lvl1pPr marL="225406" marR="0" indent="-225406" algn="l" defTabSz="914323" rtl="0" eaLnBrk="1" fontAlgn="auto" latinLnBrk="0" hangingPunct="1">
              <a:lnSpc>
                <a:spcPct val="100000"/>
              </a:lnSpc>
              <a:spcBef>
                <a:spcPct val="20000"/>
              </a:spcBef>
              <a:spcAft>
                <a:spcPts val="0"/>
              </a:spcAft>
              <a:buClr>
                <a:srgbClr val="009530"/>
              </a:buClr>
              <a:buSzTx/>
              <a:buFont typeface="Arial" panose="020B0604020202020204" pitchFamily="34" charset="0"/>
              <a:buNone/>
              <a:tabLst/>
              <a:defRPr sz="1900">
                <a:solidFill>
                  <a:schemeClr val="bg1"/>
                </a:solidFill>
              </a:defRPr>
            </a:lvl1pPr>
          </a:lstStyle>
          <a:p>
            <a:r>
              <a:rPr lang="en-US" dirty="0"/>
              <a:t>Drag picture to placeholder or click icon to add</a:t>
            </a:r>
          </a:p>
          <a:p>
            <a:endParaRPr lang="en-US" dirty="0"/>
          </a:p>
        </p:txBody>
      </p:sp>
      <p:sp>
        <p:nvSpPr>
          <p:cNvPr id="16" name="Text Placeholder 15"/>
          <p:cNvSpPr>
            <a:spLocks noGrp="1"/>
          </p:cNvSpPr>
          <p:nvPr>
            <p:ph type="body" sz="quarter" idx="17"/>
          </p:nvPr>
        </p:nvSpPr>
        <p:spPr>
          <a:xfrm>
            <a:off x="6056313" y="5434377"/>
            <a:ext cx="5316538" cy="1476375"/>
          </a:xfrm>
        </p:spPr>
        <p:txBody>
          <a:bodyPr/>
          <a:lstStyle>
            <a:lvl1pPr>
              <a:buClr>
                <a:srgbClr val="000000"/>
              </a:buClr>
              <a:defRPr sz="1600" i="1">
                <a:solidFill>
                  <a:schemeClr val="bg1"/>
                </a:solidFill>
              </a:defRPr>
            </a:lvl1pPr>
            <a:lvl2pPr marL="461923" indent="-230169">
              <a:buClr>
                <a:srgbClr val="FFFFFF"/>
              </a:buClr>
              <a:buFont typeface="Arial" pitchFamily="34" charset="0"/>
              <a:buChar char="&gt;"/>
              <a:defRPr sz="15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11" name="Title 10"/>
          <p:cNvSpPr>
            <a:spLocks noGrp="1"/>
          </p:cNvSpPr>
          <p:nvPr>
            <p:ph type="title" hasCustomPrompt="1"/>
          </p:nvPr>
        </p:nvSpPr>
        <p:spPr>
          <a:xfrm>
            <a:off x="608014" y="261941"/>
            <a:ext cx="5186362" cy="1271587"/>
          </a:xfrm>
        </p:spPr>
        <p:txBody>
          <a:bodyPr anchor="t" anchorCtr="0"/>
          <a:lstStyle>
            <a:lvl1pPr algn="l">
              <a:defRPr>
                <a:solidFill>
                  <a:schemeClr val="bg1"/>
                </a:solidFill>
              </a:defRPr>
            </a:lvl1pPr>
          </a:lstStyle>
          <a:p>
            <a:r>
              <a:rPr lang="en-US" dirty="0"/>
              <a:t>Click to edit title</a:t>
            </a:r>
          </a:p>
        </p:txBody>
      </p:sp>
      <p:sp>
        <p:nvSpPr>
          <p:cNvPr id="9" name="TextBox 8"/>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prstClr val="white"/>
                </a:solidFill>
                <a:cs typeface="Arial" pitchFamily="34" charset="0"/>
              </a:rPr>
              <a:t>Confidential Property of Schneider Electric</a:t>
            </a:r>
          </a:p>
        </p:txBody>
      </p:sp>
      <p:sp>
        <p:nvSpPr>
          <p:cNvPr id="15"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1610325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74"/>
            <a:ext cx="10969943" cy="1095375"/>
          </a:xfrm>
        </p:spPr>
        <p:txBody>
          <a:bodyPr/>
          <a:lstStyle>
            <a:lvl1pPr>
              <a:defRPr>
                <a:solidFill>
                  <a:srgbClr val="FFFFFF"/>
                </a:solidFill>
              </a:defRPr>
            </a:lvl1pPr>
          </a:lstStyle>
          <a:p>
            <a:r>
              <a:rPr lang="en-US" dirty="0"/>
              <a:t>Click to edit Master title style</a:t>
            </a:r>
          </a:p>
        </p:txBody>
      </p:sp>
      <p:sp>
        <p:nvSpPr>
          <p:cNvPr id="3" name="Text Placeholder 2"/>
          <p:cNvSpPr>
            <a:spLocks noGrp="1"/>
          </p:cNvSpPr>
          <p:nvPr>
            <p:ph type="body" idx="1"/>
          </p:nvPr>
        </p:nvSpPr>
        <p:spPr>
          <a:xfrm>
            <a:off x="609446" y="1509713"/>
            <a:ext cx="5184935" cy="517525"/>
          </a:xfrm>
        </p:spPr>
        <p:txBody>
          <a:bodyPr rIns="0" anchor="t" anchorCtr="0"/>
          <a:lstStyle>
            <a:lvl1pPr marL="0" indent="0" algn="l">
              <a:buNone/>
              <a:defRPr sz="2300" b="1">
                <a:solidFill>
                  <a:srgbClr val="FFFFFF"/>
                </a:solidFill>
                <a:latin typeface="Arial" pitchFamily="34" charset="0"/>
                <a:cs typeface="Arial" pitchFamily="34" charset="0"/>
              </a:defRPr>
            </a:lvl1pPr>
            <a:lvl2pPr marL="457161" indent="0">
              <a:buNone/>
              <a:defRPr sz="2000" b="1"/>
            </a:lvl2pPr>
            <a:lvl3pPr marL="914323" indent="0">
              <a:buNone/>
              <a:defRPr sz="1900" b="1"/>
            </a:lvl3pPr>
            <a:lvl4pPr marL="1371485" indent="0">
              <a:buNone/>
              <a:defRPr sz="1600" b="1"/>
            </a:lvl4pPr>
            <a:lvl5pPr marL="1828648" indent="0">
              <a:buNone/>
              <a:defRPr sz="1600" b="1"/>
            </a:lvl5pPr>
            <a:lvl6pPr marL="2285809" indent="0">
              <a:buNone/>
              <a:defRPr sz="1600" b="1"/>
            </a:lvl6pPr>
            <a:lvl7pPr marL="2742971" indent="0">
              <a:buNone/>
              <a:defRPr sz="1600" b="1"/>
            </a:lvl7pPr>
            <a:lvl8pPr marL="3200133" indent="0">
              <a:buNone/>
              <a:defRPr sz="1600" b="1"/>
            </a:lvl8pPr>
            <a:lvl9pPr marL="3657296" indent="0">
              <a:buNone/>
              <a:defRPr sz="1600" b="1"/>
            </a:lvl9pPr>
          </a:lstStyle>
          <a:p>
            <a:pPr lvl="0"/>
            <a:r>
              <a:rPr lang="en-US" dirty="0"/>
              <a:t>Click to edit Master text styles</a:t>
            </a:r>
          </a:p>
        </p:txBody>
      </p:sp>
      <p:sp>
        <p:nvSpPr>
          <p:cNvPr id="5" name="Text Placeholder 4"/>
          <p:cNvSpPr>
            <a:spLocks noGrp="1"/>
          </p:cNvSpPr>
          <p:nvPr>
            <p:ph type="body" sz="quarter" idx="3"/>
          </p:nvPr>
        </p:nvSpPr>
        <p:spPr>
          <a:xfrm>
            <a:off x="6191754" y="1509713"/>
            <a:ext cx="5387630" cy="517525"/>
          </a:xfrm>
        </p:spPr>
        <p:txBody>
          <a:bodyPr rIns="0" anchor="t" anchorCtr="0"/>
          <a:lstStyle>
            <a:lvl1pPr marL="0" indent="0" algn="l">
              <a:buNone/>
              <a:defRPr sz="2300" b="1">
                <a:solidFill>
                  <a:srgbClr val="FFFFFF"/>
                </a:solidFill>
                <a:latin typeface="Arial" pitchFamily="34" charset="0"/>
                <a:cs typeface="Arial" pitchFamily="34" charset="0"/>
              </a:defRPr>
            </a:lvl1pPr>
            <a:lvl2pPr marL="457161" indent="0">
              <a:buNone/>
              <a:defRPr sz="2000" b="1"/>
            </a:lvl2pPr>
            <a:lvl3pPr marL="914323" indent="0">
              <a:buNone/>
              <a:defRPr sz="1900" b="1"/>
            </a:lvl3pPr>
            <a:lvl4pPr marL="1371485" indent="0">
              <a:buNone/>
              <a:defRPr sz="1600" b="1"/>
            </a:lvl4pPr>
            <a:lvl5pPr marL="1828648" indent="0">
              <a:buNone/>
              <a:defRPr sz="1600" b="1"/>
            </a:lvl5pPr>
            <a:lvl6pPr marL="2285809" indent="0">
              <a:buNone/>
              <a:defRPr sz="1600" b="1"/>
            </a:lvl6pPr>
            <a:lvl7pPr marL="2742971" indent="0">
              <a:buNone/>
              <a:defRPr sz="1600" b="1"/>
            </a:lvl7pPr>
            <a:lvl8pPr marL="3200133" indent="0">
              <a:buNone/>
              <a:defRPr sz="1600" b="1"/>
            </a:lvl8pPr>
            <a:lvl9pPr marL="3657296" indent="0">
              <a:buNone/>
              <a:defRPr sz="1600" b="1"/>
            </a:lvl9pPr>
          </a:lstStyle>
          <a:p>
            <a:pPr lvl="0"/>
            <a:r>
              <a:rPr lang="en-US" dirty="0"/>
              <a:t>Click to edit Master text styles</a:t>
            </a:r>
          </a:p>
        </p:txBody>
      </p:sp>
      <p:sp>
        <p:nvSpPr>
          <p:cNvPr id="9" name="Text Placeholder 8"/>
          <p:cNvSpPr>
            <a:spLocks noGrp="1"/>
          </p:cNvSpPr>
          <p:nvPr>
            <p:ph type="body" sz="quarter" idx="10"/>
          </p:nvPr>
        </p:nvSpPr>
        <p:spPr>
          <a:xfrm>
            <a:off x="609605" y="2144716"/>
            <a:ext cx="5184775" cy="4027487"/>
          </a:xfrm>
        </p:spPr>
        <p:txBody>
          <a:bodyPr/>
          <a:lstStyle>
            <a:lvl1pPr>
              <a:buClr>
                <a:schemeClr val="bg1"/>
              </a:buClr>
              <a:defRPr sz="2000">
                <a:solidFill>
                  <a:schemeClr val="bg1"/>
                </a:solidFill>
              </a:defRPr>
            </a:lvl1pPr>
            <a:lvl2pPr>
              <a:buClr>
                <a:schemeClr val="bg1"/>
              </a:buClr>
              <a:defRPr sz="1900">
                <a:solidFill>
                  <a:schemeClr val="bg1"/>
                </a:solidFill>
              </a:defRPr>
            </a:lvl2pPr>
            <a:lvl3pPr>
              <a:buClr>
                <a:schemeClr val="bg1"/>
              </a:buClr>
              <a:defRPr sz="1600">
                <a:solidFill>
                  <a:schemeClr val="bg1"/>
                </a:solidFill>
              </a:defRPr>
            </a:lvl3pPr>
            <a:lvl4pPr>
              <a:buClr>
                <a:schemeClr val="bg1"/>
              </a:buClr>
              <a:defRPr sz="15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1"/>
          </p:nvPr>
        </p:nvSpPr>
        <p:spPr>
          <a:xfrm>
            <a:off x="6191252" y="2143212"/>
            <a:ext cx="5399088" cy="4095671"/>
          </a:xfrm>
        </p:spPr>
        <p:txBody>
          <a:bodyPr/>
          <a:lstStyle>
            <a:lvl1pPr>
              <a:buClr>
                <a:schemeClr val="bg1"/>
              </a:buClr>
              <a:defRPr sz="2000">
                <a:solidFill>
                  <a:schemeClr val="bg1"/>
                </a:solidFill>
              </a:defRPr>
            </a:lvl1pPr>
            <a:lvl2pPr>
              <a:buClr>
                <a:schemeClr val="bg1"/>
              </a:buClr>
              <a:defRPr sz="1900">
                <a:solidFill>
                  <a:schemeClr val="bg1"/>
                </a:solidFill>
              </a:defRPr>
            </a:lvl2pPr>
            <a:lvl3pPr>
              <a:buClr>
                <a:schemeClr val="bg1"/>
              </a:buClr>
              <a:defRPr sz="1600">
                <a:solidFill>
                  <a:schemeClr val="bg1"/>
                </a:solidFill>
              </a:defRPr>
            </a:lvl3pPr>
            <a:lvl4pPr>
              <a:buClr>
                <a:schemeClr val="bg1"/>
              </a:buClr>
              <a:defRPr sz="15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prstClr val="white"/>
                </a:solidFill>
                <a:cs typeface="Arial" pitchFamily="34" charset="0"/>
              </a:rPr>
              <a:t>Confidential Property of Schneider Electric</a:t>
            </a:r>
          </a:p>
        </p:txBody>
      </p:sp>
      <p:sp>
        <p:nvSpPr>
          <p:cNvPr id="13"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18574054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6 Column Spruce Green">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66"/>
            <a:ext cx="10969943" cy="1095375"/>
          </a:xfrm>
        </p:spPr>
        <p:txBody>
          <a:bodyPr/>
          <a:lstStyle>
            <a:lvl1pPr>
              <a:defRPr>
                <a:solidFill>
                  <a:srgbClr val="FFFFFF"/>
                </a:solidFill>
              </a:defRPr>
            </a:lvl1pPr>
          </a:lstStyle>
          <a:p>
            <a:r>
              <a:rPr lang="en-US" dirty="0"/>
              <a:t>Click to edit Master title style</a:t>
            </a:r>
          </a:p>
        </p:txBody>
      </p:sp>
      <p:sp>
        <p:nvSpPr>
          <p:cNvPr id="10" name="Picture Placeholder 9"/>
          <p:cNvSpPr>
            <a:spLocks noGrp="1"/>
          </p:cNvSpPr>
          <p:nvPr>
            <p:ph type="pic" sz="quarter" idx="10"/>
          </p:nvPr>
        </p:nvSpPr>
        <p:spPr>
          <a:xfrm>
            <a:off x="609443" y="2202085"/>
            <a:ext cx="1706722" cy="1737360"/>
          </a:xfrm>
        </p:spPr>
        <p:txBody>
          <a:bodyPr>
            <a:noAutofit/>
          </a:bodyPr>
          <a:lstStyle>
            <a:lvl1pPr marL="0" indent="0" algn="ctr">
              <a:buNone/>
              <a:defRPr sz="2000">
                <a:solidFill>
                  <a:srgbClr val="FFFFFF"/>
                </a:solidFill>
              </a:defRPr>
            </a:lvl1pPr>
          </a:lstStyle>
          <a:p>
            <a:r>
              <a:rPr lang="en-US" dirty="0"/>
              <a:t>Drag picture to placeholder or click icon to add</a:t>
            </a:r>
          </a:p>
        </p:txBody>
      </p:sp>
      <p:sp>
        <p:nvSpPr>
          <p:cNvPr id="11" name="Picture Placeholder 9"/>
          <p:cNvSpPr>
            <a:spLocks noGrp="1"/>
          </p:cNvSpPr>
          <p:nvPr>
            <p:ph type="pic" sz="quarter" idx="11"/>
          </p:nvPr>
        </p:nvSpPr>
        <p:spPr>
          <a:xfrm>
            <a:off x="2459045" y="2202085"/>
            <a:ext cx="1712911" cy="1737360"/>
          </a:xfrm>
        </p:spPr>
        <p:txBody>
          <a:bodyPr>
            <a:noAutofit/>
          </a:bodyPr>
          <a:lstStyle>
            <a:lvl1pPr marL="0" indent="0" algn="ctr">
              <a:buNone/>
              <a:defRPr sz="2000">
                <a:solidFill>
                  <a:srgbClr val="FFFFFF"/>
                </a:solidFill>
              </a:defRPr>
            </a:lvl1pPr>
          </a:lstStyle>
          <a:p>
            <a:r>
              <a:rPr lang="en-US" dirty="0"/>
              <a:t>Drag picture to placeholder or click icon to add</a:t>
            </a:r>
          </a:p>
        </p:txBody>
      </p:sp>
      <p:sp>
        <p:nvSpPr>
          <p:cNvPr id="12" name="Picture Placeholder 9"/>
          <p:cNvSpPr>
            <a:spLocks noGrp="1"/>
          </p:cNvSpPr>
          <p:nvPr>
            <p:ph type="pic" sz="quarter" idx="12"/>
          </p:nvPr>
        </p:nvSpPr>
        <p:spPr>
          <a:xfrm>
            <a:off x="4313239" y="2202085"/>
            <a:ext cx="1711325" cy="1737360"/>
          </a:xfrm>
        </p:spPr>
        <p:txBody>
          <a:bodyPr>
            <a:noAutofit/>
          </a:bodyPr>
          <a:lstStyle>
            <a:lvl1pPr marL="0" indent="0" algn="ctr">
              <a:buNone/>
              <a:defRPr sz="2000">
                <a:solidFill>
                  <a:srgbClr val="FFFFFF"/>
                </a:solidFill>
              </a:defRPr>
            </a:lvl1pPr>
          </a:lstStyle>
          <a:p>
            <a:r>
              <a:rPr lang="en-US" dirty="0"/>
              <a:t>Drag picture to placeholder or click icon to add</a:t>
            </a:r>
          </a:p>
        </p:txBody>
      </p:sp>
      <p:sp>
        <p:nvSpPr>
          <p:cNvPr id="13" name="Picture Placeholder 9"/>
          <p:cNvSpPr>
            <a:spLocks noGrp="1"/>
          </p:cNvSpPr>
          <p:nvPr>
            <p:ph type="pic" sz="quarter" idx="13"/>
          </p:nvPr>
        </p:nvSpPr>
        <p:spPr>
          <a:xfrm>
            <a:off x="6165850" y="2202085"/>
            <a:ext cx="1709928" cy="1737360"/>
          </a:xfrm>
        </p:spPr>
        <p:txBody>
          <a:bodyPr>
            <a:noAutofit/>
          </a:bodyPr>
          <a:lstStyle>
            <a:lvl1pPr marL="0" indent="0" algn="ctr">
              <a:buNone/>
              <a:defRPr sz="2000">
                <a:solidFill>
                  <a:srgbClr val="FFFFFF"/>
                </a:solidFill>
              </a:defRPr>
            </a:lvl1pPr>
          </a:lstStyle>
          <a:p>
            <a:r>
              <a:rPr lang="en-US" dirty="0"/>
              <a:t>Drag picture to placeholder or click icon to add</a:t>
            </a:r>
          </a:p>
        </p:txBody>
      </p:sp>
      <p:sp>
        <p:nvSpPr>
          <p:cNvPr id="14" name="Picture Placeholder 9"/>
          <p:cNvSpPr>
            <a:spLocks noGrp="1"/>
          </p:cNvSpPr>
          <p:nvPr>
            <p:ph type="pic" sz="quarter" idx="14"/>
          </p:nvPr>
        </p:nvSpPr>
        <p:spPr>
          <a:xfrm>
            <a:off x="8018470" y="2202085"/>
            <a:ext cx="1712911" cy="1737360"/>
          </a:xfrm>
        </p:spPr>
        <p:txBody>
          <a:bodyPr>
            <a:noAutofit/>
          </a:bodyPr>
          <a:lstStyle>
            <a:lvl1pPr marL="0" indent="0" algn="ctr">
              <a:buNone/>
              <a:defRPr sz="2000">
                <a:solidFill>
                  <a:srgbClr val="FFFFFF"/>
                </a:solidFill>
              </a:defRPr>
            </a:lvl1pPr>
          </a:lstStyle>
          <a:p>
            <a:r>
              <a:rPr lang="en-US" dirty="0"/>
              <a:t>Drag picture to placeholder or click icon to add</a:t>
            </a:r>
          </a:p>
        </p:txBody>
      </p:sp>
      <p:sp>
        <p:nvSpPr>
          <p:cNvPr id="15" name="Picture Placeholder 9"/>
          <p:cNvSpPr>
            <a:spLocks noGrp="1"/>
          </p:cNvSpPr>
          <p:nvPr>
            <p:ph type="pic" sz="quarter" idx="15"/>
          </p:nvPr>
        </p:nvSpPr>
        <p:spPr>
          <a:xfrm>
            <a:off x="9871077" y="2202085"/>
            <a:ext cx="1708150" cy="1737360"/>
          </a:xfrm>
        </p:spPr>
        <p:txBody>
          <a:bodyPr>
            <a:noAutofit/>
          </a:bodyPr>
          <a:lstStyle>
            <a:lvl1pPr marL="0" indent="0" algn="ctr">
              <a:buNone/>
              <a:defRPr sz="2000">
                <a:solidFill>
                  <a:srgbClr val="FFFFFF"/>
                </a:solidFill>
              </a:defRPr>
            </a:lvl1pPr>
          </a:lstStyle>
          <a:p>
            <a:r>
              <a:rPr lang="en-US" dirty="0"/>
              <a:t>Drag picture to placeholder or click icon to add</a:t>
            </a:r>
          </a:p>
        </p:txBody>
      </p:sp>
      <p:sp>
        <p:nvSpPr>
          <p:cNvPr id="17" name="Text Placeholder 16"/>
          <p:cNvSpPr>
            <a:spLocks noGrp="1"/>
          </p:cNvSpPr>
          <p:nvPr>
            <p:ph type="body" sz="quarter" idx="16"/>
          </p:nvPr>
        </p:nvSpPr>
        <p:spPr>
          <a:xfrm>
            <a:off x="609443" y="4089401"/>
            <a:ext cx="1706722"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dirty="0"/>
              <a:t>Click to edit Master text styles</a:t>
            </a:r>
          </a:p>
        </p:txBody>
      </p:sp>
      <p:sp>
        <p:nvSpPr>
          <p:cNvPr id="18" name="Text Placeholder 16"/>
          <p:cNvSpPr>
            <a:spLocks noGrp="1"/>
          </p:cNvSpPr>
          <p:nvPr>
            <p:ph type="body" sz="quarter" idx="17"/>
          </p:nvPr>
        </p:nvSpPr>
        <p:spPr>
          <a:xfrm>
            <a:off x="2459039" y="4089401"/>
            <a:ext cx="1712912"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dirty="0"/>
              <a:t>Click to edit Master text styles</a:t>
            </a:r>
          </a:p>
        </p:txBody>
      </p:sp>
      <p:sp>
        <p:nvSpPr>
          <p:cNvPr id="19" name="Text Placeholder 16"/>
          <p:cNvSpPr>
            <a:spLocks noGrp="1"/>
          </p:cNvSpPr>
          <p:nvPr>
            <p:ph type="body" sz="quarter" idx="18"/>
          </p:nvPr>
        </p:nvSpPr>
        <p:spPr>
          <a:xfrm>
            <a:off x="4313242" y="4089401"/>
            <a:ext cx="1711324"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dirty="0"/>
              <a:t>Click to edit Master text styles</a:t>
            </a:r>
          </a:p>
        </p:txBody>
      </p:sp>
      <p:sp>
        <p:nvSpPr>
          <p:cNvPr id="20" name="Text Placeholder 16"/>
          <p:cNvSpPr>
            <a:spLocks noGrp="1"/>
          </p:cNvSpPr>
          <p:nvPr>
            <p:ph type="body" sz="quarter" idx="19"/>
          </p:nvPr>
        </p:nvSpPr>
        <p:spPr>
          <a:xfrm>
            <a:off x="6165850" y="4089401"/>
            <a:ext cx="1709928"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dirty="0"/>
              <a:t>Click to edit Master text styles</a:t>
            </a:r>
          </a:p>
        </p:txBody>
      </p:sp>
      <p:sp>
        <p:nvSpPr>
          <p:cNvPr id="21" name="Text Placeholder 16"/>
          <p:cNvSpPr>
            <a:spLocks noGrp="1"/>
          </p:cNvSpPr>
          <p:nvPr>
            <p:ph type="body" sz="quarter" idx="20"/>
          </p:nvPr>
        </p:nvSpPr>
        <p:spPr>
          <a:xfrm>
            <a:off x="8018470" y="4089401"/>
            <a:ext cx="1712911"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dirty="0"/>
              <a:t>Click to edit Master text styles</a:t>
            </a:r>
          </a:p>
        </p:txBody>
      </p:sp>
      <p:sp>
        <p:nvSpPr>
          <p:cNvPr id="22" name="Text Placeholder 16"/>
          <p:cNvSpPr>
            <a:spLocks noGrp="1"/>
          </p:cNvSpPr>
          <p:nvPr>
            <p:ph type="body" sz="quarter" idx="21"/>
          </p:nvPr>
        </p:nvSpPr>
        <p:spPr>
          <a:xfrm>
            <a:off x="9871083" y="4089401"/>
            <a:ext cx="1708308"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dirty="0"/>
              <a:t>Click to edit Master text styles</a:t>
            </a:r>
          </a:p>
        </p:txBody>
      </p:sp>
      <p:sp>
        <p:nvSpPr>
          <p:cNvPr id="23" name="TextBox 22"/>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prstClr val="white"/>
                </a:solidFill>
                <a:cs typeface="Arial" pitchFamily="34" charset="0"/>
              </a:rPr>
              <a:t>Confidential Property of Schneider Electric</a:t>
            </a:r>
          </a:p>
        </p:txBody>
      </p:sp>
      <p:sp>
        <p:nvSpPr>
          <p:cNvPr id="25"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6984531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ransitio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2436823"/>
            <a:ext cx="10969943" cy="1255711"/>
          </a:xfrm>
        </p:spPr>
        <p:txBody>
          <a:bodyPr anchor="b" anchorCtr="0">
            <a:noAutofit/>
          </a:bodyPr>
          <a:lstStyle>
            <a:lvl1pPr>
              <a:defRPr>
                <a:solidFill>
                  <a:srgbClr val="FFFFFF"/>
                </a:solidFill>
              </a:defRPr>
            </a:lvl1pPr>
          </a:lstStyle>
          <a:p>
            <a:r>
              <a:rPr lang="en-US" dirty="0"/>
              <a:t>Transition Slide Headline</a:t>
            </a:r>
          </a:p>
        </p:txBody>
      </p:sp>
      <p:sp>
        <p:nvSpPr>
          <p:cNvPr id="7" name="Text Placeholder 6"/>
          <p:cNvSpPr>
            <a:spLocks noGrp="1"/>
          </p:cNvSpPr>
          <p:nvPr>
            <p:ph type="body" sz="quarter" idx="10" hasCustomPrompt="1"/>
          </p:nvPr>
        </p:nvSpPr>
        <p:spPr>
          <a:xfrm>
            <a:off x="603248" y="3763974"/>
            <a:ext cx="10972800" cy="1074737"/>
          </a:xfrm>
        </p:spPr>
        <p:txBody>
          <a:bodyPr rIns="0">
            <a:noAutofit/>
          </a:bodyPr>
          <a:lstStyle>
            <a:lvl1pPr marL="0" indent="0" algn="l">
              <a:buNone/>
              <a:defRPr sz="2300">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necessary</a:t>
            </a:r>
          </a:p>
        </p:txBody>
      </p:sp>
      <p:pic>
        <p:nvPicPr>
          <p:cNvPr id="8" name="Picture 23" descr="C:\Users\Kurt\Desktop\Untitled-1cc.png"/>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Lst>
          </a:blip>
          <a:srcRect/>
          <a:stretch>
            <a:fillRect/>
          </a:stretch>
        </p:blipFill>
        <p:spPr bwMode="auto">
          <a:xfrm>
            <a:off x="10073504" y="6132083"/>
            <a:ext cx="1131079" cy="336983"/>
          </a:xfrm>
          <a:prstGeom prst="rect">
            <a:avLst/>
          </a:prstGeom>
          <a:noFill/>
        </p:spPr>
      </p:pic>
      <p:sp>
        <p:nvSpPr>
          <p:cNvPr id="9" name="Freeform 8"/>
          <p:cNvSpPr/>
          <p:nvPr userDrawn="1"/>
        </p:nvSpPr>
        <p:spPr>
          <a:xfrm>
            <a:off x="11289034" y="6252907"/>
            <a:ext cx="45719" cy="21615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chemeClr val="bg1"/>
            </a:solidFill>
            <a:prstDash val="solid"/>
          </a:ln>
          <a:effectLst/>
        </p:spPr>
        <p:txBody>
          <a:bodyPr lIns="91432" tIns="45717" rIns="91432" bIns="45717" rtlCol="0" anchor="ctr"/>
          <a:lstStyle/>
          <a:p>
            <a:pPr algn="ctr" defTabSz="1218885">
              <a:defRPr/>
            </a:pPr>
            <a:endParaRPr lang="en-US" sz="2400" kern="0" dirty="0">
              <a:solidFill>
                <a:prstClr val="black"/>
              </a:solidFill>
              <a:latin typeface="Calibri"/>
            </a:endParaRPr>
          </a:p>
        </p:txBody>
      </p:sp>
      <p:sp>
        <p:nvSpPr>
          <p:cNvPr id="10"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4010383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Large Object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6" y="271474"/>
            <a:ext cx="10969784" cy="1095375"/>
          </a:xfrm>
        </p:spPr>
        <p:txBody>
          <a:bodyPr>
            <a:noAutofit/>
          </a:bodyPr>
          <a:lstStyle>
            <a:lvl1pPr>
              <a:defRPr>
                <a:solidFill>
                  <a:srgbClr val="FFFFFF"/>
                </a:solidFill>
              </a:defRPr>
            </a:lvl1pPr>
          </a:lstStyle>
          <a:p>
            <a:r>
              <a:rPr lang="en-US" dirty="0"/>
              <a:t>Click to edit Master title style</a:t>
            </a:r>
          </a:p>
        </p:txBody>
      </p:sp>
      <p:sp>
        <p:nvSpPr>
          <p:cNvPr id="3" name="Content Placeholder 2"/>
          <p:cNvSpPr>
            <a:spLocks noGrp="1"/>
          </p:cNvSpPr>
          <p:nvPr>
            <p:ph sz="half" idx="1"/>
          </p:nvPr>
        </p:nvSpPr>
        <p:spPr>
          <a:xfrm>
            <a:off x="609446" y="1509713"/>
            <a:ext cx="10969784" cy="4701307"/>
          </a:xfrm>
        </p:spPr>
        <p:txBody>
          <a:bodyPr rIns="0">
            <a:noAutofit/>
          </a:bodyPr>
          <a:lstStyle>
            <a:lvl1pPr marL="0" indent="0" algn="l">
              <a:buNone/>
              <a:defRPr sz="2300">
                <a:solidFill>
                  <a:srgbClr val="FFFFFF"/>
                </a:solidFill>
              </a:defRPr>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dirty="0"/>
              <a:t>Click to edit Master text styles</a:t>
            </a:r>
          </a:p>
        </p:txBody>
      </p:sp>
      <p:sp>
        <p:nvSpPr>
          <p:cNvPr id="6" name="TextBox 5"/>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prstClr val="white"/>
                </a:solidFill>
                <a:cs typeface="Arial" pitchFamily="34" charset="0"/>
              </a:rPr>
              <a:t>Confidential Property of Schneider Electric</a:t>
            </a:r>
          </a:p>
        </p:txBody>
      </p:sp>
      <p:sp>
        <p:nvSpPr>
          <p:cNvPr id="8"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14620713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8016" y="265113"/>
            <a:ext cx="10969943" cy="1096963"/>
          </a:xfrm>
        </p:spPr>
        <p:txBody>
          <a:bodyPr/>
          <a:lstStyle>
            <a:lvl1pPr algn="l">
              <a:defRPr/>
            </a:lvl1pPr>
          </a:lstStyle>
          <a:p>
            <a:r>
              <a:rPr lang="en-US" noProof="0" dirty="0"/>
              <a:t>Headline</a:t>
            </a:r>
          </a:p>
        </p:txBody>
      </p:sp>
      <p:sp>
        <p:nvSpPr>
          <p:cNvPr id="3" name="Content Placeholder 2"/>
          <p:cNvSpPr>
            <a:spLocks noGrp="1"/>
          </p:cNvSpPr>
          <p:nvPr>
            <p:ph idx="1"/>
          </p:nvPr>
        </p:nvSpPr>
        <p:spPr>
          <a:xfrm>
            <a:off x="608016" y="1509722"/>
            <a:ext cx="10969943" cy="4649553"/>
          </a:xfrm>
          <a:prstGeom prst="rect">
            <a:avLst/>
          </a:prstGeom>
        </p:spPr>
        <p:txBody>
          <a:bodyPr/>
          <a:lstStyle>
            <a:lvl1pPr>
              <a:buFont typeface="Arial" pitchFamily="34" charset="0"/>
              <a:buChar char="&gt;"/>
              <a:defRPr/>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5" name="TextBox 4"/>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1406363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Horizontal Split Page Dark Gray Top">
    <p:spTree>
      <p:nvGrpSpPr>
        <p:cNvPr id="1" name=""/>
        <p:cNvGrpSpPr/>
        <p:nvPr/>
      </p:nvGrpSpPr>
      <p:grpSpPr>
        <a:xfrm>
          <a:off x="0" y="0"/>
          <a:ext cx="0" cy="0"/>
          <a:chOff x="0" y="0"/>
          <a:chExt cx="0" cy="0"/>
        </a:xfrm>
      </p:grpSpPr>
      <p:sp>
        <p:nvSpPr>
          <p:cNvPr id="5" name="Rectangle 4"/>
          <p:cNvSpPr/>
          <p:nvPr userDrawn="1"/>
        </p:nvSpPr>
        <p:spPr>
          <a:xfrm>
            <a:off x="0" y="1"/>
            <a:ext cx="12188825" cy="2268539"/>
          </a:xfrm>
          <a:prstGeom prst="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solidFill>
                <a:prstClr val="white"/>
              </a:solidFill>
            </a:endParaRPr>
          </a:p>
        </p:txBody>
      </p:sp>
      <p:sp>
        <p:nvSpPr>
          <p:cNvPr id="2" name="Title 1"/>
          <p:cNvSpPr>
            <a:spLocks noGrp="1"/>
          </p:cNvSpPr>
          <p:nvPr>
            <p:ph type="title"/>
          </p:nvPr>
        </p:nvSpPr>
        <p:spPr>
          <a:xfrm>
            <a:off x="609441" y="271464"/>
            <a:ext cx="10969943" cy="1096963"/>
          </a:xfrm>
        </p:spPr>
        <p:txBody>
          <a:bodyPr/>
          <a:lstStyle>
            <a:lvl1pPr algn="l">
              <a:defRPr>
                <a:solidFill>
                  <a:schemeClr val="bg1"/>
                </a:solidFill>
              </a:defRPr>
            </a:lvl1pPr>
          </a:lstStyle>
          <a:p>
            <a:r>
              <a:rPr lang="en-US" dirty="0"/>
              <a:t>Click to edit Master title style</a:t>
            </a:r>
            <a:endParaRPr lang="en-US" noProof="0" dirty="0"/>
          </a:p>
        </p:txBody>
      </p:sp>
      <p:sp>
        <p:nvSpPr>
          <p:cNvPr id="3" name="Content Placeholder 2"/>
          <p:cNvSpPr>
            <a:spLocks noGrp="1"/>
          </p:cNvSpPr>
          <p:nvPr>
            <p:ph idx="1"/>
          </p:nvPr>
        </p:nvSpPr>
        <p:spPr>
          <a:xfrm>
            <a:off x="609441" y="2476502"/>
            <a:ext cx="10969943" cy="3682767"/>
          </a:xfrm>
          <a:prstGeom prst="rect">
            <a:avLst/>
          </a:prstGeom>
        </p:spPr>
        <p:txBody>
          <a:bodyPr/>
          <a:lstStyle>
            <a:lvl1pPr>
              <a:buFont typeface="Arial" pitchFamily="34" charset="0"/>
              <a:buChar char="&gt;"/>
              <a:defRPr/>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TextBox 5"/>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rgbClr val="626469"/>
                </a:solidFill>
                <a:cs typeface="Arial" pitchFamily="34" charset="0"/>
              </a:rPr>
              <a:t>Confidential Property of Schneider Electric</a:t>
            </a:r>
          </a:p>
        </p:txBody>
      </p:sp>
    </p:spTree>
    <p:extLst>
      <p:ext uri="{BB962C8B-B14F-4D97-AF65-F5344CB8AC3E}">
        <p14:creationId xmlns:p14="http://schemas.microsoft.com/office/powerpoint/2010/main" val="1406363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Horizontal Split Page Dark Gray Botto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9530"/>
                </a:solidFill>
              </a:defRPr>
            </a:lvl1pPr>
          </a:lstStyle>
          <a:p>
            <a:r>
              <a:rPr lang="en-US" dirty="0"/>
              <a:t>Click to edit Master title style</a:t>
            </a:r>
            <a:endParaRPr lang="en-US" noProof="0" dirty="0"/>
          </a:p>
        </p:txBody>
      </p:sp>
      <p:sp>
        <p:nvSpPr>
          <p:cNvPr id="3" name="Content Placeholder 2"/>
          <p:cNvSpPr>
            <a:spLocks noGrp="1"/>
          </p:cNvSpPr>
          <p:nvPr>
            <p:ph idx="1"/>
          </p:nvPr>
        </p:nvSpPr>
        <p:spPr>
          <a:xfrm>
            <a:off x="609441" y="1509723"/>
            <a:ext cx="10969943" cy="3057525"/>
          </a:xfrm>
          <a:prstGeom prst="rect">
            <a:avLst/>
          </a:prstGeom>
        </p:spPr>
        <p:txBody>
          <a:bodyPr/>
          <a:lstStyle>
            <a:lvl1pPr>
              <a:buFont typeface="Arial" pitchFamily="34" charset="0"/>
              <a:buChar char="&gt;"/>
              <a:defRPr/>
            </a:lvl1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4" name="TextBox 3"/>
          <p:cNvSpPr txBox="1"/>
          <p:nvPr userDrawn="1"/>
        </p:nvSpPr>
        <p:spPr>
          <a:xfrm>
            <a:off x="473081" y="6340063"/>
            <a:ext cx="2839902" cy="215444"/>
          </a:xfrm>
          <a:prstGeom prst="rect">
            <a:avLst/>
          </a:prstGeom>
          <a:noFill/>
        </p:spPr>
        <p:txBody>
          <a:bodyPr wrap="square" lIns="91432" tIns="45717" rIns="91432" bIns="45717" rtlCol="0">
            <a:spAutoFit/>
          </a:bodyPr>
          <a:lstStyle/>
          <a:p>
            <a:r>
              <a:rPr lang="en-US" sz="800" dirty="0">
                <a:solidFill>
                  <a:srgbClr val="626469"/>
                </a:solidFill>
                <a:cs typeface="Arial" pitchFamily="34" charset="0"/>
              </a:rPr>
              <a:t>Confidential Property of Schneider Electric</a:t>
            </a:r>
          </a:p>
        </p:txBody>
      </p:sp>
      <p:sp>
        <p:nvSpPr>
          <p:cNvPr id="6" name="Rectangle 5"/>
          <p:cNvSpPr/>
          <p:nvPr userDrawn="1"/>
        </p:nvSpPr>
        <p:spPr>
          <a:xfrm>
            <a:off x="0" y="4567239"/>
            <a:ext cx="12188825" cy="2303463"/>
          </a:xfrm>
          <a:prstGeom prst="rect">
            <a:avLst/>
          </a:prstGeom>
          <a:solidFill>
            <a:srgbClr val="626469"/>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solidFill>
                <a:prstClr val="white"/>
              </a:solidFill>
            </a:endParaRPr>
          </a:p>
        </p:txBody>
      </p:sp>
      <p:sp>
        <p:nvSpPr>
          <p:cNvPr id="10" name="Content Placeholder 2"/>
          <p:cNvSpPr>
            <a:spLocks noGrp="1"/>
          </p:cNvSpPr>
          <p:nvPr>
            <p:ph sz="half" idx="10"/>
          </p:nvPr>
        </p:nvSpPr>
        <p:spPr>
          <a:xfrm>
            <a:off x="609441" y="4567248"/>
            <a:ext cx="10969943" cy="1643781"/>
          </a:xfrm>
        </p:spPr>
        <p:txBody>
          <a:bodyPr rIns="0">
            <a:noAutofit/>
          </a:bodyPr>
          <a:lstStyle>
            <a:lvl1pPr marL="0" indent="0" algn="l">
              <a:buNone/>
              <a:defRPr sz="2300">
                <a:solidFill>
                  <a:srgbClr val="FFFFFF"/>
                </a:solidFill>
              </a:defRPr>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dirty="0"/>
              <a:t>Click to edit Master text styles</a:t>
            </a:r>
          </a:p>
        </p:txBody>
      </p:sp>
      <p:sp>
        <p:nvSpPr>
          <p:cNvPr id="11" name="TextBox 10"/>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prstClr val="white"/>
                </a:solidFill>
                <a:cs typeface="Arial" pitchFamily="34" charset="0"/>
              </a:rPr>
              <a:t>Confidential Property of Schneider Electric</a:t>
            </a:r>
          </a:p>
        </p:txBody>
      </p:sp>
      <p:sp>
        <p:nvSpPr>
          <p:cNvPr id="13"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14063633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plit Page Dark Gray">
    <p:bg>
      <p:bgPr>
        <a:solidFill>
          <a:srgbClr val="626469"/>
        </a:solidFill>
        <a:effectLst/>
      </p:bgPr>
    </p:bg>
    <p:spTree>
      <p:nvGrpSpPr>
        <p:cNvPr id="1" name=""/>
        <p:cNvGrpSpPr/>
        <p:nvPr/>
      </p:nvGrpSpPr>
      <p:grpSpPr>
        <a:xfrm>
          <a:off x="0" y="0"/>
          <a:ext cx="0" cy="0"/>
          <a:chOff x="0" y="0"/>
          <a:chExt cx="0" cy="0"/>
        </a:xfrm>
      </p:grpSpPr>
      <p:sp>
        <p:nvSpPr>
          <p:cNvPr id="6" name="Rectangle 5"/>
          <p:cNvSpPr/>
          <p:nvPr userDrawn="1"/>
        </p:nvSpPr>
        <p:spPr>
          <a:xfrm>
            <a:off x="6094412" y="0"/>
            <a:ext cx="6094413"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solidFill>
                <a:prstClr val="white"/>
              </a:solidFill>
            </a:endParaRPr>
          </a:p>
        </p:txBody>
      </p:sp>
      <p:sp>
        <p:nvSpPr>
          <p:cNvPr id="15" name="Content Placeholder 14"/>
          <p:cNvSpPr>
            <a:spLocks noGrp="1"/>
          </p:cNvSpPr>
          <p:nvPr>
            <p:ph sz="quarter" idx="12" hasCustomPrompt="1"/>
          </p:nvPr>
        </p:nvSpPr>
        <p:spPr>
          <a:xfrm>
            <a:off x="6094412" y="0"/>
            <a:ext cx="6094413" cy="6858000"/>
          </a:xfrm>
        </p:spPr>
        <p:txBody>
          <a:bodyPr lIns="274296" tIns="1691499" anchor="t" anchorCtr="0">
            <a:noAutofit/>
          </a:bodyPr>
          <a:lstStyle>
            <a:lvl1pPr>
              <a:buClr>
                <a:srgbClr val="009530"/>
              </a:buClr>
              <a:buFont typeface="Arial" pitchFamily="34" charset="0"/>
              <a:buChar char="&gt;"/>
              <a:defRPr sz="2000">
                <a:solidFill>
                  <a:srgbClr val="009530"/>
                </a:solidFill>
              </a:defRPr>
            </a:lvl1pPr>
            <a:lvl2pPr marL="461923" indent="-222232">
              <a:buClr>
                <a:srgbClr val="626469"/>
              </a:buClr>
              <a:buFont typeface="SE Rounded Medium" pitchFamily="50" charset="0"/>
              <a:buChar char="&gt;"/>
              <a:defRPr sz="1900">
                <a:solidFill>
                  <a:srgbClr val="626469"/>
                </a:solidFill>
              </a:defRPr>
            </a:lvl2pPr>
            <a:lvl3pPr marL="685744" marR="0" indent="-217470" algn="l" defTabSz="914323" rtl="0" eaLnBrk="1" fontAlgn="auto" latinLnBrk="0" hangingPunct="1">
              <a:lnSpc>
                <a:spcPct val="100000"/>
              </a:lnSpc>
              <a:spcBef>
                <a:spcPct val="20000"/>
              </a:spcBef>
              <a:spcAft>
                <a:spcPts val="0"/>
              </a:spcAft>
              <a:buClr>
                <a:srgbClr val="626469"/>
              </a:buClr>
              <a:buSzTx/>
              <a:buFont typeface="Arial" panose="020B0604020202020204" pitchFamily="34" charset="0"/>
              <a:buChar char="-"/>
              <a:tabLst/>
              <a:defRPr sz="1600">
                <a:solidFill>
                  <a:srgbClr val="626469"/>
                </a:solidFill>
              </a:defRPr>
            </a:lvl3pPr>
            <a:lvl4pPr marL="914323" indent="-228581">
              <a:buClr>
                <a:srgbClr val="626469"/>
              </a:buClr>
              <a:buFont typeface="Arial" pitchFamily="34" charset="0"/>
              <a:buChar char="-"/>
              <a:tabLst>
                <a:tab pos="914323" algn="l"/>
              </a:tabLst>
              <a:defRPr sz="1500">
                <a:solidFill>
                  <a:srgbClr val="626469"/>
                </a:solidFill>
              </a:defRPr>
            </a:lvl4pPr>
            <a:lvl5pPr>
              <a:defRPr sz="2000">
                <a:solidFill>
                  <a:schemeClr val="bg1"/>
                </a:solidFill>
              </a:defRPr>
            </a:lvl5pPr>
          </a:lstStyle>
          <a:p>
            <a:pPr lvl="0"/>
            <a:r>
              <a:rPr lang="en-US" dirty="0"/>
              <a:t>Paragraph, bullets or photography can be used here.</a:t>
            </a:r>
          </a:p>
          <a:p>
            <a:pPr lvl="1"/>
            <a:r>
              <a:rPr lang="en-US" dirty="0"/>
              <a:t>Bullet</a:t>
            </a:r>
          </a:p>
          <a:p>
            <a:pPr lvl="2"/>
            <a:r>
              <a:rPr lang="en-US" dirty="0"/>
              <a:t>Second level</a:t>
            </a:r>
          </a:p>
          <a:p>
            <a:pPr lvl="3"/>
            <a:r>
              <a:rPr lang="en-US" dirty="0"/>
              <a:t>Third level</a:t>
            </a:r>
          </a:p>
        </p:txBody>
      </p:sp>
      <p:sp>
        <p:nvSpPr>
          <p:cNvPr id="9" name="Text Placeholder 8"/>
          <p:cNvSpPr>
            <a:spLocks noGrp="1"/>
          </p:cNvSpPr>
          <p:nvPr>
            <p:ph type="body" sz="quarter" idx="14" hasCustomPrompt="1"/>
          </p:nvPr>
        </p:nvSpPr>
        <p:spPr>
          <a:xfrm>
            <a:off x="608013" y="1630369"/>
            <a:ext cx="5186362" cy="4421187"/>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1" name="Title 10"/>
          <p:cNvSpPr>
            <a:spLocks noGrp="1"/>
          </p:cNvSpPr>
          <p:nvPr>
            <p:ph type="title" hasCustomPrompt="1"/>
          </p:nvPr>
        </p:nvSpPr>
        <p:spPr>
          <a:xfrm>
            <a:off x="608013" y="261941"/>
            <a:ext cx="5186362" cy="1271587"/>
          </a:xfrm>
        </p:spPr>
        <p:txBody>
          <a:bodyPr anchor="t" anchorCtr="0"/>
          <a:lstStyle>
            <a:lvl1pPr algn="l">
              <a:defRPr>
                <a:solidFill>
                  <a:schemeClr val="bg1"/>
                </a:solidFill>
              </a:defRPr>
            </a:lvl1pPr>
          </a:lstStyle>
          <a:p>
            <a:r>
              <a:rPr lang="en-US" dirty="0"/>
              <a:t>Click to edit title</a:t>
            </a:r>
          </a:p>
        </p:txBody>
      </p:sp>
      <p:sp>
        <p:nvSpPr>
          <p:cNvPr id="12" name="TextBox 11"/>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prstClr val="white"/>
                </a:solidFill>
                <a:cs typeface="Arial" pitchFamily="34" charset="0"/>
              </a:rPr>
              <a:t>Confidential Property of Schneider Electric</a:t>
            </a:r>
          </a:p>
        </p:txBody>
      </p:sp>
      <p:sp>
        <p:nvSpPr>
          <p:cNvPr id="13"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626469"/>
                </a:solidFill>
                <a:ea typeface="ＭＳ Ｐゴシック" pitchFamily="34" charset="-128"/>
                <a:cs typeface="Arial" pitchFamily="34" charset="0"/>
              </a:rPr>
              <a:pPr algn="r" fontAlgn="base">
                <a:spcBef>
                  <a:spcPct val="0"/>
                </a:spcBef>
                <a:spcAft>
                  <a:spcPct val="0"/>
                </a:spcAft>
                <a:defRPr/>
              </a:pPr>
              <a:t>‹#›</a:t>
            </a:fld>
            <a:endParaRPr lang="en-US" sz="1200" dirty="0">
              <a:solidFill>
                <a:srgbClr val="626469"/>
              </a:solidFill>
              <a:ea typeface="ＭＳ Ｐゴシック" pitchFamily="34" charset="-128"/>
              <a:cs typeface="Arial" pitchFamily="34" charset="0"/>
            </a:endParaRPr>
          </a:p>
        </p:txBody>
      </p:sp>
    </p:spTree>
    <p:extLst>
      <p:ext uri="{BB962C8B-B14F-4D97-AF65-F5344CB8AC3E}">
        <p14:creationId xmlns:p14="http://schemas.microsoft.com/office/powerpoint/2010/main" val="21610325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plit Page with Caption Dark Gray">
    <p:bg>
      <p:bgPr>
        <a:solidFill>
          <a:srgbClr val="626469"/>
        </a:solidFill>
        <a:effectLst/>
      </p:bgPr>
    </p:bg>
    <p:spTree>
      <p:nvGrpSpPr>
        <p:cNvPr id="1" name=""/>
        <p:cNvGrpSpPr/>
        <p:nvPr/>
      </p:nvGrpSpPr>
      <p:grpSpPr>
        <a:xfrm>
          <a:off x="0" y="0"/>
          <a:ext cx="0" cy="0"/>
          <a:chOff x="0" y="0"/>
          <a:chExt cx="0" cy="0"/>
        </a:xfrm>
      </p:grpSpPr>
      <p:sp>
        <p:nvSpPr>
          <p:cNvPr id="10" name="Rectangle 9"/>
          <p:cNvSpPr/>
          <p:nvPr userDrawn="1"/>
        </p:nvSpPr>
        <p:spPr>
          <a:xfrm>
            <a:off x="6056313" y="5434376"/>
            <a:ext cx="6132512" cy="144938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7" rIns="91432" bIns="45717" rtlCol="0" anchor="ctr"/>
          <a:lstStyle/>
          <a:p>
            <a:pPr algn="ctr"/>
            <a:endParaRPr lang="en-US">
              <a:solidFill>
                <a:prstClr val="white"/>
              </a:solidFill>
            </a:endParaRPr>
          </a:p>
        </p:txBody>
      </p:sp>
      <p:sp>
        <p:nvSpPr>
          <p:cNvPr id="12" name="Text Placeholder 11"/>
          <p:cNvSpPr>
            <a:spLocks noGrp="1"/>
          </p:cNvSpPr>
          <p:nvPr>
            <p:ph type="body" sz="quarter" idx="15" hasCustomPrompt="1"/>
          </p:nvPr>
        </p:nvSpPr>
        <p:spPr>
          <a:xfrm>
            <a:off x="608013" y="1630369"/>
            <a:ext cx="5186362" cy="4421187"/>
          </a:xfrm>
        </p:spPr>
        <p:txBody>
          <a:bodyPr/>
          <a:lstStyle>
            <a:lvl1pPr marL="0" indent="0">
              <a:buClr>
                <a:schemeClr val="accent1"/>
              </a:buClr>
              <a:buFontTx/>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subtitle</a:t>
            </a:r>
          </a:p>
        </p:txBody>
      </p:sp>
      <p:sp>
        <p:nvSpPr>
          <p:cNvPr id="13" name="Picture Placeholder 12"/>
          <p:cNvSpPr>
            <a:spLocks noGrp="1"/>
          </p:cNvSpPr>
          <p:nvPr>
            <p:ph type="pic" sz="quarter" idx="16" hasCustomPrompt="1"/>
          </p:nvPr>
        </p:nvSpPr>
        <p:spPr>
          <a:xfrm>
            <a:off x="6056313" y="8"/>
            <a:ext cx="6132512" cy="5434013"/>
          </a:xfrm>
        </p:spPr>
        <p:txBody>
          <a:bodyPr/>
          <a:lstStyle>
            <a:lvl1pPr marL="225406" marR="0" indent="-225406" algn="l" defTabSz="914323" rtl="0" eaLnBrk="1" fontAlgn="auto" latinLnBrk="0" hangingPunct="1">
              <a:lnSpc>
                <a:spcPct val="100000"/>
              </a:lnSpc>
              <a:spcBef>
                <a:spcPct val="20000"/>
              </a:spcBef>
              <a:spcAft>
                <a:spcPts val="0"/>
              </a:spcAft>
              <a:buClr>
                <a:srgbClr val="009530"/>
              </a:buClr>
              <a:buSzTx/>
              <a:buFont typeface="Arial" panose="020B0604020202020204" pitchFamily="34" charset="0"/>
              <a:buNone/>
              <a:tabLst/>
              <a:defRPr sz="1900">
                <a:solidFill>
                  <a:schemeClr val="bg1"/>
                </a:solidFill>
              </a:defRPr>
            </a:lvl1pPr>
          </a:lstStyle>
          <a:p>
            <a:r>
              <a:rPr lang="en-US" dirty="0"/>
              <a:t>Drag picture to placeholder or click icon to add</a:t>
            </a:r>
          </a:p>
          <a:p>
            <a:endParaRPr lang="en-US" dirty="0"/>
          </a:p>
        </p:txBody>
      </p:sp>
      <p:sp>
        <p:nvSpPr>
          <p:cNvPr id="14" name="Text Placeholder 13"/>
          <p:cNvSpPr>
            <a:spLocks noGrp="1"/>
          </p:cNvSpPr>
          <p:nvPr>
            <p:ph type="body" sz="quarter" idx="17"/>
          </p:nvPr>
        </p:nvSpPr>
        <p:spPr>
          <a:xfrm>
            <a:off x="6056315" y="5434021"/>
            <a:ext cx="5534026" cy="1449387"/>
          </a:xfrm>
        </p:spPr>
        <p:txBody>
          <a:bodyPr/>
          <a:lstStyle>
            <a:lvl1pPr>
              <a:buClr>
                <a:srgbClr val="000000"/>
              </a:buClr>
              <a:defRPr sz="1600" i="1">
                <a:solidFill>
                  <a:schemeClr val="bg1"/>
                </a:solidFill>
              </a:defRPr>
            </a:lvl1pPr>
            <a:lvl2pPr marL="461923" indent="-230169">
              <a:buClr>
                <a:schemeClr val="bg1"/>
              </a:buClr>
              <a:buFont typeface="Arial" pitchFamily="34" charset="0"/>
              <a:buChar char="&gt;"/>
              <a:defRPr sz="15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p:txBody>
      </p:sp>
      <p:sp>
        <p:nvSpPr>
          <p:cNvPr id="11" name="Title 10"/>
          <p:cNvSpPr>
            <a:spLocks noGrp="1"/>
          </p:cNvSpPr>
          <p:nvPr>
            <p:ph type="title" hasCustomPrompt="1"/>
          </p:nvPr>
        </p:nvSpPr>
        <p:spPr>
          <a:xfrm>
            <a:off x="608014" y="261941"/>
            <a:ext cx="5186362" cy="1271587"/>
          </a:xfrm>
        </p:spPr>
        <p:txBody>
          <a:bodyPr anchor="t" anchorCtr="0"/>
          <a:lstStyle>
            <a:lvl1pPr algn="l">
              <a:defRPr>
                <a:solidFill>
                  <a:schemeClr val="bg1"/>
                </a:solidFill>
              </a:defRPr>
            </a:lvl1pPr>
          </a:lstStyle>
          <a:p>
            <a:r>
              <a:rPr lang="en-US" dirty="0"/>
              <a:t>Click to edit title</a:t>
            </a:r>
          </a:p>
        </p:txBody>
      </p:sp>
      <p:sp>
        <p:nvSpPr>
          <p:cNvPr id="9" name="TextBox 8"/>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prstClr val="white"/>
                </a:solidFill>
                <a:cs typeface="Arial" pitchFamily="34" charset="0"/>
              </a:rPr>
              <a:t>Confidential Property of Schneider Electric</a:t>
            </a:r>
          </a:p>
        </p:txBody>
      </p:sp>
      <p:sp>
        <p:nvSpPr>
          <p:cNvPr id="16"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1610325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mpariso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74"/>
            <a:ext cx="10969943" cy="1095375"/>
          </a:xfrm>
        </p:spPr>
        <p:txBody>
          <a:bodyPr>
            <a:noAutofit/>
          </a:bodyPr>
          <a:lstStyle>
            <a:lvl1pPr>
              <a:defRPr>
                <a:solidFill>
                  <a:srgbClr val="FFFFFF"/>
                </a:solidFill>
                <a:latin typeface="Arial" pitchFamily="34" charset="0"/>
                <a:cs typeface="Arial" pitchFamily="34" charset="0"/>
              </a:defRPr>
            </a:lvl1pPr>
          </a:lstStyle>
          <a:p>
            <a:r>
              <a:rPr lang="en-US" dirty="0"/>
              <a:t>Click to edit Master title style</a:t>
            </a:r>
          </a:p>
        </p:txBody>
      </p:sp>
      <p:sp>
        <p:nvSpPr>
          <p:cNvPr id="3" name="Text Placeholder 2"/>
          <p:cNvSpPr>
            <a:spLocks noGrp="1"/>
          </p:cNvSpPr>
          <p:nvPr>
            <p:ph type="body" idx="1"/>
          </p:nvPr>
        </p:nvSpPr>
        <p:spPr>
          <a:xfrm>
            <a:off x="609446" y="1509715"/>
            <a:ext cx="5184935" cy="520700"/>
          </a:xfrm>
        </p:spPr>
        <p:txBody>
          <a:bodyPr rIns="0" anchor="t" anchorCtr="0">
            <a:noAutofit/>
          </a:bodyPr>
          <a:lstStyle>
            <a:lvl1pPr marL="0" indent="0" algn="l">
              <a:buNone/>
              <a:defRPr sz="2300" b="1">
                <a:solidFill>
                  <a:srgbClr val="FFFFFF"/>
                </a:solidFill>
                <a:latin typeface="Arial" pitchFamily="34" charset="0"/>
                <a:cs typeface="Arial" pitchFamily="34" charset="0"/>
              </a:defRPr>
            </a:lvl1pPr>
            <a:lvl2pPr marL="457161" indent="0">
              <a:buNone/>
              <a:defRPr sz="2000" b="1"/>
            </a:lvl2pPr>
            <a:lvl3pPr marL="914323" indent="0">
              <a:buNone/>
              <a:defRPr sz="1900" b="1"/>
            </a:lvl3pPr>
            <a:lvl4pPr marL="1371485" indent="0">
              <a:buNone/>
              <a:defRPr sz="1600" b="1"/>
            </a:lvl4pPr>
            <a:lvl5pPr marL="1828648" indent="0">
              <a:buNone/>
              <a:defRPr sz="1600" b="1"/>
            </a:lvl5pPr>
            <a:lvl6pPr marL="2285809" indent="0">
              <a:buNone/>
              <a:defRPr sz="1600" b="1"/>
            </a:lvl6pPr>
            <a:lvl7pPr marL="2742971" indent="0">
              <a:buNone/>
              <a:defRPr sz="1600" b="1"/>
            </a:lvl7pPr>
            <a:lvl8pPr marL="3200133" indent="0">
              <a:buNone/>
              <a:defRPr sz="1600" b="1"/>
            </a:lvl8pPr>
            <a:lvl9pPr marL="3657296" indent="0">
              <a:buNone/>
              <a:defRPr sz="1600" b="1"/>
            </a:lvl9pPr>
          </a:lstStyle>
          <a:p>
            <a:pPr lvl="0"/>
            <a:r>
              <a:rPr lang="en-US" dirty="0"/>
              <a:t>Click to edit Master text styles</a:t>
            </a:r>
          </a:p>
        </p:txBody>
      </p:sp>
      <p:sp>
        <p:nvSpPr>
          <p:cNvPr id="5" name="Text Placeholder 4"/>
          <p:cNvSpPr>
            <a:spLocks noGrp="1"/>
          </p:cNvSpPr>
          <p:nvPr>
            <p:ph type="body" sz="quarter" idx="3"/>
          </p:nvPr>
        </p:nvSpPr>
        <p:spPr>
          <a:xfrm>
            <a:off x="6191754" y="1509715"/>
            <a:ext cx="5387630" cy="520700"/>
          </a:xfrm>
        </p:spPr>
        <p:txBody>
          <a:bodyPr rIns="0" anchor="t" anchorCtr="0">
            <a:noAutofit/>
          </a:bodyPr>
          <a:lstStyle>
            <a:lvl1pPr marL="0" indent="0" algn="l">
              <a:buNone/>
              <a:defRPr sz="2300" b="1">
                <a:solidFill>
                  <a:srgbClr val="FFFFFF"/>
                </a:solidFill>
                <a:latin typeface="Arial" pitchFamily="34" charset="0"/>
                <a:cs typeface="Arial" pitchFamily="34" charset="0"/>
              </a:defRPr>
            </a:lvl1pPr>
            <a:lvl2pPr marL="457161" indent="0">
              <a:buNone/>
              <a:defRPr sz="2000" b="1"/>
            </a:lvl2pPr>
            <a:lvl3pPr marL="914323" indent="0">
              <a:buNone/>
              <a:defRPr sz="1900" b="1"/>
            </a:lvl3pPr>
            <a:lvl4pPr marL="1371485" indent="0">
              <a:buNone/>
              <a:defRPr sz="1600" b="1"/>
            </a:lvl4pPr>
            <a:lvl5pPr marL="1828648" indent="0">
              <a:buNone/>
              <a:defRPr sz="1600" b="1"/>
            </a:lvl5pPr>
            <a:lvl6pPr marL="2285809" indent="0">
              <a:buNone/>
              <a:defRPr sz="1600" b="1"/>
            </a:lvl6pPr>
            <a:lvl7pPr marL="2742971" indent="0">
              <a:buNone/>
              <a:defRPr sz="1600" b="1"/>
            </a:lvl7pPr>
            <a:lvl8pPr marL="3200133" indent="0">
              <a:buNone/>
              <a:defRPr sz="1600" b="1"/>
            </a:lvl8pPr>
            <a:lvl9pPr marL="3657296" indent="0">
              <a:buNone/>
              <a:defRPr sz="1600" b="1"/>
            </a:lvl9pPr>
          </a:lstStyle>
          <a:p>
            <a:pPr lvl="0"/>
            <a:r>
              <a:rPr lang="en-US" dirty="0"/>
              <a:t>Click to edit Master text styles</a:t>
            </a:r>
          </a:p>
        </p:txBody>
      </p:sp>
      <p:sp>
        <p:nvSpPr>
          <p:cNvPr id="9" name="Text Placeholder 8"/>
          <p:cNvSpPr>
            <a:spLocks noGrp="1"/>
          </p:cNvSpPr>
          <p:nvPr>
            <p:ph type="body" sz="quarter" idx="10"/>
          </p:nvPr>
        </p:nvSpPr>
        <p:spPr>
          <a:xfrm>
            <a:off x="609605" y="2144714"/>
            <a:ext cx="5184775" cy="4127500"/>
          </a:xfrm>
        </p:spPr>
        <p:txBody>
          <a:bodyPr/>
          <a:lstStyle>
            <a:lvl1pPr>
              <a:buClr>
                <a:schemeClr val="bg1"/>
              </a:buClr>
              <a:defRPr sz="2000">
                <a:solidFill>
                  <a:schemeClr val="bg1"/>
                </a:solidFill>
              </a:defRPr>
            </a:lvl1pPr>
            <a:lvl2pPr>
              <a:buClr>
                <a:schemeClr val="bg1"/>
              </a:buClr>
              <a:defRPr sz="1900">
                <a:solidFill>
                  <a:schemeClr val="bg1"/>
                </a:solidFill>
              </a:defRPr>
            </a:lvl2pPr>
            <a:lvl3pPr>
              <a:buClr>
                <a:schemeClr val="bg1"/>
              </a:buClr>
              <a:defRPr sz="1600">
                <a:solidFill>
                  <a:schemeClr val="bg1"/>
                </a:solidFill>
              </a:defRPr>
            </a:lvl3pPr>
            <a:lvl4pPr>
              <a:buClr>
                <a:schemeClr val="bg1"/>
              </a:buClr>
              <a:defRPr sz="15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1"/>
          </p:nvPr>
        </p:nvSpPr>
        <p:spPr>
          <a:xfrm>
            <a:off x="6191250" y="2144714"/>
            <a:ext cx="5387975" cy="4127500"/>
          </a:xfrm>
        </p:spPr>
        <p:txBody>
          <a:bodyPr/>
          <a:lstStyle>
            <a:lvl1pPr>
              <a:buClr>
                <a:schemeClr val="bg1"/>
              </a:buClr>
              <a:defRPr sz="2000">
                <a:solidFill>
                  <a:schemeClr val="bg1"/>
                </a:solidFill>
              </a:defRPr>
            </a:lvl1pPr>
            <a:lvl2pPr>
              <a:buClr>
                <a:schemeClr val="bg1"/>
              </a:buClr>
              <a:defRPr sz="1900">
                <a:solidFill>
                  <a:schemeClr val="bg1"/>
                </a:solidFill>
              </a:defRPr>
            </a:lvl2pPr>
            <a:lvl3pPr>
              <a:buClr>
                <a:schemeClr val="bg1"/>
              </a:buClr>
              <a:defRPr sz="1600">
                <a:solidFill>
                  <a:schemeClr val="bg1"/>
                </a:solidFill>
              </a:defRPr>
            </a:lvl3pPr>
            <a:lvl4pPr>
              <a:buClr>
                <a:schemeClr val="bg1"/>
              </a:buClr>
              <a:defRPr sz="1500">
                <a:solidFill>
                  <a:schemeClr val="bg1"/>
                </a:solidFill>
              </a:defRPr>
            </a:lvl4pPr>
            <a:lvl5pPr>
              <a:buClr>
                <a:schemeClr val="bg1"/>
              </a:buClr>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prstClr val="white"/>
                </a:solidFill>
                <a:cs typeface="Arial" pitchFamily="34" charset="0"/>
              </a:rPr>
              <a:t>Confidential Property of Schneider Electric</a:t>
            </a:r>
          </a:p>
        </p:txBody>
      </p:sp>
      <p:sp>
        <p:nvSpPr>
          <p:cNvPr id="14"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18574054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6 Column Dark Gray">
    <p:bg>
      <p:bgPr>
        <a:solidFill>
          <a:srgbClr val="62646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74"/>
            <a:ext cx="10969943" cy="1095375"/>
          </a:xfrm>
        </p:spPr>
        <p:txBody>
          <a:bodyPr>
            <a:noAutofit/>
          </a:bodyPr>
          <a:lstStyle>
            <a:lvl1pPr>
              <a:defRPr>
                <a:solidFill>
                  <a:srgbClr val="FFFFFF"/>
                </a:solidFill>
              </a:defRPr>
            </a:lvl1pPr>
          </a:lstStyle>
          <a:p>
            <a:r>
              <a:rPr lang="en-US" dirty="0"/>
              <a:t>Click to edit Master title style</a:t>
            </a:r>
          </a:p>
        </p:txBody>
      </p:sp>
      <p:sp>
        <p:nvSpPr>
          <p:cNvPr id="10" name="Picture Placeholder 9"/>
          <p:cNvSpPr>
            <a:spLocks noGrp="1"/>
          </p:cNvSpPr>
          <p:nvPr>
            <p:ph type="pic" sz="quarter" idx="10"/>
          </p:nvPr>
        </p:nvSpPr>
        <p:spPr>
          <a:xfrm>
            <a:off x="606074" y="2202085"/>
            <a:ext cx="1709928" cy="1737360"/>
          </a:xfrm>
        </p:spPr>
        <p:txBody>
          <a:bodyPr>
            <a:noAutofit/>
          </a:bodyPr>
          <a:lstStyle>
            <a:lvl1pPr marL="0" indent="0" algn="ctr">
              <a:buNone/>
              <a:defRPr sz="1900">
                <a:solidFill>
                  <a:srgbClr val="FFFFFF"/>
                </a:solidFill>
              </a:defRPr>
            </a:lvl1pPr>
          </a:lstStyle>
          <a:p>
            <a:r>
              <a:rPr lang="en-US"/>
              <a:t>Drag picture to placeholder or click icon to add</a:t>
            </a:r>
          </a:p>
        </p:txBody>
      </p:sp>
      <p:sp>
        <p:nvSpPr>
          <p:cNvPr id="11" name="Picture Placeholder 9"/>
          <p:cNvSpPr>
            <a:spLocks noGrp="1"/>
          </p:cNvSpPr>
          <p:nvPr>
            <p:ph type="pic" sz="quarter" idx="11"/>
          </p:nvPr>
        </p:nvSpPr>
        <p:spPr>
          <a:xfrm>
            <a:off x="2459035" y="2202085"/>
            <a:ext cx="1709928" cy="1737360"/>
          </a:xfrm>
        </p:spPr>
        <p:txBody>
          <a:bodyPr>
            <a:noAutofit/>
          </a:bodyPr>
          <a:lstStyle>
            <a:lvl1pPr marL="0" indent="0" algn="ctr">
              <a:buNone/>
              <a:defRPr sz="1900">
                <a:solidFill>
                  <a:srgbClr val="FFFFFF"/>
                </a:solidFill>
              </a:defRPr>
            </a:lvl1pPr>
          </a:lstStyle>
          <a:p>
            <a:r>
              <a:rPr lang="en-US"/>
              <a:t>Drag picture to placeholder or click icon to add</a:t>
            </a:r>
          </a:p>
        </p:txBody>
      </p:sp>
      <p:sp>
        <p:nvSpPr>
          <p:cNvPr id="12" name="Picture Placeholder 9"/>
          <p:cNvSpPr>
            <a:spLocks noGrp="1"/>
          </p:cNvSpPr>
          <p:nvPr>
            <p:ph type="pic" sz="quarter" idx="12"/>
          </p:nvPr>
        </p:nvSpPr>
        <p:spPr>
          <a:xfrm>
            <a:off x="4313396" y="2202085"/>
            <a:ext cx="1709928" cy="1737360"/>
          </a:xfrm>
        </p:spPr>
        <p:txBody>
          <a:bodyPr>
            <a:noAutofit/>
          </a:bodyPr>
          <a:lstStyle>
            <a:lvl1pPr marL="0" indent="0" algn="ctr">
              <a:buNone/>
              <a:defRPr sz="1900">
                <a:solidFill>
                  <a:srgbClr val="FFFFFF"/>
                </a:solidFill>
              </a:defRPr>
            </a:lvl1pPr>
          </a:lstStyle>
          <a:p>
            <a:r>
              <a:rPr lang="en-US" dirty="0"/>
              <a:t>Drag picture to placeholder or click icon to add</a:t>
            </a:r>
          </a:p>
        </p:txBody>
      </p:sp>
      <p:sp>
        <p:nvSpPr>
          <p:cNvPr id="13" name="Picture Placeholder 9"/>
          <p:cNvSpPr>
            <a:spLocks noGrp="1"/>
          </p:cNvSpPr>
          <p:nvPr>
            <p:ph type="pic" sz="quarter" idx="13"/>
          </p:nvPr>
        </p:nvSpPr>
        <p:spPr>
          <a:xfrm>
            <a:off x="6166168" y="2202085"/>
            <a:ext cx="1709928" cy="1737360"/>
          </a:xfrm>
        </p:spPr>
        <p:txBody>
          <a:bodyPr>
            <a:noAutofit/>
          </a:bodyPr>
          <a:lstStyle>
            <a:lvl1pPr marL="0" indent="0" algn="ctr">
              <a:buNone/>
              <a:defRPr sz="1900">
                <a:solidFill>
                  <a:srgbClr val="FFFFFF"/>
                </a:solidFill>
              </a:defRPr>
            </a:lvl1pPr>
          </a:lstStyle>
          <a:p>
            <a:r>
              <a:rPr lang="en-US"/>
              <a:t>Drag picture to placeholder or click icon to add</a:t>
            </a:r>
          </a:p>
        </p:txBody>
      </p:sp>
      <p:sp>
        <p:nvSpPr>
          <p:cNvPr id="14" name="Picture Placeholder 9"/>
          <p:cNvSpPr>
            <a:spLocks noGrp="1"/>
          </p:cNvSpPr>
          <p:nvPr>
            <p:ph type="pic" sz="quarter" idx="14"/>
          </p:nvPr>
        </p:nvSpPr>
        <p:spPr>
          <a:xfrm>
            <a:off x="8013763" y="2202085"/>
            <a:ext cx="1709928" cy="1737360"/>
          </a:xfrm>
        </p:spPr>
        <p:txBody>
          <a:bodyPr>
            <a:noAutofit/>
          </a:bodyPr>
          <a:lstStyle>
            <a:lvl1pPr marL="0" indent="0" algn="ctr">
              <a:buNone/>
              <a:defRPr sz="1900">
                <a:solidFill>
                  <a:srgbClr val="FFFFFF"/>
                </a:solidFill>
              </a:defRPr>
            </a:lvl1pPr>
          </a:lstStyle>
          <a:p>
            <a:r>
              <a:rPr lang="en-US"/>
              <a:t>Drag picture to placeholder or click icon to add</a:t>
            </a:r>
          </a:p>
        </p:txBody>
      </p:sp>
      <p:sp>
        <p:nvSpPr>
          <p:cNvPr id="15" name="Picture Placeholder 9"/>
          <p:cNvSpPr>
            <a:spLocks noGrp="1"/>
          </p:cNvSpPr>
          <p:nvPr>
            <p:ph type="pic" sz="quarter" idx="15"/>
          </p:nvPr>
        </p:nvSpPr>
        <p:spPr>
          <a:xfrm>
            <a:off x="9869294" y="2202085"/>
            <a:ext cx="1709928" cy="1737360"/>
          </a:xfrm>
        </p:spPr>
        <p:txBody>
          <a:bodyPr>
            <a:noAutofit/>
          </a:bodyPr>
          <a:lstStyle>
            <a:lvl1pPr marL="0" indent="0" algn="ctr">
              <a:buNone/>
              <a:defRPr sz="1900">
                <a:solidFill>
                  <a:srgbClr val="FFFFFF"/>
                </a:solidFill>
              </a:defRPr>
            </a:lvl1pPr>
          </a:lstStyle>
          <a:p>
            <a:r>
              <a:rPr lang="en-US"/>
              <a:t>Drag picture to placeholder or click icon to add</a:t>
            </a:r>
          </a:p>
        </p:txBody>
      </p:sp>
      <p:sp>
        <p:nvSpPr>
          <p:cNvPr id="17" name="Text Placeholder 16"/>
          <p:cNvSpPr>
            <a:spLocks noGrp="1"/>
          </p:cNvSpPr>
          <p:nvPr>
            <p:ph type="body" sz="quarter" idx="16"/>
          </p:nvPr>
        </p:nvSpPr>
        <p:spPr>
          <a:xfrm>
            <a:off x="606234" y="4089401"/>
            <a:ext cx="1709928"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dirty="0"/>
              <a:t>Click to edit Master text styles</a:t>
            </a:r>
          </a:p>
        </p:txBody>
      </p:sp>
      <p:sp>
        <p:nvSpPr>
          <p:cNvPr id="18" name="Text Placeholder 16"/>
          <p:cNvSpPr>
            <a:spLocks noGrp="1"/>
          </p:cNvSpPr>
          <p:nvPr>
            <p:ph type="body" sz="quarter" idx="17"/>
          </p:nvPr>
        </p:nvSpPr>
        <p:spPr>
          <a:xfrm>
            <a:off x="2459038" y="4089401"/>
            <a:ext cx="1709928"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dirty="0"/>
              <a:t>Click to edit Master text styles</a:t>
            </a:r>
          </a:p>
        </p:txBody>
      </p:sp>
      <p:sp>
        <p:nvSpPr>
          <p:cNvPr id="19" name="Text Placeholder 16"/>
          <p:cNvSpPr>
            <a:spLocks noGrp="1"/>
          </p:cNvSpPr>
          <p:nvPr>
            <p:ph type="body" sz="quarter" idx="18"/>
          </p:nvPr>
        </p:nvSpPr>
        <p:spPr>
          <a:xfrm>
            <a:off x="4313238" y="4089401"/>
            <a:ext cx="1709928"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a:t>Click to edit Master text styles</a:t>
            </a:r>
          </a:p>
        </p:txBody>
      </p:sp>
      <p:sp>
        <p:nvSpPr>
          <p:cNvPr id="20" name="Text Placeholder 16"/>
          <p:cNvSpPr>
            <a:spLocks noGrp="1"/>
          </p:cNvSpPr>
          <p:nvPr>
            <p:ph type="body" sz="quarter" idx="19"/>
          </p:nvPr>
        </p:nvSpPr>
        <p:spPr>
          <a:xfrm>
            <a:off x="6165850" y="4089401"/>
            <a:ext cx="1709928"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a:t>Click to edit Master text styles</a:t>
            </a:r>
          </a:p>
        </p:txBody>
      </p:sp>
      <p:sp>
        <p:nvSpPr>
          <p:cNvPr id="21" name="Text Placeholder 16"/>
          <p:cNvSpPr>
            <a:spLocks noGrp="1"/>
          </p:cNvSpPr>
          <p:nvPr>
            <p:ph type="body" sz="quarter" idx="20"/>
          </p:nvPr>
        </p:nvSpPr>
        <p:spPr>
          <a:xfrm>
            <a:off x="8013447" y="4089401"/>
            <a:ext cx="1709928"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a:t>Click to edit Master text styles</a:t>
            </a:r>
          </a:p>
        </p:txBody>
      </p:sp>
      <p:sp>
        <p:nvSpPr>
          <p:cNvPr id="22" name="Text Placeholder 16"/>
          <p:cNvSpPr>
            <a:spLocks noGrp="1"/>
          </p:cNvSpPr>
          <p:nvPr>
            <p:ph type="body" sz="quarter" idx="21"/>
          </p:nvPr>
        </p:nvSpPr>
        <p:spPr>
          <a:xfrm>
            <a:off x="9869297" y="4089401"/>
            <a:ext cx="1709928" cy="1085851"/>
          </a:xfrm>
        </p:spPr>
        <p:txBody>
          <a:bodyPr lIns="45717" rIns="45717">
            <a:noAutofit/>
          </a:bodyPr>
          <a:lstStyle>
            <a:lvl1pPr marL="0" indent="0" algn="ctr">
              <a:buNone/>
              <a:defRPr sz="1900" b="0">
                <a:solidFill>
                  <a:srgbClr val="FFFFFF"/>
                </a:solidFill>
              </a:defRPr>
            </a:lvl1pPr>
            <a:lvl2pPr marL="119051" indent="0">
              <a:buNone/>
              <a:defRPr sz="1900" b="0">
                <a:solidFill>
                  <a:schemeClr val="bg1"/>
                </a:solidFill>
              </a:defRPr>
            </a:lvl2pPr>
            <a:lvl3pPr marL="398429" indent="0">
              <a:buNone/>
              <a:defRPr sz="1900" b="0">
                <a:solidFill>
                  <a:schemeClr val="bg1"/>
                </a:solidFill>
              </a:defRPr>
            </a:lvl3pPr>
            <a:lvl4pPr marL="688917" indent="0">
              <a:buNone/>
              <a:defRPr sz="1900" b="0">
                <a:solidFill>
                  <a:schemeClr val="bg1"/>
                </a:solidFill>
              </a:defRPr>
            </a:lvl4pPr>
            <a:lvl5pPr marL="917499" indent="0">
              <a:buNone/>
              <a:defRPr sz="1900" b="0">
                <a:solidFill>
                  <a:schemeClr val="bg1"/>
                </a:solidFill>
              </a:defRPr>
            </a:lvl5pPr>
          </a:lstStyle>
          <a:p>
            <a:pPr lvl="0"/>
            <a:r>
              <a:rPr lang="en-US"/>
              <a:t>Click to edit Master text styles</a:t>
            </a:r>
          </a:p>
        </p:txBody>
      </p:sp>
      <p:sp>
        <p:nvSpPr>
          <p:cNvPr id="23" name="TextBox 22"/>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prstClr val="white"/>
                </a:solidFill>
                <a:cs typeface="Arial" pitchFamily="34" charset="0"/>
              </a:rPr>
              <a:t>Confidential Property of Schneider Electric</a:t>
            </a:r>
          </a:p>
        </p:txBody>
      </p:sp>
      <p:sp>
        <p:nvSpPr>
          <p:cNvPr id="26"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26984531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arket Pictos_Green">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609441" y="271466"/>
            <a:ext cx="10969943" cy="1095375"/>
          </a:xfrm>
        </p:spPr>
        <p:txBody>
          <a:bodyPr/>
          <a:lstStyle>
            <a:lvl1pPr algn="l">
              <a:defRPr>
                <a:solidFill>
                  <a:srgbClr val="009530"/>
                </a:solidFill>
              </a:defRPr>
            </a:lvl1pPr>
          </a:lstStyle>
          <a:p>
            <a:r>
              <a:rPr lang="en-US" dirty="0"/>
              <a:t>Market </a:t>
            </a:r>
            <a:r>
              <a:rPr lang="en-US" dirty="0" err="1"/>
              <a:t>Pictos</a:t>
            </a:r>
            <a:endParaRPr lang="en-US" noProof="0" dirty="0"/>
          </a:p>
        </p:txBody>
      </p:sp>
      <p:sp>
        <p:nvSpPr>
          <p:cNvPr id="264" name="Freeform 156"/>
          <p:cNvSpPr>
            <a:spLocks noChangeAspect="1"/>
          </p:cNvSpPr>
          <p:nvPr userDrawn="1"/>
        </p:nvSpPr>
        <p:spPr bwMode="auto">
          <a:xfrm>
            <a:off x="10351087" y="2195360"/>
            <a:ext cx="391833" cy="393192"/>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65" name="Freeform 188"/>
          <p:cNvSpPr>
            <a:spLocks noChangeAspect="1" noEditPoints="1"/>
          </p:cNvSpPr>
          <p:nvPr userDrawn="1"/>
        </p:nvSpPr>
        <p:spPr bwMode="auto">
          <a:xfrm>
            <a:off x="10335262" y="3000095"/>
            <a:ext cx="422086" cy="393192"/>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66" name="Freeform 192"/>
          <p:cNvSpPr>
            <a:spLocks noChangeAspect="1" noEditPoints="1"/>
          </p:cNvSpPr>
          <p:nvPr userDrawn="1"/>
        </p:nvSpPr>
        <p:spPr bwMode="auto">
          <a:xfrm>
            <a:off x="8472430" y="2195360"/>
            <a:ext cx="394363" cy="393192"/>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67" name="Freeform 200"/>
          <p:cNvSpPr>
            <a:spLocks noChangeAspect="1"/>
          </p:cNvSpPr>
          <p:nvPr userDrawn="1"/>
        </p:nvSpPr>
        <p:spPr bwMode="auto">
          <a:xfrm>
            <a:off x="9512902" y="2195360"/>
            <a:ext cx="273024" cy="393192"/>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68" name="Freeform 204"/>
          <p:cNvSpPr>
            <a:spLocks noChangeAspect="1"/>
          </p:cNvSpPr>
          <p:nvPr userDrawn="1"/>
        </p:nvSpPr>
        <p:spPr bwMode="auto">
          <a:xfrm>
            <a:off x="7605970" y="3000095"/>
            <a:ext cx="231658" cy="393192"/>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69" name="Freeform 212"/>
          <p:cNvSpPr>
            <a:spLocks noChangeAspect="1"/>
          </p:cNvSpPr>
          <p:nvPr userDrawn="1"/>
        </p:nvSpPr>
        <p:spPr bwMode="auto">
          <a:xfrm>
            <a:off x="8576194" y="3838255"/>
            <a:ext cx="201481" cy="40436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0" name="Freeform 228"/>
          <p:cNvSpPr>
            <a:spLocks noChangeAspect="1"/>
          </p:cNvSpPr>
          <p:nvPr userDrawn="1"/>
        </p:nvSpPr>
        <p:spPr bwMode="auto">
          <a:xfrm>
            <a:off x="9461323" y="3000095"/>
            <a:ext cx="371653" cy="393192"/>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1" name="Freeform 208"/>
          <p:cNvSpPr>
            <a:spLocks noChangeAspect="1"/>
          </p:cNvSpPr>
          <p:nvPr userDrawn="1"/>
        </p:nvSpPr>
        <p:spPr bwMode="auto">
          <a:xfrm>
            <a:off x="8574378" y="2941499"/>
            <a:ext cx="254308" cy="451797"/>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2" name="Freeform 152"/>
          <p:cNvSpPr>
            <a:spLocks noChangeAspect="1"/>
          </p:cNvSpPr>
          <p:nvPr userDrawn="1"/>
        </p:nvSpPr>
        <p:spPr bwMode="auto">
          <a:xfrm>
            <a:off x="7471868" y="4723069"/>
            <a:ext cx="586683" cy="351304"/>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3" name="Freeform 176"/>
          <p:cNvSpPr>
            <a:spLocks noChangeAspect="1"/>
          </p:cNvSpPr>
          <p:nvPr userDrawn="1"/>
        </p:nvSpPr>
        <p:spPr bwMode="auto">
          <a:xfrm>
            <a:off x="11346413" y="2195360"/>
            <a:ext cx="383947" cy="393192"/>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4" name="Freeform 140"/>
          <p:cNvSpPr>
            <a:spLocks noChangeAspect="1"/>
          </p:cNvSpPr>
          <p:nvPr userDrawn="1"/>
        </p:nvSpPr>
        <p:spPr bwMode="auto">
          <a:xfrm>
            <a:off x="10350370" y="3849421"/>
            <a:ext cx="393194" cy="393192"/>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5" name="Freeform 172"/>
          <p:cNvSpPr>
            <a:spLocks noChangeAspect="1"/>
          </p:cNvSpPr>
          <p:nvPr userDrawn="1"/>
        </p:nvSpPr>
        <p:spPr bwMode="auto">
          <a:xfrm>
            <a:off x="11340336" y="3836721"/>
            <a:ext cx="395565" cy="393192"/>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6" name="Freeform 48"/>
          <p:cNvSpPr>
            <a:spLocks noChangeAspect="1"/>
          </p:cNvSpPr>
          <p:nvPr userDrawn="1"/>
        </p:nvSpPr>
        <p:spPr bwMode="auto">
          <a:xfrm>
            <a:off x="3424347" y="1185552"/>
            <a:ext cx="276964" cy="393192"/>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7" name="TextBox 276"/>
          <p:cNvSpPr txBox="1"/>
          <p:nvPr userDrawn="1"/>
        </p:nvSpPr>
        <p:spPr>
          <a:xfrm>
            <a:off x="3143304" y="1669181"/>
            <a:ext cx="810056" cy="24622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Energy &amp;</a:t>
            </a:r>
            <a:br>
              <a:rPr lang="en-US" sz="800" b="1" dirty="0">
                <a:solidFill>
                  <a:srgbClr val="626469"/>
                </a:solidFill>
                <a:cs typeface="Arial" pitchFamily="34" charset="0"/>
              </a:rPr>
            </a:br>
            <a:r>
              <a:rPr lang="en-US" sz="800" b="1" dirty="0">
                <a:solidFill>
                  <a:srgbClr val="626469"/>
                </a:solidFill>
                <a:cs typeface="Arial" pitchFamily="34" charset="0"/>
              </a:rPr>
              <a:t>infrastructure</a:t>
            </a:r>
          </a:p>
        </p:txBody>
      </p:sp>
      <p:sp>
        <p:nvSpPr>
          <p:cNvPr id="278" name="Freeform 52"/>
          <p:cNvSpPr>
            <a:spLocks noChangeAspect="1"/>
          </p:cNvSpPr>
          <p:nvPr userDrawn="1"/>
        </p:nvSpPr>
        <p:spPr bwMode="auto">
          <a:xfrm>
            <a:off x="4303859" y="1185552"/>
            <a:ext cx="380589" cy="393192"/>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9" name="TextBox 278"/>
          <p:cNvSpPr txBox="1"/>
          <p:nvPr userDrawn="1"/>
        </p:nvSpPr>
        <p:spPr>
          <a:xfrm>
            <a:off x="4196931" y="1669183"/>
            <a:ext cx="590228" cy="123111"/>
          </a:xfrm>
          <a:prstGeom prst="rect">
            <a:avLst/>
          </a:prstGeom>
          <a:noFill/>
        </p:spPr>
        <p:txBody>
          <a:bodyPr wrap="square" lIns="0" tIns="0" rIns="0" bIns="0" rtlCol="0" anchor="t" anchorCtr="0">
            <a:spAutoFit/>
          </a:bodyPr>
          <a:lstStyle/>
          <a:p>
            <a:pPr algn="ctr"/>
            <a:r>
              <a:rPr lang="en-US" sz="800" b="1" dirty="0">
                <a:solidFill>
                  <a:srgbClr val="626469"/>
                </a:solidFill>
                <a:cs typeface="Arial" pitchFamily="34" charset="0"/>
              </a:rPr>
              <a:t>Industry</a:t>
            </a:r>
          </a:p>
        </p:txBody>
      </p:sp>
      <p:sp>
        <p:nvSpPr>
          <p:cNvPr id="280" name="Freeform 68"/>
          <p:cNvSpPr>
            <a:spLocks noChangeAspect="1"/>
          </p:cNvSpPr>
          <p:nvPr userDrawn="1"/>
        </p:nvSpPr>
        <p:spPr bwMode="auto">
          <a:xfrm>
            <a:off x="1438333" y="1185552"/>
            <a:ext cx="448619" cy="393192"/>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81" name="TextBox 280"/>
          <p:cNvSpPr txBox="1"/>
          <p:nvPr userDrawn="1"/>
        </p:nvSpPr>
        <p:spPr>
          <a:xfrm>
            <a:off x="1342306" y="1669183"/>
            <a:ext cx="652743" cy="12311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Buildings</a:t>
            </a:r>
          </a:p>
        </p:txBody>
      </p:sp>
      <p:sp>
        <p:nvSpPr>
          <p:cNvPr id="282" name="Freeform 60"/>
          <p:cNvSpPr>
            <a:spLocks noChangeAspect="1"/>
          </p:cNvSpPr>
          <p:nvPr userDrawn="1"/>
        </p:nvSpPr>
        <p:spPr bwMode="auto">
          <a:xfrm>
            <a:off x="2317355" y="1222075"/>
            <a:ext cx="493975" cy="353487"/>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83" name="TextBox 282"/>
          <p:cNvSpPr txBox="1"/>
          <p:nvPr userDrawn="1"/>
        </p:nvSpPr>
        <p:spPr>
          <a:xfrm>
            <a:off x="2286375" y="1669188"/>
            <a:ext cx="647613" cy="24622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Data </a:t>
            </a:r>
            <a:r>
              <a:rPr lang="en-US" sz="800" b="1" dirty="0" err="1">
                <a:solidFill>
                  <a:srgbClr val="626469"/>
                </a:solidFill>
                <a:cs typeface="Arial" pitchFamily="34" charset="0"/>
              </a:rPr>
              <a:t>centres</a:t>
            </a:r>
            <a:r>
              <a:rPr lang="en-US" sz="800" b="1" dirty="0">
                <a:solidFill>
                  <a:srgbClr val="626469"/>
                </a:solidFill>
                <a:cs typeface="Arial" pitchFamily="34" charset="0"/>
              </a:rPr>
              <a:t> </a:t>
            </a:r>
            <a:br>
              <a:rPr lang="en-US" sz="800" b="1" dirty="0">
                <a:solidFill>
                  <a:srgbClr val="626469"/>
                </a:solidFill>
                <a:cs typeface="Arial" pitchFamily="34" charset="0"/>
              </a:rPr>
            </a:br>
            <a:r>
              <a:rPr lang="en-US" sz="800" b="1" dirty="0">
                <a:solidFill>
                  <a:srgbClr val="626469"/>
                </a:solidFill>
                <a:cs typeface="Arial" pitchFamily="34" charset="0"/>
              </a:rPr>
              <a:t>&amp; networks</a:t>
            </a:r>
          </a:p>
        </p:txBody>
      </p:sp>
      <p:sp>
        <p:nvSpPr>
          <p:cNvPr id="284" name="Freeform 64"/>
          <p:cNvSpPr>
            <a:spLocks noChangeAspect="1"/>
          </p:cNvSpPr>
          <p:nvPr userDrawn="1"/>
        </p:nvSpPr>
        <p:spPr bwMode="auto">
          <a:xfrm>
            <a:off x="5258279" y="1185552"/>
            <a:ext cx="358929" cy="393192"/>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85" name="TextBox 284"/>
          <p:cNvSpPr txBox="1"/>
          <p:nvPr userDrawn="1"/>
        </p:nvSpPr>
        <p:spPr>
          <a:xfrm>
            <a:off x="5158135" y="1669189"/>
            <a:ext cx="549831" cy="12311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Residential</a:t>
            </a:r>
          </a:p>
        </p:txBody>
      </p:sp>
      <p:sp>
        <p:nvSpPr>
          <p:cNvPr id="286" name="Freeform 148"/>
          <p:cNvSpPr>
            <a:spLocks noChangeAspect="1"/>
          </p:cNvSpPr>
          <p:nvPr userDrawn="1"/>
        </p:nvSpPr>
        <p:spPr bwMode="auto">
          <a:xfrm>
            <a:off x="9432244" y="1260845"/>
            <a:ext cx="446842" cy="340107"/>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87" name="TextBox 286"/>
          <p:cNvSpPr txBox="1"/>
          <p:nvPr userDrawn="1"/>
        </p:nvSpPr>
        <p:spPr>
          <a:xfrm>
            <a:off x="9229950" y="1669181"/>
            <a:ext cx="851437" cy="24622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Power management</a:t>
            </a:r>
          </a:p>
        </p:txBody>
      </p:sp>
      <p:sp>
        <p:nvSpPr>
          <p:cNvPr id="288" name="Freeform 184"/>
          <p:cNvSpPr>
            <a:spLocks noChangeAspect="1"/>
          </p:cNvSpPr>
          <p:nvPr userDrawn="1"/>
        </p:nvSpPr>
        <p:spPr bwMode="auto">
          <a:xfrm>
            <a:off x="8409158" y="1207759"/>
            <a:ext cx="489928" cy="393192"/>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89" name="TextBox 288"/>
          <p:cNvSpPr txBox="1"/>
          <p:nvPr userDrawn="1"/>
        </p:nvSpPr>
        <p:spPr>
          <a:xfrm>
            <a:off x="7988860" y="1669181"/>
            <a:ext cx="1379553" cy="24622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Process/machine management</a:t>
            </a:r>
          </a:p>
        </p:txBody>
      </p:sp>
      <p:sp>
        <p:nvSpPr>
          <p:cNvPr id="290" name="Freeform 132"/>
          <p:cNvSpPr>
            <a:spLocks noChangeAspect="1"/>
          </p:cNvSpPr>
          <p:nvPr userDrawn="1"/>
        </p:nvSpPr>
        <p:spPr bwMode="auto">
          <a:xfrm>
            <a:off x="7526969" y="1207759"/>
            <a:ext cx="386910" cy="393192"/>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91" name="TextBox 290"/>
          <p:cNvSpPr txBox="1"/>
          <p:nvPr userDrawn="1"/>
        </p:nvSpPr>
        <p:spPr>
          <a:xfrm>
            <a:off x="7191941" y="1669181"/>
            <a:ext cx="1070335" cy="24622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IT room</a:t>
            </a:r>
            <a:br>
              <a:rPr lang="en-US" sz="800" b="1" dirty="0">
                <a:solidFill>
                  <a:srgbClr val="626469"/>
                </a:solidFill>
                <a:cs typeface="Arial" pitchFamily="34" charset="0"/>
              </a:rPr>
            </a:br>
            <a:r>
              <a:rPr lang="en-US" sz="800" b="1" dirty="0">
                <a:solidFill>
                  <a:srgbClr val="626469"/>
                </a:solidFill>
                <a:cs typeface="Arial" pitchFamily="34" charset="0"/>
              </a:rPr>
              <a:t>management</a:t>
            </a:r>
          </a:p>
        </p:txBody>
      </p:sp>
      <p:sp>
        <p:nvSpPr>
          <p:cNvPr id="292" name="Freeform 180"/>
          <p:cNvSpPr>
            <a:spLocks noChangeAspect="1"/>
          </p:cNvSpPr>
          <p:nvPr userDrawn="1"/>
        </p:nvSpPr>
        <p:spPr bwMode="auto">
          <a:xfrm>
            <a:off x="10338927" y="1207759"/>
            <a:ext cx="350298" cy="393192"/>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93" name="TextBox 292"/>
          <p:cNvSpPr txBox="1"/>
          <p:nvPr userDrawn="1"/>
        </p:nvSpPr>
        <p:spPr>
          <a:xfrm>
            <a:off x="10094005" y="1669181"/>
            <a:ext cx="923941" cy="24622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Security</a:t>
            </a:r>
            <a:br>
              <a:rPr lang="en-US" sz="800" b="1" dirty="0">
                <a:solidFill>
                  <a:srgbClr val="626469"/>
                </a:solidFill>
                <a:cs typeface="Arial" pitchFamily="34" charset="0"/>
              </a:rPr>
            </a:br>
            <a:r>
              <a:rPr lang="en-US" sz="800" b="1" dirty="0">
                <a:solidFill>
                  <a:srgbClr val="626469"/>
                </a:solidFill>
                <a:cs typeface="Arial" pitchFamily="34" charset="0"/>
              </a:rPr>
              <a:t>management</a:t>
            </a:r>
          </a:p>
        </p:txBody>
      </p:sp>
      <p:sp>
        <p:nvSpPr>
          <p:cNvPr id="294" name="Freeform 124"/>
          <p:cNvSpPr>
            <a:spLocks noChangeAspect="1"/>
          </p:cNvSpPr>
          <p:nvPr userDrawn="1"/>
        </p:nvSpPr>
        <p:spPr bwMode="auto">
          <a:xfrm>
            <a:off x="2418237" y="2195360"/>
            <a:ext cx="367063" cy="393192"/>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95" name="TextBox 294"/>
          <p:cNvSpPr txBox="1"/>
          <p:nvPr userDrawn="1"/>
        </p:nvSpPr>
        <p:spPr>
          <a:xfrm>
            <a:off x="2291570" y="2639108"/>
            <a:ext cx="637207" cy="24622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Electric</a:t>
            </a:r>
            <a:br>
              <a:rPr lang="en-US" sz="800" b="1" dirty="0">
                <a:solidFill>
                  <a:srgbClr val="626469"/>
                </a:solidFill>
                <a:cs typeface="Arial" pitchFamily="34" charset="0"/>
              </a:rPr>
            </a:br>
            <a:r>
              <a:rPr lang="en-US" sz="800" b="1" dirty="0">
                <a:solidFill>
                  <a:srgbClr val="626469"/>
                </a:solidFill>
                <a:cs typeface="Arial" pitchFamily="34" charset="0"/>
              </a:rPr>
              <a:t>utilities</a:t>
            </a:r>
          </a:p>
        </p:txBody>
      </p:sp>
      <p:sp>
        <p:nvSpPr>
          <p:cNvPr id="296" name="Freeform 116"/>
          <p:cNvSpPr>
            <a:spLocks noChangeAspect="1"/>
          </p:cNvSpPr>
          <p:nvPr userDrawn="1"/>
        </p:nvSpPr>
        <p:spPr bwMode="auto">
          <a:xfrm>
            <a:off x="1494884" y="3831107"/>
            <a:ext cx="385913" cy="393192"/>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97" name="TextBox 296"/>
          <p:cNvSpPr txBox="1"/>
          <p:nvPr userDrawn="1"/>
        </p:nvSpPr>
        <p:spPr>
          <a:xfrm>
            <a:off x="1378741" y="4284677"/>
            <a:ext cx="635869" cy="123111"/>
          </a:xfrm>
          <a:prstGeom prst="rect">
            <a:avLst/>
          </a:prstGeom>
          <a:noFill/>
        </p:spPr>
        <p:txBody>
          <a:bodyPr wrap="square" lIns="0" tIns="0" rIns="0" bIns="0" rtlCol="0" anchor="t" anchorCtr="0">
            <a:spAutoFit/>
          </a:bodyPr>
          <a:lstStyle/>
          <a:p>
            <a:pPr algn="ctr"/>
            <a:r>
              <a:rPr lang="en-US" sz="800" b="1" dirty="0">
                <a:solidFill>
                  <a:srgbClr val="626469"/>
                </a:solidFill>
                <a:cs typeface="Arial" pitchFamily="34" charset="0"/>
              </a:rPr>
              <a:t>Oil &amp; gas</a:t>
            </a:r>
          </a:p>
        </p:txBody>
      </p:sp>
      <p:sp>
        <p:nvSpPr>
          <p:cNvPr id="298" name="Freeform 88"/>
          <p:cNvSpPr>
            <a:spLocks noChangeAspect="1"/>
          </p:cNvSpPr>
          <p:nvPr userDrawn="1"/>
        </p:nvSpPr>
        <p:spPr bwMode="auto">
          <a:xfrm>
            <a:off x="4230516" y="3060566"/>
            <a:ext cx="516752" cy="337567"/>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99" name="TextBox 298"/>
          <p:cNvSpPr txBox="1"/>
          <p:nvPr userDrawn="1"/>
        </p:nvSpPr>
        <p:spPr>
          <a:xfrm>
            <a:off x="4174110" y="3463580"/>
            <a:ext cx="635869" cy="123111"/>
          </a:xfrm>
          <a:prstGeom prst="rect">
            <a:avLst/>
          </a:prstGeom>
          <a:noFill/>
        </p:spPr>
        <p:txBody>
          <a:bodyPr wrap="square" lIns="0" tIns="0" rIns="0" bIns="0" rtlCol="0" anchor="t" anchorCtr="0">
            <a:spAutoFit/>
          </a:bodyPr>
          <a:lstStyle/>
          <a:p>
            <a:pPr algn="ctr"/>
            <a:r>
              <a:rPr lang="en-US" sz="800" b="1" dirty="0">
                <a:solidFill>
                  <a:srgbClr val="626469"/>
                </a:solidFill>
                <a:cs typeface="Arial" pitchFamily="34" charset="0"/>
              </a:rPr>
              <a:t>Marine</a:t>
            </a:r>
          </a:p>
        </p:txBody>
      </p:sp>
      <p:sp>
        <p:nvSpPr>
          <p:cNvPr id="300" name="Freeform 220"/>
          <p:cNvSpPr>
            <a:spLocks noChangeAspect="1"/>
          </p:cNvSpPr>
          <p:nvPr userDrawn="1"/>
        </p:nvSpPr>
        <p:spPr bwMode="auto">
          <a:xfrm>
            <a:off x="3270799" y="3900220"/>
            <a:ext cx="586434" cy="324077"/>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01" name="TextBox 300"/>
          <p:cNvSpPr txBox="1"/>
          <p:nvPr userDrawn="1"/>
        </p:nvSpPr>
        <p:spPr>
          <a:xfrm>
            <a:off x="2985176" y="4284677"/>
            <a:ext cx="1126320" cy="12311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Transportation</a:t>
            </a:r>
          </a:p>
        </p:txBody>
      </p:sp>
      <p:sp>
        <p:nvSpPr>
          <p:cNvPr id="302" name="Freeform 76"/>
          <p:cNvSpPr>
            <a:spLocks noChangeAspect="1"/>
          </p:cNvSpPr>
          <p:nvPr userDrawn="1"/>
        </p:nvSpPr>
        <p:spPr bwMode="auto">
          <a:xfrm>
            <a:off x="4268395" y="3831107"/>
            <a:ext cx="427715" cy="393192"/>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03" name="TextBox 302"/>
          <p:cNvSpPr txBox="1"/>
          <p:nvPr userDrawn="1"/>
        </p:nvSpPr>
        <p:spPr>
          <a:xfrm>
            <a:off x="3947787" y="4284676"/>
            <a:ext cx="1088520" cy="24622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Water &amp; </a:t>
            </a:r>
            <a:br>
              <a:rPr lang="en-US" sz="800" b="1" dirty="0">
                <a:solidFill>
                  <a:srgbClr val="626469"/>
                </a:solidFill>
                <a:cs typeface="Arial" pitchFamily="34" charset="0"/>
              </a:rPr>
            </a:br>
            <a:r>
              <a:rPr lang="en-US" sz="800" b="1" dirty="0">
                <a:solidFill>
                  <a:srgbClr val="626469"/>
                </a:solidFill>
                <a:cs typeface="Arial" pitchFamily="34" charset="0"/>
              </a:rPr>
              <a:t>waste water</a:t>
            </a:r>
          </a:p>
        </p:txBody>
      </p:sp>
      <p:sp>
        <p:nvSpPr>
          <p:cNvPr id="304" name="Freeform 120"/>
          <p:cNvSpPr>
            <a:spLocks noChangeAspect="1"/>
          </p:cNvSpPr>
          <p:nvPr userDrawn="1"/>
        </p:nvSpPr>
        <p:spPr bwMode="auto">
          <a:xfrm>
            <a:off x="5194809" y="3004939"/>
            <a:ext cx="473683" cy="362948"/>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05" name="TextBox 304"/>
          <p:cNvSpPr txBox="1"/>
          <p:nvPr userDrawn="1"/>
        </p:nvSpPr>
        <p:spPr>
          <a:xfrm>
            <a:off x="4902559" y="3463580"/>
            <a:ext cx="1060977" cy="246221"/>
          </a:xfrm>
          <a:prstGeom prst="rect">
            <a:avLst/>
          </a:prstGeom>
          <a:noFill/>
        </p:spPr>
        <p:txBody>
          <a:bodyPr wrap="square" lIns="0" tIns="0" rIns="0" bIns="0" rtlCol="0" anchor="t" anchorCtr="0">
            <a:spAutoFit/>
          </a:bodyPr>
          <a:lstStyle/>
          <a:p>
            <a:pPr algn="ctr"/>
            <a:r>
              <a:rPr lang="en-US" sz="800" b="1" dirty="0">
                <a:solidFill>
                  <a:srgbClr val="626469"/>
                </a:solidFill>
                <a:cs typeface="Arial" pitchFamily="34" charset="0"/>
              </a:rPr>
              <a:t>Mining, minerals</a:t>
            </a:r>
            <a:br>
              <a:rPr lang="en-US" sz="800" b="1" dirty="0">
                <a:solidFill>
                  <a:srgbClr val="626469"/>
                </a:solidFill>
                <a:cs typeface="Arial" pitchFamily="34" charset="0"/>
              </a:rPr>
            </a:br>
            <a:r>
              <a:rPr lang="en-US" sz="800" b="1" dirty="0">
                <a:solidFill>
                  <a:srgbClr val="626469"/>
                </a:solidFill>
                <a:cs typeface="Arial" pitchFamily="34" charset="0"/>
              </a:rPr>
              <a:t>&amp; metals</a:t>
            </a:r>
          </a:p>
        </p:txBody>
      </p:sp>
      <p:sp>
        <p:nvSpPr>
          <p:cNvPr id="306" name="Freeform 112"/>
          <p:cNvSpPr>
            <a:spLocks noChangeAspect="1"/>
          </p:cNvSpPr>
          <p:nvPr userDrawn="1"/>
        </p:nvSpPr>
        <p:spPr bwMode="auto">
          <a:xfrm>
            <a:off x="4230517" y="2195360"/>
            <a:ext cx="500144" cy="393192"/>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07" name="TextBox 306"/>
          <p:cNvSpPr txBox="1"/>
          <p:nvPr userDrawn="1"/>
        </p:nvSpPr>
        <p:spPr>
          <a:xfrm>
            <a:off x="4230518" y="2639103"/>
            <a:ext cx="523058" cy="24622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Food &amp;</a:t>
            </a:r>
            <a:br>
              <a:rPr lang="en-US" sz="800" b="1" dirty="0">
                <a:solidFill>
                  <a:srgbClr val="626469"/>
                </a:solidFill>
                <a:cs typeface="Arial" pitchFamily="34" charset="0"/>
              </a:rPr>
            </a:br>
            <a:r>
              <a:rPr lang="en-US" sz="800" b="1" dirty="0">
                <a:solidFill>
                  <a:srgbClr val="626469"/>
                </a:solidFill>
                <a:cs typeface="Arial" pitchFamily="34" charset="0"/>
              </a:rPr>
              <a:t>beverage</a:t>
            </a:r>
          </a:p>
        </p:txBody>
      </p:sp>
      <p:sp>
        <p:nvSpPr>
          <p:cNvPr id="308" name="Freeform 108"/>
          <p:cNvSpPr>
            <a:spLocks noChangeAspect="1"/>
          </p:cNvSpPr>
          <p:nvPr userDrawn="1"/>
        </p:nvSpPr>
        <p:spPr bwMode="auto">
          <a:xfrm>
            <a:off x="2370513" y="3060617"/>
            <a:ext cx="479320" cy="337567"/>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09" name="TextBox 308"/>
          <p:cNvSpPr txBox="1"/>
          <p:nvPr userDrawn="1"/>
        </p:nvSpPr>
        <p:spPr>
          <a:xfrm>
            <a:off x="2292243" y="3463580"/>
            <a:ext cx="635869" cy="12311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Hotels</a:t>
            </a:r>
          </a:p>
        </p:txBody>
      </p:sp>
      <p:sp>
        <p:nvSpPr>
          <p:cNvPr id="310" name="Freeform 80"/>
          <p:cNvSpPr>
            <a:spLocks noChangeAspect="1"/>
          </p:cNvSpPr>
          <p:nvPr userDrawn="1"/>
        </p:nvSpPr>
        <p:spPr bwMode="auto">
          <a:xfrm>
            <a:off x="1494887" y="3004989"/>
            <a:ext cx="332363" cy="393192"/>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11" name="TextBox 310"/>
          <p:cNvSpPr txBox="1"/>
          <p:nvPr userDrawn="1"/>
        </p:nvSpPr>
        <p:spPr>
          <a:xfrm>
            <a:off x="1283714" y="3463580"/>
            <a:ext cx="769927" cy="12311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Healthcare</a:t>
            </a:r>
          </a:p>
        </p:txBody>
      </p:sp>
      <p:sp>
        <p:nvSpPr>
          <p:cNvPr id="312" name="Freeform 100"/>
          <p:cNvSpPr>
            <a:spLocks noChangeAspect="1"/>
          </p:cNvSpPr>
          <p:nvPr userDrawn="1"/>
        </p:nvSpPr>
        <p:spPr bwMode="auto">
          <a:xfrm>
            <a:off x="3418413" y="2874444"/>
            <a:ext cx="330960" cy="523747"/>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13" name="TextBox 312"/>
          <p:cNvSpPr txBox="1"/>
          <p:nvPr userDrawn="1"/>
        </p:nvSpPr>
        <p:spPr>
          <a:xfrm>
            <a:off x="3286803" y="3463580"/>
            <a:ext cx="523058" cy="246221"/>
          </a:xfrm>
          <a:prstGeom prst="rect">
            <a:avLst/>
          </a:prstGeom>
          <a:noFill/>
        </p:spPr>
        <p:txBody>
          <a:bodyPr wrap="square" lIns="0" tIns="0" rIns="0" bIns="0" rtlCol="0" anchor="t" anchorCtr="0">
            <a:spAutoFit/>
          </a:bodyPr>
          <a:lstStyle/>
          <a:p>
            <a:pPr algn="ctr"/>
            <a:r>
              <a:rPr lang="en-US" sz="800" b="1" dirty="0">
                <a:solidFill>
                  <a:srgbClr val="626469"/>
                </a:solidFill>
                <a:cs typeface="Arial" pitchFamily="34" charset="0"/>
              </a:rPr>
              <a:t>Life</a:t>
            </a:r>
            <a:br>
              <a:rPr lang="en-US" sz="800" b="1" dirty="0">
                <a:solidFill>
                  <a:srgbClr val="626469"/>
                </a:solidFill>
                <a:cs typeface="Arial" pitchFamily="34" charset="0"/>
              </a:rPr>
            </a:br>
            <a:r>
              <a:rPr lang="en-US" sz="800" b="1" dirty="0">
                <a:solidFill>
                  <a:srgbClr val="626469"/>
                </a:solidFill>
                <a:cs typeface="Arial" pitchFamily="34" charset="0"/>
              </a:rPr>
              <a:t>sciences</a:t>
            </a:r>
          </a:p>
        </p:txBody>
      </p:sp>
      <p:sp>
        <p:nvSpPr>
          <p:cNvPr id="314" name="Freeform 104"/>
          <p:cNvSpPr>
            <a:spLocks noChangeAspect="1"/>
          </p:cNvSpPr>
          <p:nvPr userDrawn="1"/>
        </p:nvSpPr>
        <p:spPr bwMode="auto">
          <a:xfrm>
            <a:off x="2359069" y="3733696"/>
            <a:ext cx="479233" cy="479229"/>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15" name="TextBox 314"/>
          <p:cNvSpPr txBox="1"/>
          <p:nvPr userDrawn="1"/>
        </p:nvSpPr>
        <p:spPr>
          <a:xfrm>
            <a:off x="2225214" y="4284677"/>
            <a:ext cx="769927" cy="12311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Retail</a:t>
            </a:r>
          </a:p>
        </p:txBody>
      </p:sp>
      <p:sp>
        <p:nvSpPr>
          <p:cNvPr id="316" name="Freeform 56"/>
          <p:cNvSpPr>
            <a:spLocks noChangeAspect="1"/>
          </p:cNvSpPr>
          <p:nvPr userDrawn="1"/>
        </p:nvSpPr>
        <p:spPr bwMode="auto">
          <a:xfrm>
            <a:off x="5234357" y="2195360"/>
            <a:ext cx="379970" cy="393192"/>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17" name="TextBox 316"/>
          <p:cNvSpPr txBox="1"/>
          <p:nvPr userDrawn="1"/>
        </p:nvSpPr>
        <p:spPr>
          <a:xfrm>
            <a:off x="5048085" y="2639109"/>
            <a:ext cx="769927" cy="24622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Green buildings</a:t>
            </a:r>
          </a:p>
        </p:txBody>
      </p:sp>
      <p:sp>
        <p:nvSpPr>
          <p:cNvPr id="318" name="Freeform 216"/>
          <p:cNvSpPr>
            <a:spLocks noChangeAspect="1"/>
          </p:cNvSpPr>
          <p:nvPr userDrawn="1"/>
        </p:nvSpPr>
        <p:spPr bwMode="auto">
          <a:xfrm>
            <a:off x="3327990" y="2195360"/>
            <a:ext cx="421382" cy="393192"/>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19" name="TextBox 318"/>
          <p:cNvSpPr txBox="1"/>
          <p:nvPr userDrawn="1"/>
        </p:nvSpPr>
        <p:spPr>
          <a:xfrm>
            <a:off x="3230400" y="2639109"/>
            <a:ext cx="635869" cy="12311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Finance</a:t>
            </a:r>
          </a:p>
        </p:txBody>
      </p:sp>
      <p:sp>
        <p:nvSpPr>
          <p:cNvPr id="320" name="Freeform 224"/>
          <p:cNvSpPr>
            <a:spLocks noChangeAspect="1"/>
          </p:cNvSpPr>
          <p:nvPr userDrawn="1"/>
        </p:nvSpPr>
        <p:spPr bwMode="auto">
          <a:xfrm>
            <a:off x="1438333" y="2242597"/>
            <a:ext cx="525440" cy="345955"/>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21" name="TextBox 320"/>
          <p:cNvSpPr txBox="1"/>
          <p:nvPr userDrawn="1"/>
        </p:nvSpPr>
        <p:spPr>
          <a:xfrm>
            <a:off x="1342307" y="2639108"/>
            <a:ext cx="652701" cy="246221"/>
          </a:xfrm>
          <a:prstGeom prst="rect">
            <a:avLst/>
          </a:prstGeom>
          <a:noFill/>
        </p:spPr>
        <p:txBody>
          <a:bodyPr wrap="square" lIns="0" tIns="0" rIns="0" bIns="0" rtlCol="0" anchor="b" anchorCtr="0">
            <a:spAutoFit/>
          </a:bodyPr>
          <a:lstStyle/>
          <a:p>
            <a:pPr algn="ctr"/>
            <a:r>
              <a:rPr lang="en-US" sz="800" b="1" dirty="0">
                <a:solidFill>
                  <a:srgbClr val="626469"/>
                </a:solidFill>
                <a:cs typeface="Arial" pitchFamily="34" charset="0"/>
              </a:rPr>
              <a:t>Cloud and telecom</a:t>
            </a:r>
          </a:p>
        </p:txBody>
      </p:sp>
      <p:sp>
        <p:nvSpPr>
          <p:cNvPr id="322" name="TextBox 321"/>
          <p:cNvSpPr txBox="1"/>
          <p:nvPr userDrawn="1"/>
        </p:nvSpPr>
        <p:spPr>
          <a:xfrm>
            <a:off x="9111405" y="3463580"/>
            <a:ext cx="1088520" cy="246221"/>
          </a:xfrm>
          <a:prstGeom prst="rect">
            <a:avLst/>
          </a:prstGeom>
          <a:noFill/>
        </p:spPr>
        <p:txBody>
          <a:bodyPr wrap="square" lIns="91432" tIns="0" rIns="91432" bIns="0" rtlCol="0" anchor="b" anchorCtr="0">
            <a:spAutoFit/>
          </a:bodyPr>
          <a:lstStyle/>
          <a:p>
            <a:pPr algn="ctr"/>
            <a:r>
              <a:rPr lang="en-US" sz="800" b="1" dirty="0">
                <a:solidFill>
                  <a:srgbClr val="626469"/>
                </a:solidFill>
                <a:cs typeface="Arial" pitchFamily="34" charset="0"/>
              </a:rPr>
              <a:t>Management software</a:t>
            </a:r>
          </a:p>
        </p:txBody>
      </p:sp>
      <p:sp>
        <p:nvSpPr>
          <p:cNvPr id="323" name="TextBox 322"/>
          <p:cNvSpPr txBox="1"/>
          <p:nvPr userDrawn="1"/>
        </p:nvSpPr>
        <p:spPr>
          <a:xfrm>
            <a:off x="8216670" y="4284672"/>
            <a:ext cx="923938" cy="246221"/>
          </a:xfrm>
          <a:prstGeom prst="rect">
            <a:avLst/>
          </a:prstGeom>
          <a:noFill/>
        </p:spPr>
        <p:txBody>
          <a:bodyPr wrap="square" lIns="91432" tIns="0" rIns="91432" bIns="0" rtlCol="0" anchor="b" anchorCtr="0">
            <a:spAutoFit/>
          </a:bodyPr>
          <a:lstStyle/>
          <a:p>
            <a:pPr algn="ctr"/>
            <a:r>
              <a:rPr lang="en-US" sz="800" b="1" dirty="0">
                <a:solidFill>
                  <a:srgbClr val="626469"/>
                </a:solidFill>
                <a:cs typeface="Arial" pitchFamily="34" charset="0"/>
              </a:rPr>
              <a:t>Power</a:t>
            </a:r>
            <a:br>
              <a:rPr lang="en-US" sz="800" b="1" dirty="0">
                <a:solidFill>
                  <a:srgbClr val="626469"/>
                </a:solidFill>
                <a:cs typeface="Arial" pitchFamily="34" charset="0"/>
              </a:rPr>
            </a:br>
            <a:r>
              <a:rPr lang="en-US" sz="800" b="1" dirty="0">
                <a:solidFill>
                  <a:srgbClr val="626469"/>
                </a:solidFill>
                <a:cs typeface="Arial" pitchFamily="34" charset="0"/>
              </a:rPr>
              <a:t>Measurement</a:t>
            </a:r>
          </a:p>
        </p:txBody>
      </p:sp>
      <p:sp>
        <p:nvSpPr>
          <p:cNvPr id="324" name="TextBox 323"/>
          <p:cNvSpPr txBox="1"/>
          <p:nvPr userDrawn="1"/>
        </p:nvSpPr>
        <p:spPr>
          <a:xfrm>
            <a:off x="11002920" y="2639103"/>
            <a:ext cx="1088520" cy="246221"/>
          </a:xfrm>
          <a:prstGeom prst="rect">
            <a:avLst/>
          </a:prstGeom>
          <a:noFill/>
        </p:spPr>
        <p:txBody>
          <a:bodyPr wrap="square" lIns="91432" tIns="0" rIns="91432" bIns="0" rtlCol="0" anchor="b" anchorCtr="0">
            <a:spAutoFit/>
          </a:bodyPr>
          <a:lstStyle/>
          <a:p>
            <a:pPr algn="ctr"/>
            <a:r>
              <a:rPr lang="en-US" sz="800" b="1" dirty="0">
                <a:solidFill>
                  <a:srgbClr val="626469"/>
                </a:solidFill>
                <a:cs typeface="Arial" pitchFamily="34" charset="0"/>
              </a:rPr>
              <a:t>Intelligent power and motor control</a:t>
            </a:r>
          </a:p>
        </p:txBody>
      </p:sp>
      <p:sp>
        <p:nvSpPr>
          <p:cNvPr id="325" name="TextBox 324"/>
          <p:cNvSpPr txBox="1"/>
          <p:nvPr userDrawn="1"/>
        </p:nvSpPr>
        <p:spPr>
          <a:xfrm>
            <a:off x="10011714" y="4284671"/>
            <a:ext cx="1088520" cy="205184"/>
          </a:xfrm>
          <a:prstGeom prst="rect">
            <a:avLst/>
          </a:prstGeom>
          <a:noFill/>
        </p:spPr>
        <p:txBody>
          <a:bodyPr wrap="square" lIns="91432" tIns="0" rIns="91432" bIns="0" rtlCol="0" anchor="t" anchorCtr="0">
            <a:spAutoFit/>
          </a:bodyPr>
          <a:lstStyle/>
          <a:p>
            <a:pPr algn="ctr">
              <a:lnSpc>
                <a:spcPts val="800"/>
              </a:lnSpc>
            </a:pPr>
            <a:r>
              <a:rPr lang="en-US" sz="800" b="1" dirty="0">
                <a:solidFill>
                  <a:srgbClr val="626469"/>
                </a:solidFill>
                <a:cs typeface="Arial" pitchFamily="34" charset="0"/>
              </a:rPr>
              <a:t>Renewable energy conversion</a:t>
            </a:r>
          </a:p>
        </p:txBody>
      </p:sp>
      <p:sp>
        <p:nvSpPr>
          <p:cNvPr id="326" name="TextBox 325"/>
          <p:cNvSpPr txBox="1"/>
          <p:nvPr userDrawn="1"/>
        </p:nvSpPr>
        <p:spPr>
          <a:xfrm>
            <a:off x="8155726" y="2639103"/>
            <a:ext cx="1045826" cy="246221"/>
          </a:xfrm>
          <a:prstGeom prst="rect">
            <a:avLst/>
          </a:prstGeom>
          <a:noFill/>
        </p:spPr>
        <p:txBody>
          <a:bodyPr wrap="square" lIns="91432" tIns="0" rIns="91432" bIns="0" rtlCol="0" anchor="b" anchorCtr="0">
            <a:spAutoFit/>
          </a:bodyPr>
          <a:lstStyle/>
          <a:p>
            <a:pPr algn="ctr"/>
            <a:r>
              <a:rPr lang="en-US" sz="800" b="1" dirty="0">
                <a:solidFill>
                  <a:srgbClr val="626469"/>
                </a:solidFill>
                <a:cs typeface="Arial" pitchFamily="34" charset="0"/>
              </a:rPr>
              <a:t>Electric vehicle recharging</a:t>
            </a:r>
          </a:p>
        </p:txBody>
      </p:sp>
      <p:sp>
        <p:nvSpPr>
          <p:cNvPr id="327" name="TextBox 326"/>
          <p:cNvSpPr txBox="1"/>
          <p:nvPr userDrawn="1"/>
        </p:nvSpPr>
        <p:spPr>
          <a:xfrm>
            <a:off x="7161501" y="3463580"/>
            <a:ext cx="1131215" cy="246221"/>
          </a:xfrm>
          <a:prstGeom prst="rect">
            <a:avLst/>
          </a:prstGeom>
          <a:noFill/>
        </p:spPr>
        <p:txBody>
          <a:bodyPr wrap="square" lIns="91432" tIns="0" rIns="91432" bIns="0" rtlCol="0" anchor="b" anchorCtr="0">
            <a:spAutoFit/>
          </a:bodyPr>
          <a:lstStyle/>
          <a:p>
            <a:pPr algn="ctr"/>
            <a:r>
              <a:rPr lang="en-US" sz="800" b="1" dirty="0">
                <a:solidFill>
                  <a:srgbClr val="626469"/>
                </a:solidFill>
                <a:cs typeface="Arial" pitchFamily="34" charset="0"/>
              </a:rPr>
              <a:t>Lifts and</a:t>
            </a:r>
            <a:br>
              <a:rPr lang="en-US" sz="800" b="1" dirty="0">
                <a:solidFill>
                  <a:srgbClr val="626469"/>
                </a:solidFill>
                <a:cs typeface="Arial" pitchFamily="34" charset="0"/>
              </a:rPr>
            </a:br>
            <a:r>
              <a:rPr lang="en-US" sz="800" b="1" dirty="0">
                <a:solidFill>
                  <a:srgbClr val="626469"/>
                </a:solidFill>
                <a:cs typeface="Arial" pitchFamily="34" charset="0"/>
              </a:rPr>
              <a:t>escalators control</a:t>
            </a:r>
          </a:p>
        </p:txBody>
      </p:sp>
      <p:sp>
        <p:nvSpPr>
          <p:cNvPr id="328" name="TextBox 327"/>
          <p:cNvSpPr txBox="1"/>
          <p:nvPr userDrawn="1"/>
        </p:nvSpPr>
        <p:spPr>
          <a:xfrm>
            <a:off x="10011714" y="3463580"/>
            <a:ext cx="1088520" cy="246221"/>
          </a:xfrm>
          <a:prstGeom prst="rect">
            <a:avLst/>
          </a:prstGeom>
          <a:noFill/>
        </p:spPr>
        <p:txBody>
          <a:bodyPr wrap="square" lIns="91432" tIns="0" rIns="91432" bIns="0" rtlCol="0" anchor="b" anchorCtr="0">
            <a:spAutoFit/>
          </a:bodyPr>
          <a:lstStyle/>
          <a:p>
            <a:pPr algn="ctr"/>
            <a:r>
              <a:rPr lang="en-US" sz="800" b="1" dirty="0">
                <a:solidFill>
                  <a:srgbClr val="626469"/>
                </a:solidFill>
                <a:cs typeface="Arial" pitchFamily="34" charset="0"/>
              </a:rPr>
              <a:t>Material handling control</a:t>
            </a:r>
          </a:p>
        </p:txBody>
      </p:sp>
      <p:sp>
        <p:nvSpPr>
          <p:cNvPr id="329" name="TextBox 328"/>
          <p:cNvSpPr txBox="1"/>
          <p:nvPr userDrawn="1"/>
        </p:nvSpPr>
        <p:spPr>
          <a:xfrm>
            <a:off x="9111405" y="2639108"/>
            <a:ext cx="1088520" cy="246221"/>
          </a:xfrm>
          <a:prstGeom prst="rect">
            <a:avLst/>
          </a:prstGeom>
          <a:noFill/>
        </p:spPr>
        <p:txBody>
          <a:bodyPr wrap="square" lIns="91432" tIns="0" rIns="91432" bIns="0" rtlCol="0" anchor="b" anchorCtr="0">
            <a:spAutoFit/>
          </a:bodyPr>
          <a:lstStyle/>
          <a:p>
            <a:pPr algn="ctr"/>
            <a:r>
              <a:rPr lang="en-US" sz="800" b="1" dirty="0">
                <a:solidFill>
                  <a:srgbClr val="626469"/>
                </a:solidFill>
                <a:cs typeface="Arial" pitchFamily="34" charset="0"/>
              </a:rPr>
              <a:t>Hoisting</a:t>
            </a:r>
            <a:br>
              <a:rPr lang="en-US" sz="800" b="1" dirty="0">
                <a:solidFill>
                  <a:srgbClr val="626469"/>
                </a:solidFill>
                <a:cs typeface="Arial" pitchFamily="34" charset="0"/>
              </a:rPr>
            </a:br>
            <a:r>
              <a:rPr lang="en-US" sz="800" b="1" dirty="0">
                <a:solidFill>
                  <a:srgbClr val="626469"/>
                </a:solidFill>
                <a:cs typeface="Arial" pitchFamily="34" charset="0"/>
              </a:rPr>
              <a:t>control</a:t>
            </a:r>
          </a:p>
        </p:txBody>
      </p:sp>
      <p:sp>
        <p:nvSpPr>
          <p:cNvPr id="330" name="TextBox 329"/>
          <p:cNvSpPr txBox="1"/>
          <p:nvPr userDrawn="1"/>
        </p:nvSpPr>
        <p:spPr>
          <a:xfrm>
            <a:off x="7220949" y="5053361"/>
            <a:ext cx="1088520" cy="338555"/>
          </a:xfrm>
          <a:prstGeom prst="rect">
            <a:avLst/>
          </a:prstGeom>
          <a:noFill/>
        </p:spPr>
        <p:txBody>
          <a:bodyPr wrap="square" lIns="91432" tIns="45717" rIns="91432" bIns="45717" rtlCol="0" anchor="b" anchorCtr="0">
            <a:spAutoFit/>
          </a:bodyPr>
          <a:lstStyle/>
          <a:p>
            <a:pPr algn="ctr"/>
            <a:r>
              <a:rPr lang="en-US" sz="800" b="1" dirty="0">
                <a:solidFill>
                  <a:srgbClr val="626469"/>
                </a:solidFill>
                <a:cs typeface="Arial" pitchFamily="34" charset="0"/>
              </a:rPr>
              <a:t>Uninterruptable</a:t>
            </a:r>
            <a:br>
              <a:rPr lang="en-US" sz="800" b="1" dirty="0">
                <a:solidFill>
                  <a:srgbClr val="626469"/>
                </a:solidFill>
                <a:cs typeface="Arial" pitchFamily="34" charset="0"/>
              </a:rPr>
            </a:br>
            <a:r>
              <a:rPr lang="en-US" sz="800" b="1" dirty="0">
                <a:solidFill>
                  <a:srgbClr val="626469"/>
                </a:solidFill>
                <a:cs typeface="Arial" pitchFamily="34" charset="0"/>
              </a:rPr>
              <a:t>power supply</a:t>
            </a:r>
          </a:p>
        </p:txBody>
      </p:sp>
      <p:sp>
        <p:nvSpPr>
          <p:cNvPr id="331" name="TextBox 330"/>
          <p:cNvSpPr txBox="1"/>
          <p:nvPr userDrawn="1"/>
        </p:nvSpPr>
        <p:spPr>
          <a:xfrm>
            <a:off x="11002920" y="4284677"/>
            <a:ext cx="1088520" cy="123111"/>
          </a:xfrm>
          <a:prstGeom prst="rect">
            <a:avLst/>
          </a:prstGeom>
          <a:noFill/>
        </p:spPr>
        <p:txBody>
          <a:bodyPr wrap="square" lIns="91432" tIns="0" rIns="91432" bIns="0" rtlCol="0" anchor="b" anchorCtr="0">
            <a:spAutoFit/>
          </a:bodyPr>
          <a:lstStyle/>
          <a:p>
            <a:pPr algn="ctr"/>
            <a:r>
              <a:rPr lang="en-US" sz="800" b="1" dirty="0">
                <a:solidFill>
                  <a:srgbClr val="626469"/>
                </a:solidFill>
                <a:cs typeface="Arial" pitchFamily="34" charset="0"/>
              </a:rPr>
              <a:t>Surveillance</a:t>
            </a:r>
          </a:p>
        </p:txBody>
      </p:sp>
      <p:sp>
        <p:nvSpPr>
          <p:cNvPr id="332" name="TextBox 331"/>
          <p:cNvSpPr txBox="1"/>
          <p:nvPr userDrawn="1"/>
        </p:nvSpPr>
        <p:spPr>
          <a:xfrm>
            <a:off x="10011714" y="2639108"/>
            <a:ext cx="1088520" cy="246221"/>
          </a:xfrm>
          <a:prstGeom prst="rect">
            <a:avLst/>
          </a:prstGeom>
          <a:noFill/>
        </p:spPr>
        <p:txBody>
          <a:bodyPr wrap="square" lIns="91432" tIns="0" rIns="91432" bIns="0" rtlCol="0" anchor="b" anchorCtr="0">
            <a:spAutoFit/>
          </a:bodyPr>
          <a:lstStyle/>
          <a:p>
            <a:pPr algn="ctr"/>
            <a:r>
              <a:rPr lang="en-US" sz="800" b="1" dirty="0">
                <a:solidFill>
                  <a:srgbClr val="626469"/>
                </a:solidFill>
                <a:cs typeface="Arial" pitchFamily="34" charset="0"/>
              </a:rPr>
              <a:t>HVAC</a:t>
            </a:r>
            <a:br>
              <a:rPr lang="en-US" sz="800" b="1" dirty="0">
                <a:solidFill>
                  <a:srgbClr val="626469"/>
                </a:solidFill>
                <a:cs typeface="Arial" pitchFamily="34" charset="0"/>
              </a:rPr>
            </a:br>
            <a:r>
              <a:rPr lang="en-US" sz="800" b="1" dirty="0">
                <a:solidFill>
                  <a:srgbClr val="626469"/>
                </a:solidFill>
                <a:cs typeface="Arial" pitchFamily="34" charset="0"/>
              </a:rPr>
              <a:t>control</a:t>
            </a:r>
          </a:p>
        </p:txBody>
      </p:sp>
      <p:sp>
        <p:nvSpPr>
          <p:cNvPr id="333" name="TextBox 332"/>
          <p:cNvSpPr txBox="1"/>
          <p:nvPr userDrawn="1"/>
        </p:nvSpPr>
        <p:spPr>
          <a:xfrm>
            <a:off x="8113032" y="3463580"/>
            <a:ext cx="1131215" cy="246221"/>
          </a:xfrm>
          <a:prstGeom prst="rect">
            <a:avLst/>
          </a:prstGeom>
          <a:noFill/>
        </p:spPr>
        <p:txBody>
          <a:bodyPr wrap="square" lIns="91432" tIns="0" rIns="91432" bIns="0" rtlCol="0" anchor="b" anchorCtr="0">
            <a:spAutoFit/>
          </a:bodyPr>
          <a:lstStyle/>
          <a:p>
            <a:pPr algn="ctr"/>
            <a:r>
              <a:rPr lang="en-US" sz="800" b="1" dirty="0">
                <a:solidFill>
                  <a:srgbClr val="626469"/>
                </a:solidFill>
                <a:cs typeface="Arial" pitchFamily="34" charset="0"/>
              </a:rPr>
              <a:t>Lighting</a:t>
            </a:r>
            <a:br>
              <a:rPr lang="en-US" sz="800" b="1" dirty="0">
                <a:solidFill>
                  <a:srgbClr val="626469"/>
                </a:solidFill>
                <a:cs typeface="Arial" pitchFamily="34" charset="0"/>
              </a:rPr>
            </a:br>
            <a:r>
              <a:rPr lang="en-US" sz="800" b="1" dirty="0">
                <a:solidFill>
                  <a:srgbClr val="626469"/>
                </a:solidFill>
                <a:cs typeface="Arial" pitchFamily="34" charset="0"/>
              </a:rPr>
              <a:t>control</a:t>
            </a:r>
          </a:p>
        </p:txBody>
      </p:sp>
      <p:sp>
        <p:nvSpPr>
          <p:cNvPr id="334" name="Freeform 196"/>
          <p:cNvSpPr>
            <a:spLocks noChangeAspect="1"/>
          </p:cNvSpPr>
          <p:nvPr userDrawn="1"/>
        </p:nvSpPr>
        <p:spPr bwMode="auto">
          <a:xfrm>
            <a:off x="7555772" y="2195360"/>
            <a:ext cx="327661" cy="393192"/>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35" name="TextBox 334"/>
          <p:cNvSpPr txBox="1"/>
          <p:nvPr userDrawn="1"/>
        </p:nvSpPr>
        <p:spPr>
          <a:xfrm>
            <a:off x="7182847" y="2639108"/>
            <a:ext cx="1088520" cy="246221"/>
          </a:xfrm>
          <a:prstGeom prst="rect">
            <a:avLst/>
          </a:prstGeom>
          <a:noFill/>
        </p:spPr>
        <p:txBody>
          <a:bodyPr wrap="square" lIns="91432" tIns="0" rIns="91432" bIns="0" rtlCol="0" anchor="b" anchorCtr="0">
            <a:spAutoFit/>
          </a:bodyPr>
          <a:lstStyle/>
          <a:p>
            <a:pPr algn="ctr"/>
            <a:r>
              <a:rPr lang="en-US" sz="800" b="1" dirty="0">
                <a:solidFill>
                  <a:srgbClr val="626469"/>
                </a:solidFill>
                <a:cs typeface="Arial" pitchFamily="34" charset="0"/>
              </a:rPr>
              <a:t>Access</a:t>
            </a:r>
            <a:br>
              <a:rPr lang="en-US" sz="800" b="1" dirty="0">
                <a:solidFill>
                  <a:srgbClr val="626469"/>
                </a:solidFill>
                <a:cs typeface="Arial" pitchFamily="34" charset="0"/>
              </a:rPr>
            </a:br>
            <a:r>
              <a:rPr lang="en-US" sz="800" b="1" dirty="0">
                <a:solidFill>
                  <a:srgbClr val="626469"/>
                </a:solidFill>
                <a:cs typeface="Arial" pitchFamily="34" charset="0"/>
              </a:rPr>
              <a:t>control</a:t>
            </a:r>
          </a:p>
        </p:txBody>
      </p:sp>
      <p:sp>
        <p:nvSpPr>
          <p:cNvPr id="336" name="Freeform 335"/>
          <p:cNvSpPr>
            <a:spLocks noChangeAspect="1"/>
          </p:cNvSpPr>
          <p:nvPr userDrawn="1"/>
        </p:nvSpPr>
        <p:spPr bwMode="auto">
          <a:xfrm>
            <a:off x="11279225" y="3000095"/>
            <a:ext cx="509366" cy="393192"/>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337" name="Freeform 160"/>
          <p:cNvSpPr>
            <a:spLocks noChangeAspect="1" noEditPoints="1"/>
          </p:cNvSpPr>
          <p:nvPr userDrawn="1"/>
        </p:nvSpPr>
        <p:spPr bwMode="auto">
          <a:xfrm>
            <a:off x="7452679" y="3824021"/>
            <a:ext cx="521677" cy="393192"/>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338" name="Freeform 164"/>
          <p:cNvSpPr>
            <a:spLocks noChangeAspect="1"/>
          </p:cNvSpPr>
          <p:nvPr userDrawn="1"/>
        </p:nvSpPr>
        <p:spPr bwMode="auto">
          <a:xfrm>
            <a:off x="9448825" y="3849421"/>
            <a:ext cx="393194" cy="393192"/>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339" name="TextBox 338"/>
          <p:cNvSpPr txBox="1"/>
          <p:nvPr userDrawn="1"/>
        </p:nvSpPr>
        <p:spPr>
          <a:xfrm>
            <a:off x="9132751" y="4284676"/>
            <a:ext cx="1045826" cy="246221"/>
          </a:xfrm>
          <a:prstGeom prst="rect">
            <a:avLst/>
          </a:prstGeom>
          <a:noFill/>
        </p:spPr>
        <p:txBody>
          <a:bodyPr wrap="square" lIns="91432" tIns="0" rIns="91432" bIns="0" rtlCol="0" anchor="b" anchorCtr="0">
            <a:spAutoFit/>
          </a:bodyPr>
          <a:lstStyle/>
          <a:p>
            <a:pPr algn="ctr"/>
            <a:r>
              <a:rPr lang="en-US" sz="800" b="1" dirty="0" err="1">
                <a:solidFill>
                  <a:srgbClr val="626469"/>
                </a:solidFill>
                <a:cs typeface="Arial" pitchFamily="34" charset="0"/>
              </a:rPr>
              <a:t>Prosumer</a:t>
            </a:r>
            <a:r>
              <a:rPr lang="en-US" sz="800" b="1" dirty="0">
                <a:solidFill>
                  <a:srgbClr val="626469"/>
                </a:solidFill>
                <a:cs typeface="Arial" pitchFamily="34" charset="0"/>
              </a:rPr>
              <a:t> </a:t>
            </a:r>
            <a:r>
              <a:rPr lang="en-US" sz="800" b="1" dirty="0" err="1">
                <a:solidFill>
                  <a:srgbClr val="626469"/>
                </a:solidFill>
                <a:cs typeface="Arial" pitchFamily="34" charset="0"/>
              </a:rPr>
              <a:t>microgrid</a:t>
            </a:r>
            <a:endParaRPr lang="en-US" sz="800" b="1" dirty="0">
              <a:solidFill>
                <a:srgbClr val="626469"/>
              </a:solidFill>
              <a:cs typeface="Arial" pitchFamily="34" charset="0"/>
            </a:endParaRPr>
          </a:p>
        </p:txBody>
      </p:sp>
      <p:sp>
        <p:nvSpPr>
          <p:cNvPr id="340" name="TextBox 339"/>
          <p:cNvSpPr txBox="1"/>
          <p:nvPr userDrawn="1"/>
        </p:nvSpPr>
        <p:spPr>
          <a:xfrm>
            <a:off x="7204194" y="4284676"/>
            <a:ext cx="1045826" cy="246221"/>
          </a:xfrm>
          <a:prstGeom prst="rect">
            <a:avLst/>
          </a:prstGeom>
          <a:noFill/>
        </p:spPr>
        <p:txBody>
          <a:bodyPr wrap="square" lIns="91432" tIns="0" rIns="91432" bIns="0" rtlCol="0" anchor="b" anchorCtr="0">
            <a:spAutoFit/>
          </a:bodyPr>
          <a:lstStyle/>
          <a:p>
            <a:pPr algn="ctr"/>
            <a:r>
              <a:rPr lang="en-US" sz="800" b="1" dirty="0">
                <a:solidFill>
                  <a:srgbClr val="626469"/>
                </a:solidFill>
                <a:cs typeface="Arial" pitchFamily="34" charset="0"/>
              </a:rPr>
              <a:t>Packaging control</a:t>
            </a:r>
          </a:p>
        </p:txBody>
      </p:sp>
      <p:sp>
        <p:nvSpPr>
          <p:cNvPr id="341" name="TextBox 340"/>
          <p:cNvSpPr txBox="1"/>
          <p:nvPr userDrawn="1"/>
        </p:nvSpPr>
        <p:spPr>
          <a:xfrm>
            <a:off x="11024266" y="3463580"/>
            <a:ext cx="1045826" cy="246221"/>
          </a:xfrm>
          <a:prstGeom prst="rect">
            <a:avLst/>
          </a:prstGeom>
          <a:noFill/>
        </p:spPr>
        <p:txBody>
          <a:bodyPr wrap="square" lIns="91432" tIns="0" rIns="91432" bIns="0" rtlCol="0" anchor="b" anchorCtr="0">
            <a:spAutoFit/>
          </a:bodyPr>
          <a:lstStyle/>
          <a:p>
            <a:pPr algn="ctr"/>
            <a:r>
              <a:rPr lang="en-US" sz="800" b="1" dirty="0">
                <a:solidFill>
                  <a:srgbClr val="626469"/>
                </a:solidFill>
                <a:cs typeface="Arial" pitchFamily="34" charset="0"/>
              </a:rPr>
              <a:t>Material</a:t>
            </a:r>
            <a:br>
              <a:rPr lang="en-US" sz="800" b="1" dirty="0">
                <a:solidFill>
                  <a:srgbClr val="626469"/>
                </a:solidFill>
                <a:cs typeface="Arial" pitchFamily="34" charset="0"/>
              </a:rPr>
            </a:br>
            <a:r>
              <a:rPr lang="en-US" sz="800" b="1" dirty="0">
                <a:solidFill>
                  <a:srgbClr val="626469"/>
                </a:solidFill>
                <a:cs typeface="Arial" pitchFamily="34" charset="0"/>
              </a:rPr>
              <a:t>working</a:t>
            </a:r>
          </a:p>
        </p:txBody>
      </p:sp>
      <p:sp>
        <p:nvSpPr>
          <p:cNvPr id="342" name="Freeform 673"/>
          <p:cNvSpPr>
            <a:spLocks noEditPoints="1"/>
          </p:cNvSpPr>
          <p:nvPr userDrawn="1"/>
        </p:nvSpPr>
        <p:spPr bwMode="auto">
          <a:xfrm>
            <a:off x="7572051" y="5579233"/>
            <a:ext cx="386319" cy="504067"/>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43" name="TextBox 342"/>
          <p:cNvSpPr txBox="1"/>
          <p:nvPr userDrawn="1"/>
        </p:nvSpPr>
        <p:spPr>
          <a:xfrm>
            <a:off x="7310738" y="6054247"/>
            <a:ext cx="908937" cy="215444"/>
          </a:xfrm>
          <a:prstGeom prst="rect">
            <a:avLst/>
          </a:prstGeom>
          <a:noFill/>
        </p:spPr>
        <p:txBody>
          <a:bodyPr wrap="square" lIns="91432" tIns="45717" rIns="91432" bIns="45717" rtlCol="0" anchor="b" anchorCtr="0">
            <a:spAutoFit/>
          </a:bodyPr>
          <a:lstStyle/>
          <a:p>
            <a:pPr algn="ctr"/>
            <a:r>
              <a:rPr lang="en-US" sz="800" b="1" dirty="0">
                <a:solidFill>
                  <a:srgbClr val="626469"/>
                </a:solidFill>
                <a:cs typeface="Arial" pitchFamily="34" charset="0"/>
              </a:rPr>
              <a:t>Panel builders</a:t>
            </a:r>
          </a:p>
        </p:txBody>
      </p:sp>
      <p:sp>
        <p:nvSpPr>
          <p:cNvPr id="344" name="Rounded Rectangle 343"/>
          <p:cNvSpPr/>
          <p:nvPr userDrawn="1"/>
        </p:nvSpPr>
        <p:spPr>
          <a:xfrm>
            <a:off x="609441" y="4684277"/>
            <a:ext cx="5291299" cy="1611135"/>
          </a:xfrm>
          <a:prstGeom prst="roundRect">
            <a:avLst>
              <a:gd name="adj" fmla="val 9427"/>
            </a:avLst>
          </a:prstGeom>
          <a:solidFill>
            <a:srgbClr val="00953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45717" rIns="0" bIns="45717" rtlCol="0" anchor="ctr"/>
          <a:lstStyle/>
          <a:p>
            <a:pPr marL="520657" indent="-292076">
              <a:spcAft>
                <a:spcPts val="200"/>
              </a:spcAft>
              <a:tabLst>
                <a:tab pos="173024" algn="l"/>
                <a:tab pos="457161" algn="l"/>
              </a:tabLst>
            </a:pPr>
            <a:r>
              <a:rPr lang="en-US" sz="1600" b="1" dirty="0">
                <a:solidFill>
                  <a:prstClr val="white"/>
                </a:solidFill>
              </a:rPr>
              <a:t>To add a </a:t>
            </a:r>
            <a:r>
              <a:rPr lang="en-US" sz="1600" b="1" dirty="0" err="1">
                <a:solidFill>
                  <a:prstClr val="white"/>
                </a:solidFill>
              </a:rPr>
              <a:t>picto</a:t>
            </a:r>
            <a:r>
              <a:rPr lang="en-US" sz="1600" b="1" dirty="0">
                <a:solidFill>
                  <a:prstClr val="white"/>
                </a:solidFill>
              </a:rPr>
              <a:t> to your presentation:</a:t>
            </a:r>
          </a:p>
          <a:p>
            <a:pPr marL="520657" indent="-292076">
              <a:spcAft>
                <a:spcPts val="200"/>
              </a:spcAft>
              <a:buFont typeface="+mj-lt"/>
              <a:buAutoNum type="arabicPeriod"/>
              <a:tabLst>
                <a:tab pos="173024" algn="l"/>
                <a:tab pos="457161" algn="l"/>
              </a:tabLst>
            </a:pPr>
            <a:r>
              <a:rPr lang="en-US" sz="1500" dirty="0">
                <a:solidFill>
                  <a:prstClr val="white"/>
                </a:solidFill>
              </a:rPr>
              <a:t>Select view/slide master</a:t>
            </a:r>
          </a:p>
          <a:p>
            <a:pPr marL="520657" indent="-292076">
              <a:spcAft>
                <a:spcPts val="200"/>
              </a:spcAft>
              <a:buFont typeface="+mj-lt"/>
              <a:buAutoNum type="arabicPeriod"/>
              <a:tabLst>
                <a:tab pos="173024" algn="l"/>
                <a:tab pos="457161" algn="l"/>
              </a:tabLst>
            </a:pPr>
            <a:r>
              <a:rPr lang="en-US" sz="1500" dirty="0">
                <a:solidFill>
                  <a:prstClr val="white"/>
                </a:solidFill>
              </a:rPr>
              <a:t>Go to slide with </a:t>
            </a:r>
            <a:r>
              <a:rPr lang="en-US" sz="1500" dirty="0" err="1">
                <a:solidFill>
                  <a:prstClr val="white"/>
                </a:solidFill>
              </a:rPr>
              <a:t>pictos</a:t>
            </a:r>
            <a:endParaRPr lang="en-US" sz="1500" dirty="0">
              <a:solidFill>
                <a:prstClr val="white"/>
              </a:solidFill>
            </a:endParaRPr>
          </a:p>
          <a:p>
            <a:pPr marL="520657" indent="-292076">
              <a:spcAft>
                <a:spcPts val="200"/>
              </a:spcAft>
              <a:buFont typeface="+mj-lt"/>
              <a:buAutoNum type="arabicPeriod"/>
              <a:tabLst>
                <a:tab pos="173024" algn="l"/>
                <a:tab pos="457161" algn="l"/>
              </a:tabLst>
            </a:pPr>
            <a:r>
              <a:rPr lang="en-US" sz="1500" dirty="0">
                <a:solidFill>
                  <a:prstClr val="white"/>
                </a:solidFill>
              </a:rPr>
              <a:t>Select and copy the </a:t>
            </a:r>
            <a:r>
              <a:rPr lang="en-US" sz="1500" dirty="0" err="1">
                <a:solidFill>
                  <a:prstClr val="white"/>
                </a:solidFill>
              </a:rPr>
              <a:t>picto</a:t>
            </a:r>
            <a:r>
              <a:rPr lang="en-US" sz="1500" dirty="0">
                <a:solidFill>
                  <a:prstClr val="white"/>
                </a:solidFill>
              </a:rPr>
              <a:t> that you would like to add (ctrl-c)</a:t>
            </a:r>
          </a:p>
          <a:p>
            <a:pPr marL="520657" indent="-292076">
              <a:spcAft>
                <a:spcPts val="200"/>
              </a:spcAft>
              <a:buFont typeface="+mj-lt"/>
              <a:buAutoNum type="arabicPeriod"/>
              <a:tabLst>
                <a:tab pos="173024" algn="l"/>
                <a:tab pos="457161" algn="l"/>
              </a:tabLst>
            </a:pPr>
            <a:r>
              <a:rPr lang="en-US" sz="1500" dirty="0">
                <a:solidFill>
                  <a:prstClr val="white"/>
                </a:solidFill>
              </a:rPr>
              <a:t>Close master view</a:t>
            </a:r>
          </a:p>
          <a:p>
            <a:pPr marL="520657" indent="-292076">
              <a:spcAft>
                <a:spcPts val="200"/>
              </a:spcAft>
              <a:buFont typeface="+mj-lt"/>
              <a:buAutoNum type="arabicPeriod"/>
              <a:tabLst>
                <a:tab pos="173024" algn="l"/>
                <a:tab pos="457161" algn="l"/>
              </a:tabLst>
            </a:pPr>
            <a:r>
              <a:rPr lang="en-US" sz="1500" dirty="0">
                <a:solidFill>
                  <a:prstClr val="white"/>
                </a:solidFill>
              </a:rPr>
              <a:t>Paste </a:t>
            </a:r>
            <a:r>
              <a:rPr lang="en-US" sz="1500" dirty="0" err="1">
                <a:solidFill>
                  <a:prstClr val="white"/>
                </a:solidFill>
              </a:rPr>
              <a:t>picto</a:t>
            </a:r>
            <a:r>
              <a:rPr lang="en-US" sz="1500" dirty="0">
                <a:solidFill>
                  <a:prstClr val="white"/>
                </a:solidFill>
              </a:rPr>
              <a:t> onto your slide (ctrl-p)</a:t>
            </a:r>
          </a:p>
        </p:txBody>
      </p:sp>
      <p:sp>
        <p:nvSpPr>
          <p:cNvPr id="345" name="TextBox 344"/>
          <p:cNvSpPr txBox="1"/>
          <p:nvPr userDrawn="1"/>
        </p:nvSpPr>
        <p:spPr>
          <a:xfrm>
            <a:off x="477406" y="1235455"/>
            <a:ext cx="869142" cy="323163"/>
          </a:xfrm>
          <a:prstGeom prst="rect">
            <a:avLst/>
          </a:prstGeom>
          <a:noFill/>
        </p:spPr>
        <p:txBody>
          <a:bodyPr wrap="none" lIns="91432" tIns="45717" rIns="91432" bIns="45717" rtlCol="0">
            <a:spAutoFit/>
          </a:bodyPr>
          <a:lstStyle/>
          <a:p>
            <a:pPr algn="r"/>
            <a:r>
              <a:rPr lang="en-US" sz="1500" dirty="0">
                <a:solidFill>
                  <a:srgbClr val="626469"/>
                </a:solidFill>
                <a:cs typeface="Arial" pitchFamily="34" charset="0"/>
              </a:rPr>
              <a:t>Markets</a:t>
            </a:r>
          </a:p>
        </p:txBody>
      </p:sp>
      <p:sp>
        <p:nvSpPr>
          <p:cNvPr id="346" name="TextBox 345"/>
          <p:cNvSpPr txBox="1"/>
          <p:nvPr userDrawn="1"/>
        </p:nvSpPr>
        <p:spPr>
          <a:xfrm>
            <a:off x="307371" y="2195140"/>
            <a:ext cx="1051875" cy="553992"/>
          </a:xfrm>
          <a:prstGeom prst="rect">
            <a:avLst/>
          </a:prstGeom>
          <a:noFill/>
        </p:spPr>
        <p:txBody>
          <a:bodyPr wrap="none" lIns="91432" tIns="45717" rIns="91432" bIns="45717" rtlCol="0">
            <a:spAutoFit/>
          </a:bodyPr>
          <a:lstStyle/>
          <a:p>
            <a:pPr algn="r"/>
            <a:r>
              <a:rPr lang="en-US" sz="1500" dirty="0">
                <a:solidFill>
                  <a:srgbClr val="626469"/>
                </a:solidFill>
                <a:cs typeface="Arial" pitchFamily="34" charset="0"/>
              </a:rPr>
              <a:t>Market </a:t>
            </a:r>
          </a:p>
          <a:p>
            <a:pPr algn="r"/>
            <a:r>
              <a:rPr lang="en-US" sz="1500" dirty="0">
                <a:solidFill>
                  <a:srgbClr val="626469"/>
                </a:solidFill>
                <a:cs typeface="Arial" pitchFamily="34" charset="0"/>
              </a:rPr>
              <a:t>Segments</a:t>
            </a:r>
          </a:p>
        </p:txBody>
      </p:sp>
      <p:sp>
        <p:nvSpPr>
          <p:cNvPr id="347" name="TextBox 346"/>
          <p:cNvSpPr txBox="1"/>
          <p:nvPr userDrawn="1"/>
        </p:nvSpPr>
        <p:spPr>
          <a:xfrm>
            <a:off x="6423194" y="1231273"/>
            <a:ext cx="946086" cy="323163"/>
          </a:xfrm>
          <a:prstGeom prst="rect">
            <a:avLst/>
          </a:prstGeom>
          <a:noFill/>
        </p:spPr>
        <p:txBody>
          <a:bodyPr wrap="none" lIns="91432" tIns="45717" rIns="91432" bIns="45717" rtlCol="0">
            <a:spAutoFit/>
          </a:bodyPr>
          <a:lstStyle/>
          <a:p>
            <a:pPr algn="r"/>
            <a:r>
              <a:rPr lang="en-US" sz="1500" dirty="0">
                <a:solidFill>
                  <a:srgbClr val="626469"/>
                </a:solidFill>
                <a:cs typeface="Arial" pitchFamily="34" charset="0"/>
              </a:rPr>
              <a:t>Domains</a:t>
            </a:r>
          </a:p>
        </p:txBody>
      </p:sp>
      <p:sp>
        <p:nvSpPr>
          <p:cNvPr id="348" name="TextBox 347"/>
          <p:cNvSpPr txBox="1"/>
          <p:nvPr userDrawn="1"/>
        </p:nvSpPr>
        <p:spPr>
          <a:xfrm>
            <a:off x="6423194" y="2187143"/>
            <a:ext cx="946086" cy="323163"/>
          </a:xfrm>
          <a:prstGeom prst="rect">
            <a:avLst/>
          </a:prstGeom>
          <a:noFill/>
        </p:spPr>
        <p:txBody>
          <a:bodyPr wrap="none" lIns="91432" tIns="45717" rIns="91432" bIns="45717" rtlCol="0">
            <a:spAutoFit/>
          </a:bodyPr>
          <a:lstStyle/>
          <a:p>
            <a:pPr algn="r"/>
            <a:r>
              <a:rPr lang="en-US" sz="1500" dirty="0" err="1">
                <a:solidFill>
                  <a:srgbClr val="626469"/>
                </a:solidFill>
                <a:cs typeface="Arial" pitchFamily="34" charset="0"/>
              </a:rPr>
              <a:t>Aplicațiis</a:t>
            </a:r>
            <a:endParaRPr lang="en-US" sz="1500" dirty="0">
              <a:solidFill>
                <a:srgbClr val="626469"/>
              </a:solidFill>
              <a:cs typeface="Arial" pitchFamily="34" charset="0"/>
            </a:endParaRPr>
          </a:p>
        </p:txBody>
      </p:sp>
      <p:sp>
        <p:nvSpPr>
          <p:cNvPr id="349" name="TextBox 348"/>
          <p:cNvSpPr txBox="1"/>
          <p:nvPr userDrawn="1"/>
        </p:nvSpPr>
        <p:spPr>
          <a:xfrm>
            <a:off x="5963132" y="5723025"/>
            <a:ext cx="1406146" cy="323163"/>
          </a:xfrm>
          <a:prstGeom prst="rect">
            <a:avLst/>
          </a:prstGeom>
          <a:noFill/>
        </p:spPr>
        <p:txBody>
          <a:bodyPr wrap="none" lIns="91432" tIns="45717" rIns="91432" bIns="45717" rtlCol="0">
            <a:spAutoFit/>
          </a:bodyPr>
          <a:lstStyle/>
          <a:p>
            <a:pPr algn="r"/>
            <a:r>
              <a:rPr lang="en-US" sz="1500" dirty="0">
                <a:solidFill>
                  <a:srgbClr val="626469"/>
                </a:solidFill>
                <a:cs typeface="Arial" pitchFamily="34" charset="0"/>
              </a:rPr>
              <a:t>Intermediaries</a:t>
            </a:r>
          </a:p>
        </p:txBody>
      </p:sp>
      <p:sp>
        <p:nvSpPr>
          <p:cNvPr id="92" name="TextBox 91"/>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rgbClr val="626469"/>
                </a:solidFill>
                <a:cs typeface="Arial" pitchFamily="34" charset="0"/>
              </a:rPr>
              <a:t>Confidential Property of Schneider Electric</a:t>
            </a:r>
          </a:p>
        </p:txBody>
      </p:sp>
    </p:spTree>
    <p:extLst>
      <p:ext uri="{BB962C8B-B14F-4D97-AF65-F5344CB8AC3E}">
        <p14:creationId xmlns:p14="http://schemas.microsoft.com/office/powerpoint/2010/main" val="14063633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arket Pictos_White">
    <p:bg>
      <p:bgPr>
        <a:solidFill>
          <a:srgbClr val="009530"/>
        </a:solidFill>
        <a:effectLst/>
      </p:bgPr>
    </p:bg>
    <p:spTree>
      <p:nvGrpSpPr>
        <p:cNvPr id="1" name=""/>
        <p:cNvGrpSpPr/>
        <p:nvPr/>
      </p:nvGrpSpPr>
      <p:grpSpPr>
        <a:xfrm>
          <a:off x="0" y="0"/>
          <a:ext cx="0" cy="0"/>
          <a:chOff x="0" y="0"/>
          <a:chExt cx="0" cy="0"/>
        </a:xfrm>
      </p:grpSpPr>
      <p:sp>
        <p:nvSpPr>
          <p:cNvPr id="91" name="Title 1"/>
          <p:cNvSpPr>
            <a:spLocks noGrp="1"/>
          </p:cNvSpPr>
          <p:nvPr>
            <p:ph type="title" hasCustomPrompt="1"/>
          </p:nvPr>
        </p:nvSpPr>
        <p:spPr>
          <a:xfrm>
            <a:off x="609441" y="271474"/>
            <a:ext cx="10969943" cy="1095375"/>
          </a:xfrm>
        </p:spPr>
        <p:txBody>
          <a:bodyPr/>
          <a:lstStyle>
            <a:lvl1pPr algn="l">
              <a:defRPr>
                <a:solidFill>
                  <a:schemeClr val="bg1"/>
                </a:solidFill>
              </a:defRPr>
            </a:lvl1pPr>
          </a:lstStyle>
          <a:p>
            <a:r>
              <a:rPr lang="en-US" dirty="0"/>
              <a:t>Market </a:t>
            </a:r>
            <a:r>
              <a:rPr lang="en-US" dirty="0" err="1"/>
              <a:t>Pictos</a:t>
            </a:r>
            <a:endParaRPr lang="en-US" noProof="0" dirty="0"/>
          </a:p>
        </p:txBody>
      </p:sp>
      <p:sp>
        <p:nvSpPr>
          <p:cNvPr id="264" name="Freeform 156"/>
          <p:cNvSpPr>
            <a:spLocks noChangeAspect="1"/>
          </p:cNvSpPr>
          <p:nvPr userDrawn="1"/>
        </p:nvSpPr>
        <p:spPr bwMode="auto">
          <a:xfrm>
            <a:off x="10351087" y="2195360"/>
            <a:ext cx="391833" cy="393192"/>
          </a:xfrm>
          <a:custGeom>
            <a:avLst/>
            <a:gdLst/>
            <a:ahLst/>
            <a:cxnLst>
              <a:cxn ang="0">
                <a:pos x="319" y="205"/>
              </a:cxn>
              <a:cxn ang="0">
                <a:pos x="264" y="194"/>
              </a:cxn>
              <a:cxn ang="0">
                <a:pos x="255" y="169"/>
              </a:cxn>
              <a:cxn ang="0">
                <a:pos x="369" y="136"/>
              </a:cxn>
              <a:cxn ang="0">
                <a:pos x="379" y="121"/>
              </a:cxn>
              <a:cxn ang="0">
                <a:pos x="362" y="62"/>
              </a:cxn>
              <a:cxn ang="0">
                <a:pos x="277" y="0"/>
              </a:cxn>
              <a:cxn ang="0">
                <a:pos x="184" y="135"/>
              </a:cxn>
              <a:cxn ang="0">
                <a:pos x="174" y="138"/>
              </a:cxn>
              <a:cxn ang="0">
                <a:pos x="136" y="16"/>
              </a:cxn>
              <a:cxn ang="0">
                <a:pos x="121" y="7"/>
              </a:cxn>
              <a:cxn ang="0">
                <a:pos x="62" y="24"/>
              </a:cxn>
              <a:cxn ang="0">
                <a:pos x="0" y="108"/>
              </a:cxn>
              <a:cxn ang="0">
                <a:pos x="75" y="190"/>
              </a:cxn>
              <a:cxn ang="0">
                <a:pos x="129" y="201"/>
              </a:cxn>
              <a:cxn ang="0">
                <a:pos x="135" y="228"/>
              </a:cxn>
              <a:cxn ang="0">
                <a:pos x="24" y="257"/>
              </a:cxn>
              <a:cxn ang="0">
                <a:pos x="14" y="271"/>
              </a:cxn>
              <a:cxn ang="0">
                <a:pos x="31" y="330"/>
              </a:cxn>
              <a:cxn ang="0">
                <a:pos x="115" y="393"/>
              </a:cxn>
              <a:cxn ang="0">
                <a:pos x="197" y="322"/>
              </a:cxn>
              <a:cxn ang="0">
                <a:pos x="210" y="257"/>
              </a:cxn>
              <a:cxn ang="0">
                <a:pos x="198" y="243"/>
              </a:cxn>
              <a:cxn ang="0">
                <a:pos x="184" y="256"/>
              </a:cxn>
              <a:cxn ang="0">
                <a:pos x="184" y="256"/>
              </a:cxn>
              <a:cxn ang="0">
                <a:pos x="115" y="366"/>
              </a:cxn>
              <a:cxn ang="0">
                <a:pos x="42" y="280"/>
              </a:cxn>
              <a:cxn ang="0">
                <a:pos x="158" y="250"/>
              </a:cxn>
              <a:cxn ang="0">
                <a:pos x="168" y="241"/>
              </a:cxn>
              <a:cxn ang="0">
                <a:pos x="165" y="228"/>
              </a:cxn>
              <a:cxn ang="0">
                <a:pos x="157" y="193"/>
              </a:cxn>
              <a:cxn ang="0">
                <a:pos x="155" y="181"/>
              </a:cxn>
              <a:cxn ang="0">
                <a:pos x="145" y="176"/>
              </a:cxn>
              <a:cxn ang="0">
                <a:pos x="26" y="108"/>
              </a:cxn>
              <a:cxn ang="0">
                <a:pos x="114" y="35"/>
              </a:cxn>
              <a:cxn ang="0">
                <a:pos x="153" y="162"/>
              </a:cxn>
              <a:cxn ang="0">
                <a:pos x="162" y="170"/>
              </a:cxn>
              <a:cxn ang="0">
                <a:pos x="174" y="168"/>
              </a:cxn>
              <a:cxn ang="0">
                <a:pos x="195" y="161"/>
              </a:cxn>
              <a:cxn ang="0">
                <a:pos x="205" y="158"/>
              </a:cxn>
              <a:cxn ang="0">
                <a:pos x="210" y="148"/>
              </a:cxn>
              <a:cxn ang="0">
                <a:pos x="277" y="26"/>
              </a:cxn>
              <a:cxn ang="0">
                <a:pos x="350" y="113"/>
              </a:cxn>
              <a:cxn ang="0">
                <a:pos x="229" y="148"/>
              </a:cxn>
              <a:cxn ang="0">
                <a:pos x="220" y="158"/>
              </a:cxn>
              <a:cxn ang="0">
                <a:pos x="224" y="171"/>
              </a:cxn>
              <a:cxn ang="0">
                <a:pos x="238" y="206"/>
              </a:cxn>
              <a:cxn ang="0">
                <a:pos x="241" y="216"/>
              </a:cxn>
              <a:cxn ang="0">
                <a:pos x="251" y="220"/>
              </a:cxn>
              <a:cxn ang="0">
                <a:pos x="366" y="284"/>
              </a:cxn>
              <a:cxn ang="0">
                <a:pos x="279" y="357"/>
              </a:cxn>
              <a:cxn ang="0">
                <a:pos x="247" y="238"/>
              </a:cxn>
              <a:cxn ang="0">
                <a:pos x="230" y="229"/>
              </a:cxn>
              <a:cxn ang="0">
                <a:pos x="221" y="245"/>
              </a:cxn>
              <a:cxn ang="0">
                <a:pos x="257" y="376"/>
              </a:cxn>
              <a:cxn ang="0">
                <a:pos x="271" y="386"/>
              </a:cxn>
              <a:cxn ang="0">
                <a:pos x="330" y="369"/>
              </a:cxn>
              <a:cxn ang="0">
                <a:pos x="393" y="284"/>
              </a:cxn>
              <a:cxn ang="0">
                <a:pos x="319" y="205"/>
              </a:cxn>
            </a:cxnLst>
            <a:rect l="0" t="0" r="r" b="b"/>
            <a:pathLst>
              <a:path w="393" h="393">
                <a:moveTo>
                  <a:pt x="319" y="205"/>
                </a:moveTo>
                <a:cubicBezTo>
                  <a:pt x="298" y="198"/>
                  <a:pt x="277" y="195"/>
                  <a:pt x="264" y="194"/>
                </a:cubicBezTo>
                <a:cubicBezTo>
                  <a:pt x="263" y="184"/>
                  <a:pt x="259" y="175"/>
                  <a:pt x="255" y="169"/>
                </a:cubicBezTo>
                <a:cubicBezTo>
                  <a:pt x="369" y="136"/>
                  <a:pt x="369" y="136"/>
                  <a:pt x="369" y="136"/>
                </a:cubicBezTo>
                <a:cubicBezTo>
                  <a:pt x="375" y="134"/>
                  <a:pt x="379" y="128"/>
                  <a:pt x="379" y="121"/>
                </a:cubicBezTo>
                <a:cubicBezTo>
                  <a:pt x="379" y="120"/>
                  <a:pt x="375" y="91"/>
                  <a:pt x="362" y="62"/>
                </a:cubicBezTo>
                <a:cubicBezTo>
                  <a:pt x="343" y="21"/>
                  <a:pt x="314" y="0"/>
                  <a:pt x="277" y="0"/>
                </a:cubicBezTo>
                <a:cubicBezTo>
                  <a:pt x="204" y="0"/>
                  <a:pt x="188" y="100"/>
                  <a:pt x="184" y="135"/>
                </a:cubicBezTo>
                <a:cubicBezTo>
                  <a:pt x="181" y="136"/>
                  <a:pt x="177" y="137"/>
                  <a:pt x="174" y="138"/>
                </a:cubicBezTo>
                <a:cubicBezTo>
                  <a:pt x="136" y="16"/>
                  <a:pt x="136" y="16"/>
                  <a:pt x="136" y="16"/>
                </a:cubicBezTo>
                <a:cubicBezTo>
                  <a:pt x="134" y="10"/>
                  <a:pt x="128" y="6"/>
                  <a:pt x="121" y="7"/>
                </a:cubicBezTo>
                <a:cubicBezTo>
                  <a:pt x="120" y="7"/>
                  <a:pt x="91" y="11"/>
                  <a:pt x="62" y="24"/>
                </a:cubicBezTo>
                <a:cubicBezTo>
                  <a:pt x="21" y="43"/>
                  <a:pt x="0" y="72"/>
                  <a:pt x="0" y="108"/>
                </a:cubicBezTo>
                <a:cubicBezTo>
                  <a:pt x="0" y="134"/>
                  <a:pt x="13" y="169"/>
                  <a:pt x="75" y="190"/>
                </a:cubicBezTo>
                <a:cubicBezTo>
                  <a:pt x="95" y="196"/>
                  <a:pt x="116" y="200"/>
                  <a:pt x="129" y="201"/>
                </a:cubicBezTo>
                <a:cubicBezTo>
                  <a:pt x="129" y="211"/>
                  <a:pt x="132" y="221"/>
                  <a:pt x="135" y="228"/>
                </a:cubicBezTo>
                <a:cubicBezTo>
                  <a:pt x="24" y="257"/>
                  <a:pt x="24" y="257"/>
                  <a:pt x="24" y="257"/>
                </a:cubicBezTo>
                <a:cubicBezTo>
                  <a:pt x="17" y="259"/>
                  <a:pt x="13" y="265"/>
                  <a:pt x="14" y="271"/>
                </a:cubicBezTo>
                <a:cubicBezTo>
                  <a:pt x="14" y="273"/>
                  <a:pt x="18" y="301"/>
                  <a:pt x="31" y="330"/>
                </a:cubicBezTo>
                <a:cubicBezTo>
                  <a:pt x="50" y="371"/>
                  <a:pt x="79" y="393"/>
                  <a:pt x="115" y="393"/>
                </a:cubicBezTo>
                <a:cubicBezTo>
                  <a:pt x="141" y="393"/>
                  <a:pt x="176" y="381"/>
                  <a:pt x="197" y="322"/>
                </a:cubicBezTo>
                <a:cubicBezTo>
                  <a:pt x="208" y="290"/>
                  <a:pt x="210" y="258"/>
                  <a:pt x="210" y="257"/>
                </a:cubicBezTo>
                <a:cubicBezTo>
                  <a:pt x="211" y="250"/>
                  <a:pt x="205" y="243"/>
                  <a:pt x="198" y="243"/>
                </a:cubicBezTo>
                <a:cubicBezTo>
                  <a:pt x="190" y="243"/>
                  <a:pt x="184" y="248"/>
                  <a:pt x="184" y="256"/>
                </a:cubicBezTo>
                <a:cubicBezTo>
                  <a:pt x="184" y="256"/>
                  <a:pt x="184" y="256"/>
                  <a:pt x="184" y="256"/>
                </a:cubicBezTo>
                <a:cubicBezTo>
                  <a:pt x="184" y="257"/>
                  <a:pt x="177" y="366"/>
                  <a:pt x="115" y="366"/>
                </a:cubicBezTo>
                <a:cubicBezTo>
                  <a:pt x="66" y="366"/>
                  <a:pt x="48" y="305"/>
                  <a:pt x="42" y="280"/>
                </a:cubicBezTo>
                <a:cubicBezTo>
                  <a:pt x="158" y="250"/>
                  <a:pt x="158" y="250"/>
                  <a:pt x="158" y="250"/>
                </a:cubicBezTo>
                <a:cubicBezTo>
                  <a:pt x="163" y="248"/>
                  <a:pt x="166" y="245"/>
                  <a:pt x="168" y="241"/>
                </a:cubicBezTo>
                <a:cubicBezTo>
                  <a:pt x="169" y="236"/>
                  <a:pt x="168" y="232"/>
                  <a:pt x="165" y="228"/>
                </a:cubicBezTo>
                <a:cubicBezTo>
                  <a:pt x="165" y="228"/>
                  <a:pt x="152" y="211"/>
                  <a:pt x="157" y="193"/>
                </a:cubicBezTo>
                <a:cubicBezTo>
                  <a:pt x="158" y="189"/>
                  <a:pt x="158" y="184"/>
                  <a:pt x="155" y="181"/>
                </a:cubicBezTo>
                <a:cubicBezTo>
                  <a:pt x="153" y="178"/>
                  <a:pt x="149" y="176"/>
                  <a:pt x="145" y="176"/>
                </a:cubicBezTo>
                <a:cubicBezTo>
                  <a:pt x="144" y="175"/>
                  <a:pt x="26" y="170"/>
                  <a:pt x="26" y="108"/>
                </a:cubicBezTo>
                <a:cubicBezTo>
                  <a:pt x="26" y="58"/>
                  <a:pt x="88" y="41"/>
                  <a:pt x="114" y="35"/>
                </a:cubicBezTo>
                <a:cubicBezTo>
                  <a:pt x="153" y="162"/>
                  <a:pt x="153" y="162"/>
                  <a:pt x="153" y="162"/>
                </a:cubicBezTo>
                <a:cubicBezTo>
                  <a:pt x="154" y="166"/>
                  <a:pt x="157" y="169"/>
                  <a:pt x="162" y="170"/>
                </a:cubicBezTo>
                <a:cubicBezTo>
                  <a:pt x="166" y="172"/>
                  <a:pt x="170" y="171"/>
                  <a:pt x="174" y="168"/>
                </a:cubicBezTo>
                <a:cubicBezTo>
                  <a:pt x="177" y="166"/>
                  <a:pt x="187" y="160"/>
                  <a:pt x="195" y="161"/>
                </a:cubicBezTo>
                <a:cubicBezTo>
                  <a:pt x="199" y="161"/>
                  <a:pt x="203" y="160"/>
                  <a:pt x="205" y="158"/>
                </a:cubicBezTo>
                <a:cubicBezTo>
                  <a:pt x="208" y="156"/>
                  <a:pt x="210" y="152"/>
                  <a:pt x="210" y="148"/>
                </a:cubicBezTo>
                <a:cubicBezTo>
                  <a:pt x="210" y="147"/>
                  <a:pt x="217" y="26"/>
                  <a:pt x="277" y="26"/>
                </a:cubicBezTo>
                <a:cubicBezTo>
                  <a:pt x="327" y="26"/>
                  <a:pt x="345" y="88"/>
                  <a:pt x="350" y="113"/>
                </a:cubicBezTo>
                <a:cubicBezTo>
                  <a:pt x="229" y="148"/>
                  <a:pt x="229" y="148"/>
                  <a:pt x="229" y="148"/>
                </a:cubicBezTo>
                <a:cubicBezTo>
                  <a:pt x="224" y="150"/>
                  <a:pt x="221" y="154"/>
                  <a:pt x="220" y="158"/>
                </a:cubicBezTo>
                <a:cubicBezTo>
                  <a:pt x="219" y="163"/>
                  <a:pt x="220" y="168"/>
                  <a:pt x="224" y="171"/>
                </a:cubicBezTo>
                <a:cubicBezTo>
                  <a:pt x="225" y="172"/>
                  <a:pt x="239" y="185"/>
                  <a:pt x="238" y="206"/>
                </a:cubicBezTo>
                <a:cubicBezTo>
                  <a:pt x="237" y="210"/>
                  <a:pt x="239" y="213"/>
                  <a:pt x="241" y="216"/>
                </a:cubicBezTo>
                <a:cubicBezTo>
                  <a:pt x="244" y="219"/>
                  <a:pt x="247" y="220"/>
                  <a:pt x="251" y="220"/>
                </a:cubicBezTo>
                <a:cubicBezTo>
                  <a:pt x="252" y="220"/>
                  <a:pt x="366" y="223"/>
                  <a:pt x="366" y="284"/>
                </a:cubicBezTo>
                <a:cubicBezTo>
                  <a:pt x="366" y="334"/>
                  <a:pt x="305" y="352"/>
                  <a:pt x="279" y="357"/>
                </a:cubicBezTo>
                <a:cubicBezTo>
                  <a:pt x="247" y="238"/>
                  <a:pt x="247" y="238"/>
                  <a:pt x="247" y="238"/>
                </a:cubicBezTo>
                <a:cubicBezTo>
                  <a:pt x="245" y="231"/>
                  <a:pt x="237" y="227"/>
                  <a:pt x="230" y="229"/>
                </a:cubicBezTo>
                <a:cubicBezTo>
                  <a:pt x="223" y="231"/>
                  <a:pt x="219" y="238"/>
                  <a:pt x="221" y="245"/>
                </a:cubicBezTo>
                <a:cubicBezTo>
                  <a:pt x="257" y="376"/>
                  <a:pt x="257" y="376"/>
                  <a:pt x="257" y="376"/>
                </a:cubicBezTo>
                <a:cubicBezTo>
                  <a:pt x="259" y="382"/>
                  <a:pt x="265" y="386"/>
                  <a:pt x="271" y="386"/>
                </a:cubicBezTo>
                <a:cubicBezTo>
                  <a:pt x="273" y="385"/>
                  <a:pt x="301" y="382"/>
                  <a:pt x="330" y="369"/>
                </a:cubicBezTo>
                <a:cubicBezTo>
                  <a:pt x="371" y="350"/>
                  <a:pt x="393" y="321"/>
                  <a:pt x="393" y="284"/>
                </a:cubicBezTo>
                <a:cubicBezTo>
                  <a:pt x="393" y="258"/>
                  <a:pt x="380" y="223"/>
                  <a:pt x="319" y="205"/>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65" name="Freeform 188"/>
          <p:cNvSpPr>
            <a:spLocks noChangeAspect="1" noEditPoints="1"/>
          </p:cNvSpPr>
          <p:nvPr userDrawn="1"/>
        </p:nvSpPr>
        <p:spPr bwMode="auto">
          <a:xfrm>
            <a:off x="10335262" y="3000095"/>
            <a:ext cx="422086" cy="393192"/>
          </a:xfrm>
          <a:custGeom>
            <a:avLst/>
            <a:gdLst/>
            <a:ahLst/>
            <a:cxnLst>
              <a:cxn ang="0">
                <a:pos x="395" y="249"/>
              </a:cxn>
              <a:cxn ang="0">
                <a:pos x="228" y="249"/>
              </a:cxn>
              <a:cxn ang="0">
                <a:pos x="203" y="78"/>
              </a:cxn>
              <a:cxn ang="0">
                <a:pos x="188" y="4"/>
              </a:cxn>
              <a:cxn ang="0">
                <a:pos x="164" y="0"/>
              </a:cxn>
              <a:cxn ang="0">
                <a:pos x="126" y="29"/>
              </a:cxn>
              <a:cxn ang="0">
                <a:pos x="100" y="145"/>
              </a:cxn>
              <a:cxn ang="0">
                <a:pos x="62" y="249"/>
              </a:cxn>
              <a:cxn ang="0">
                <a:pos x="0" y="310"/>
              </a:cxn>
              <a:cxn ang="0">
                <a:pos x="151" y="372"/>
              </a:cxn>
              <a:cxn ang="0">
                <a:pos x="158" y="423"/>
              </a:cxn>
              <a:cxn ang="0">
                <a:pos x="238" y="369"/>
              </a:cxn>
              <a:cxn ang="0">
                <a:pos x="238" y="348"/>
              </a:cxn>
              <a:cxn ang="0">
                <a:pos x="154" y="298"/>
              </a:cxn>
              <a:cxn ang="0">
                <a:pos x="209" y="359"/>
              </a:cxn>
              <a:cxn ang="0">
                <a:pos x="177" y="359"/>
              </a:cxn>
              <a:cxn ang="0">
                <a:pos x="62" y="346"/>
              </a:cxn>
              <a:cxn ang="0">
                <a:pos x="37" y="286"/>
              </a:cxn>
              <a:cxn ang="0">
                <a:pos x="114" y="275"/>
              </a:cxn>
              <a:cxn ang="0">
                <a:pos x="127" y="145"/>
              </a:cxn>
              <a:cxn ang="0">
                <a:pos x="152" y="81"/>
              </a:cxn>
              <a:cxn ang="0">
                <a:pos x="152" y="28"/>
              </a:cxn>
              <a:cxn ang="0">
                <a:pos x="165" y="27"/>
              </a:cxn>
              <a:cxn ang="0">
                <a:pos x="176" y="29"/>
              </a:cxn>
              <a:cxn ang="0">
                <a:pos x="177" y="87"/>
              </a:cxn>
              <a:cxn ang="0">
                <a:pos x="201" y="262"/>
              </a:cxn>
              <a:cxn ang="0">
                <a:pos x="344" y="275"/>
              </a:cxn>
              <a:cxn ang="0">
                <a:pos x="351" y="354"/>
              </a:cxn>
              <a:cxn ang="0">
                <a:pos x="456" y="310"/>
              </a:cxn>
              <a:cxn ang="0">
                <a:pos x="395" y="346"/>
              </a:cxn>
              <a:cxn ang="0">
                <a:pos x="360" y="310"/>
              </a:cxn>
              <a:cxn ang="0">
                <a:pos x="395" y="275"/>
              </a:cxn>
              <a:cxn ang="0">
                <a:pos x="395" y="346"/>
              </a:cxn>
            </a:cxnLst>
            <a:rect l="0" t="0" r="r" b="b"/>
            <a:pathLst>
              <a:path w="456" h="426">
                <a:moveTo>
                  <a:pt x="395" y="249"/>
                </a:moveTo>
                <a:cubicBezTo>
                  <a:pt x="395" y="249"/>
                  <a:pt x="395" y="249"/>
                  <a:pt x="395" y="249"/>
                </a:cubicBezTo>
                <a:cubicBezTo>
                  <a:pt x="395" y="249"/>
                  <a:pt x="395" y="249"/>
                  <a:pt x="395" y="249"/>
                </a:cubicBezTo>
                <a:cubicBezTo>
                  <a:pt x="228" y="249"/>
                  <a:pt x="228" y="249"/>
                  <a:pt x="228" y="249"/>
                </a:cubicBezTo>
                <a:cubicBezTo>
                  <a:pt x="228" y="145"/>
                  <a:pt x="228" y="145"/>
                  <a:pt x="228" y="145"/>
                </a:cubicBezTo>
                <a:cubicBezTo>
                  <a:pt x="228" y="130"/>
                  <a:pt x="211" y="95"/>
                  <a:pt x="203" y="78"/>
                </a:cubicBezTo>
                <a:cubicBezTo>
                  <a:pt x="203" y="29"/>
                  <a:pt x="203" y="29"/>
                  <a:pt x="203" y="29"/>
                </a:cubicBezTo>
                <a:cubicBezTo>
                  <a:pt x="203" y="18"/>
                  <a:pt x="197" y="9"/>
                  <a:pt x="188" y="4"/>
                </a:cubicBezTo>
                <a:cubicBezTo>
                  <a:pt x="181" y="0"/>
                  <a:pt x="172" y="0"/>
                  <a:pt x="165" y="0"/>
                </a:cubicBezTo>
                <a:cubicBezTo>
                  <a:pt x="164" y="0"/>
                  <a:pt x="164" y="0"/>
                  <a:pt x="164" y="0"/>
                </a:cubicBezTo>
                <a:cubicBezTo>
                  <a:pt x="157" y="0"/>
                  <a:pt x="148" y="0"/>
                  <a:pt x="140" y="4"/>
                </a:cubicBezTo>
                <a:cubicBezTo>
                  <a:pt x="131" y="9"/>
                  <a:pt x="126" y="18"/>
                  <a:pt x="126" y="29"/>
                </a:cubicBezTo>
                <a:cubicBezTo>
                  <a:pt x="126" y="78"/>
                  <a:pt x="126" y="78"/>
                  <a:pt x="126" y="78"/>
                </a:cubicBezTo>
                <a:cubicBezTo>
                  <a:pt x="117" y="95"/>
                  <a:pt x="100" y="130"/>
                  <a:pt x="100" y="145"/>
                </a:cubicBezTo>
                <a:cubicBezTo>
                  <a:pt x="100" y="249"/>
                  <a:pt x="100" y="249"/>
                  <a:pt x="100" y="249"/>
                </a:cubicBezTo>
                <a:cubicBezTo>
                  <a:pt x="62" y="249"/>
                  <a:pt x="62" y="249"/>
                  <a:pt x="62" y="249"/>
                </a:cubicBezTo>
                <a:cubicBezTo>
                  <a:pt x="46" y="249"/>
                  <a:pt x="30" y="255"/>
                  <a:pt x="18" y="267"/>
                </a:cubicBezTo>
                <a:cubicBezTo>
                  <a:pt x="7" y="278"/>
                  <a:pt x="0" y="294"/>
                  <a:pt x="0" y="310"/>
                </a:cubicBezTo>
                <a:cubicBezTo>
                  <a:pt x="0" y="344"/>
                  <a:pt x="28" y="372"/>
                  <a:pt x="62" y="372"/>
                </a:cubicBezTo>
                <a:cubicBezTo>
                  <a:pt x="151" y="372"/>
                  <a:pt x="151" y="372"/>
                  <a:pt x="151" y="372"/>
                </a:cubicBezTo>
                <a:cubicBezTo>
                  <a:pt x="151" y="411"/>
                  <a:pt x="151" y="411"/>
                  <a:pt x="151" y="411"/>
                </a:cubicBezTo>
                <a:cubicBezTo>
                  <a:pt x="151" y="417"/>
                  <a:pt x="154" y="421"/>
                  <a:pt x="158" y="423"/>
                </a:cubicBezTo>
                <a:cubicBezTo>
                  <a:pt x="163" y="426"/>
                  <a:pt x="168" y="425"/>
                  <a:pt x="172" y="422"/>
                </a:cubicBezTo>
                <a:cubicBezTo>
                  <a:pt x="238" y="369"/>
                  <a:pt x="238" y="369"/>
                  <a:pt x="238" y="369"/>
                </a:cubicBezTo>
                <a:cubicBezTo>
                  <a:pt x="242" y="367"/>
                  <a:pt x="243" y="363"/>
                  <a:pt x="243" y="359"/>
                </a:cubicBezTo>
                <a:cubicBezTo>
                  <a:pt x="243" y="355"/>
                  <a:pt x="242" y="351"/>
                  <a:pt x="238" y="348"/>
                </a:cubicBezTo>
                <a:cubicBezTo>
                  <a:pt x="172" y="296"/>
                  <a:pt x="172" y="296"/>
                  <a:pt x="172" y="296"/>
                </a:cubicBezTo>
                <a:cubicBezTo>
                  <a:pt x="167" y="291"/>
                  <a:pt x="158" y="292"/>
                  <a:pt x="154" y="298"/>
                </a:cubicBezTo>
                <a:cubicBezTo>
                  <a:pt x="149" y="303"/>
                  <a:pt x="150" y="312"/>
                  <a:pt x="156" y="316"/>
                </a:cubicBezTo>
                <a:cubicBezTo>
                  <a:pt x="209" y="359"/>
                  <a:pt x="209" y="359"/>
                  <a:pt x="209" y="359"/>
                </a:cubicBezTo>
                <a:cubicBezTo>
                  <a:pt x="177" y="384"/>
                  <a:pt x="177" y="384"/>
                  <a:pt x="177" y="384"/>
                </a:cubicBezTo>
                <a:cubicBezTo>
                  <a:pt x="177" y="359"/>
                  <a:pt x="177" y="359"/>
                  <a:pt x="177" y="359"/>
                </a:cubicBezTo>
                <a:cubicBezTo>
                  <a:pt x="177" y="351"/>
                  <a:pt x="172" y="346"/>
                  <a:pt x="164" y="346"/>
                </a:cubicBezTo>
                <a:cubicBezTo>
                  <a:pt x="62" y="346"/>
                  <a:pt x="62" y="346"/>
                  <a:pt x="62" y="346"/>
                </a:cubicBezTo>
                <a:cubicBezTo>
                  <a:pt x="43" y="346"/>
                  <a:pt x="27" y="330"/>
                  <a:pt x="27" y="310"/>
                </a:cubicBezTo>
                <a:cubicBezTo>
                  <a:pt x="27" y="301"/>
                  <a:pt x="31" y="292"/>
                  <a:pt x="37" y="286"/>
                </a:cubicBezTo>
                <a:cubicBezTo>
                  <a:pt x="44" y="279"/>
                  <a:pt x="53" y="275"/>
                  <a:pt x="62" y="275"/>
                </a:cubicBezTo>
                <a:cubicBezTo>
                  <a:pt x="62" y="275"/>
                  <a:pt x="114" y="275"/>
                  <a:pt x="114" y="275"/>
                </a:cubicBezTo>
                <a:cubicBezTo>
                  <a:pt x="121" y="275"/>
                  <a:pt x="127" y="269"/>
                  <a:pt x="127" y="262"/>
                </a:cubicBezTo>
                <a:cubicBezTo>
                  <a:pt x="127" y="145"/>
                  <a:pt x="127" y="145"/>
                  <a:pt x="127" y="145"/>
                </a:cubicBezTo>
                <a:cubicBezTo>
                  <a:pt x="127" y="138"/>
                  <a:pt x="140" y="109"/>
                  <a:pt x="151" y="87"/>
                </a:cubicBezTo>
                <a:cubicBezTo>
                  <a:pt x="152" y="85"/>
                  <a:pt x="152" y="83"/>
                  <a:pt x="152" y="81"/>
                </a:cubicBezTo>
                <a:cubicBezTo>
                  <a:pt x="152" y="29"/>
                  <a:pt x="152" y="29"/>
                  <a:pt x="152" y="29"/>
                </a:cubicBezTo>
                <a:cubicBezTo>
                  <a:pt x="152" y="29"/>
                  <a:pt x="152" y="28"/>
                  <a:pt x="152" y="28"/>
                </a:cubicBezTo>
                <a:cubicBezTo>
                  <a:pt x="153" y="28"/>
                  <a:pt x="156" y="27"/>
                  <a:pt x="164" y="27"/>
                </a:cubicBezTo>
                <a:cubicBezTo>
                  <a:pt x="165" y="27"/>
                  <a:pt x="165" y="27"/>
                  <a:pt x="165" y="27"/>
                </a:cubicBezTo>
                <a:cubicBezTo>
                  <a:pt x="172" y="27"/>
                  <a:pt x="175" y="28"/>
                  <a:pt x="176" y="28"/>
                </a:cubicBezTo>
                <a:cubicBezTo>
                  <a:pt x="176" y="28"/>
                  <a:pt x="176" y="29"/>
                  <a:pt x="176" y="29"/>
                </a:cubicBezTo>
                <a:cubicBezTo>
                  <a:pt x="176" y="81"/>
                  <a:pt x="176" y="81"/>
                  <a:pt x="176" y="81"/>
                </a:cubicBezTo>
                <a:cubicBezTo>
                  <a:pt x="176" y="83"/>
                  <a:pt x="176" y="85"/>
                  <a:pt x="177" y="87"/>
                </a:cubicBezTo>
                <a:cubicBezTo>
                  <a:pt x="189" y="109"/>
                  <a:pt x="201" y="138"/>
                  <a:pt x="201" y="145"/>
                </a:cubicBezTo>
                <a:cubicBezTo>
                  <a:pt x="201" y="262"/>
                  <a:pt x="201" y="262"/>
                  <a:pt x="201" y="262"/>
                </a:cubicBezTo>
                <a:cubicBezTo>
                  <a:pt x="201" y="269"/>
                  <a:pt x="207" y="275"/>
                  <a:pt x="214" y="275"/>
                </a:cubicBezTo>
                <a:cubicBezTo>
                  <a:pt x="344" y="275"/>
                  <a:pt x="344" y="275"/>
                  <a:pt x="344" y="275"/>
                </a:cubicBezTo>
                <a:cubicBezTo>
                  <a:pt x="337" y="286"/>
                  <a:pt x="333" y="298"/>
                  <a:pt x="333" y="310"/>
                </a:cubicBezTo>
                <a:cubicBezTo>
                  <a:pt x="333" y="327"/>
                  <a:pt x="339" y="342"/>
                  <a:pt x="351" y="354"/>
                </a:cubicBezTo>
                <a:cubicBezTo>
                  <a:pt x="363" y="366"/>
                  <a:pt x="378" y="372"/>
                  <a:pt x="395" y="372"/>
                </a:cubicBezTo>
                <a:cubicBezTo>
                  <a:pt x="429" y="372"/>
                  <a:pt x="456" y="344"/>
                  <a:pt x="456" y="310"/>
                </a:cubicBezTo>
                <a:cubicBezTo>
                  <a:pt x="456" y="276"/>
                  <a:pt x="429" y="249"/>
                  <a:pt x="395" y="249"/>
                </a:cubicBezTo>
                <a:close/>
                <a:moveTo>
                  <a:pt x="395" y="346"/>
                </a:moveTo>
                <a:cubicBezTo>
                  <a:pt x="385" y="346"/>
                  <a:pt x="376" y="342"/>
                  <a:pt x="370" y="335"/>
                </a:cubicBezTo>
                <a:cubicBezTo>
                  <a:pt x="363" y="329"/>
                  <a:pt x="360" y="320"/>
                  <a:pt x="360" y="310"/>
                </a:cubicBezTo>
                <a:cubicBezTo>
                  <a:pt x="360" y="301"/>
                  <a:pt x="363" y="292"/>
                  <a:pt x="370" y="286"/>
                </a:cubicBezTo>
                <a:cubicBezTo>
                  <a:pt x="376" y="279"/>
                  <a:pt x="385" y="275"/>
                  <a:pt x="395" y="275"/>
                </a:cubicBezTo>
                <a:cubicBezTo>
                  <a:pt x="414" y="275"/>
                  <a:pt x="430" y="291"/>
                  <a:pt x="430" y="310"/>
                </a:cubicBezTo>
                <a:cubicBezTo>
                  <a:pt x="430" y="330"/>
                  <a:pt x="414" y="346"/>
                  <a:pt x="395" y="346"/>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66" name="Freeform 192"/>
          <p:cNvSpPr>
            <a:spLocks noChangeAspect="1" noEditPoints="1"/>
          </p:cNvSpPr>
          <p:nvPr userDrawn="1"/>
        </p:nvSpPr>
        <p:spPr bwMode="auto">
          <a:xfrm>
            <a:off x="8472430" y="2195360"/>
            <a:ext cx="394363" cy="393192"/>
          </a:xfrm>
          <a:custGeom>
            <a:avLst/>
            <a:gdLst/>
            <a:ahLst/>
            <a:cxnLst>
              <a:cxn ang="0">
                <a:pos x="113" y="371"/>
              </a:cxn>
              <a:cxn ang="0">
                <a:pos x="33" y="399"/>
              </a:cxn>
              <a:cxn ang="0">
                <a:pos x="0" y="326"/>
              </a:cxn>
              <a:cxn ang="0">
                <a:pos x="54" y="183"/>
              </a:cxn>
              <a:cxn ang="0">
                <a:pos x="120" y="174"/>
              </a:cxn>
              <a:cxn ang="0">
                <a:pos x="128" y="247"/>
              </a:cxn>
              <a:cxn ang="0">
                <a:pos x="158" y="223"/>
              </a:cxn>
              <a:cxn ang="0">
                <a:pos x="129" y="210"/>
              </a:cxn>
              <a:cxn ang="0">
                <a:pos x="153" y="155"/>
              </a:cxn>
              <a:cxn ang="0">
                <a:pos x="316" y="221"/>
              </a:cxn>
              <a:cxn ang="0">
                <a:pos x="340" y="242"/>
              </a:cxn>
              <a:cxn ang="0">
                <a:pos x="398" y="288"/>
              </a:cxn>
              <a:cxn ang="0">
                <a:pos x="402" y="371"/>
              </a:cxn>
              <a:cxn ang="0">
                <a:pos x="308" y="406"/>
              </a:cxn>
              <a:cxn ang="0">
                <a:pos x="262" y="332"/>
              </a:cxn>
              <a:cxn ang="0">
                <a:pos x="324" y="376"/>
              </a:cxn>
              <a:cxn ang="0">
                <a:pos x="376" y="356"/>
              </a:cxn>
              <a:cxn ang="0">
                <a:pos x="373" y="296"/>
              </a:cxn>
              <a:cxn ang="0">
                <a:pos x="330" y="267"/>
              </a:cxn>
              <a:cxn ang="0">
                <a:pos x="279" y="224"/>
              </a:cxn>
              <a:cxn ang="0">
                <a:pos x="158" y="196"/>
              </a:cxn>
              <a:cxn ang="0">
                <a:pos x="290" y="266"/>
              </a:cxn>
              <a:cxn ang="0">
                <a:pos x="128" y="274"/>
              </a:cxn>
              <a:cxn ang="0">
                <a:pos x="93" y="191"/>
              </a:cxn>
              <a:cxn ang="0">
                <a:pos x="28" y="317"/>
              </a:cxn>
              <a:cxn ang="0">
                <a:pos x="27" y="318"/>
              </a:cxn>
              <a:cxn ang="0">
                <a:pos x="29" y="347"/>
              </a:cxn>
              <a:cxn ang="0">
                <a:pos x="62" y="379"/>
              </a:cxn>
              <a:cxn ang="0">
                <a:pos x="103" y="345"/>
              </a:cxn>
              <a:cxn ang="0">
                <a:pos x="230" y="354"/>
              </a:cxn>
              <a:cxn ang="0">
                <a:pos x="242" y="379"/>
              </a:cxn>
              <a:cxn ang="0">
                <a:pos x="379" y="423"/>
              </a:cxn>
              <a:cxn ang="0">
                <a:pos x="410" y="259"/>
              </a:cxn>
              <a:cxn ang="0">
                <a:pos x="355" y="168"/>
              </a:cxn>
              <a:cxn ang="0">
                <a:pos x="358" y="167"/>
              </a:cxn>
              <a:cxn ang="0">
                <a:pos x="391" y="148"/>
              </a:cxn>
              <a:cxn ang="0">
                <a:pos x="396" y="95"/>
              </a:cxn>
              <a:cxn ang="0">
                <a:pos x="391" y="95"/>
              </a:cxn>
              <a:cxn ang="0">
                <a:pos x="377" y="32"/>
              </a:cxn>
              <a:cxn ang="0">
                <a:pos x="369" y="28"/>
              </a:cxn>
              <a:cxn ang="0">
                <a:pos x="364" y="90"/>
              </a:cxn>
              <a:cxn ang="0">
                <a:pos x="312" y="90"/>
              </a:cxn>
              <a:cxn ang="0">
                <a:pos x="306" y="28"/>
              </a:cxn>
              <a:cxn ang="0">
                <a:pos x="299" y="32"/>
              </a:cxn>
              <a:cxn ang="0">
                <a:pos x="284" y="95"/>
              </a:cxn>
              <a:cxn ang="0">
                <a:pos x="280" y="106"/>
              </a:cxn>
              <a:cxn ang="0">
                <a:pos x="282" y="145"/>
              </a:cxn>
              <a:cxn ang="0">
                <a:pos x="318" y="167"/>
              </a:cxn>
              <a:cxn ang="0">
                <a:pos x="269" y="172"/>
              </a:cxn>
              <a:cxn ang="0">
                <a:pos x="255" y="145"/>
              </a:cxn>
              <a:cxn ang="0">
                <a:pos x="253" y="94"/>
              </a:cxn>
              <a:cxn ang="0">
                <a:pos x="272" y="70"/>
              </a:cxn>
              <a:cxn ang="0">
                <a:pos x="304" y="0"/>
              </a:cxn>
              <a:cxn ang="0">
                <a:pos x="334" y="68"/>
              </a:cxn>
              <a:cxn ang="0">
                <a:pos x="351" y="9"/>
              </a:cxn>
              <a:cxn ang="0">
                <a:pos x="403" y="32"/>
              </a:cxn>
              <a:cxn ang="0">
                <a:pos x="422" y="95"/>
              </a:cxn>
              <a:cxn ang="0">
                <a:pos x="415" y="160"/>
              </a:cxn>
              <a:cxn ang="0">
                <a:pos x="384" y="185"/>
              </a:cxn>
              <a:cxn ang="0">
                <a:pos x="444" y="395"/>
              </a:cxn>
              <a:cxn ang="0">
                <a:pos x="331" y="459"/>
              </a:cxn>
              <a:cxn ang="0">
                <a:pos x="294" y="122"/>
              </a:cxn>
            </a:cxnLst>
            <a:rect l="0" t="0" r="r" b="b"/>
            <a:pathLst>
              <a:path w="460" h="459">
                <a:moveTo>
                  <a:pt x="271" y="444"/>
                </a:moveTo>
                <a:cubicBezTo>
                  <a:pt x="254" y="434"/>
                  <a:pt x="242" y="422"/>
                  <a:pt x="232" y="410"/>
                </a:cubicBezTo>
                <a:cubicBezTo>
                  <a:pt x="232" y="410"/>
                  <a:pt x="232" y="410"/>
                  <a:pt x="232" y="410"/>
                </a:cubicBezTo>
                <a:cubicBezTo>
                  <a:pt x="220" y="395"/>
                  <a:pt x="212" y="380"/>
                  <a:pt x="208" y="371"/>
                </a:cubicBezTo>
                <a:cubicBezTo>
                  <a:pt x="208" y="371"/>
                  <a:pt x="208" y="371"/>
                  <a:pt x="208" y="371"/>
                </a:cubicBezTo>
                <a:cubicBezTo>
                  <a:pt x="113" y="371"/>
                  <a:pt x="113" y="371"/>
                  <a:pt x="113" y="371"/>
                </a:cubicBezTo>
                <a:cubicBezTo>
                  <a:pt x="109" y="381"/>
                  <a:pt x="103" y="389"/>
                  <a:pt x="95" y="395"/>
                </a:cubicBezTo>
                <a:cubicBezTo>
                  <a:pt x="95" y="395"/>
                  <a:pt x="95" y="395"/>
                  <a:pt x="95" y="395"/>
                </a:cubicBezTo>
                <a:cubicBezTo>
                  <a:pt x="85" y="403"/>
                  <a:pt x="73" y="406"/>
                  <a:pt x="62" y="406"/>
                </a:cubicBezTo>
                <a:cubicBezTo>
                  <a:pt x="62" y="406"/>
                  <a:pt x="62" y="406"/>
                  <a:pt x="62" y="406"/>
                </a:cubicBezTo>
                <a:cubicBezTo>
                  <a:pt x="52" y="406"/>
                  <a:pt x="42" y="404"/>
                  <a:pt x="33" y="399"/>
                </a:cubicBezTo>
                <a:cubicBezTo>
                  <a:pt x="33" y="399"/>
                  <a:pt x="33" y="399"/>
                  <a:pt x="33" y="399"/>
                </a:cubicBezTo>
                <a:cubicBezTo>
                  <a:pt x="25" y="395"/>
                  <a:pt x="19" y="389"/>
                  <a:pt x="15" y="382"/>
                </a:cubicBezTo>
                <a:cubicBezTo>
                  <a:pt x="15" y="382"/>
                  <a:pt x="15" y="382"/>
                  <a:pt x="15" y="382"/>
                </a:cubicBezTo>
                <a:cubicBezTo>
                  <a:pt x="11" y="376"/>
                  <a:pt x="8" y="369"/>
                  <a:pt x="5" y="362"/>
                </a:cubicBezTo>
                <a:cubicBezTo>
                  <a:pt x="5" y="362"/>
                  <a:pt x="5" y="362"/>
                  <a:pt x="5" y="362"/>
                </a:cubicBezTo>
                <a:cubicBezTo>
                  <a:pt x="1" y="349"/>
                  <a:pt x="1" y="335"/>
                  <a:pt x="0" y="326"/>
                </a:cubicBezTo>
                <a:cubicBezTo>
                  <a:pt x="0" y="326"/>
                  <a:pt x="0" y="326"/>
                  <a:pt x="0" y="326"/>
                </a:cubicBezTo>
                <a:cubicBezTo>
                  <a:pt x="0" y="321"/>
                  <a:pt x="1" y="317"/>
                  <a:pt x="1" y="315"/>
                </a:cubicBezTo>
                <a:cubicBezTo>
                  <a:pt x="1" y="315"/>
                  <a:pt x="1" y="315"/>
                  <a:pt x="1" y="315"/>
                </a:cubicBezTo>
                <a:cubicBezTo>
                  <a:pt x="3" y="280"/>
                  <a:pt x="9" y="252"/>
                  <a:pt x="19" y="230"/>
                </a:cubicBezTo>
                <a:cubicBezTo>
                  <a:pt x="19" y="230"/>
                  <a:pt x="19" y="230"/>
                  <a:pt x="19" y="230"/>
                </a:cubicBezTo>
                <a:cubicBezTo>
                  <a:pt x="29" y="209"/>
                  <a:pt x="41" y="193"/>
                  <a:pt x="54" y="183"/>
                </a:cubicBezTo>
                <a:cubicBezTo>
                  <a:pt x="54" y="183"/>
                  <a:pt x="54" y="183"/>
                  <a:pt x="54" y="183"/>
                </a:cubicBezTo>
                <a:cubicBezTo>
                  <a:pt x="79" y="162"/>
                  <a:pt x="104" y="161"/>
                  <a:pt x="106" y="160"/>
                </a:cubicBezTo>
                <a:cubicBezTo>
                  <a:pt x="106" y="160"/>
                  <a:pt x="106" y="160"/>
                  <a:pt x="106" y="160"/>
                </a:cubicBezTo>
                <a:cubicBezTo>
                  <a:pt x="109" y="160"/>
                  <a:pt x="113" y="162"/>
                  <a:pt x="115" y="164"/>
                </a:cubicBezTo>
                <a:cubicBezTo>
                  <a:pt x="115" y="164"/>
                  <a:pt x="115" y="164"/>
                  <a:pt x="115" y="164"/>
                </a:cubicBezTo>
                <a:cubicBezTo>
                  <a:pt x="118" y="167"/>
                  <a:pt x="120" y="170"/>
                  <a:pt x="120" y="174"/>
                </a:cubicBezTo>
                <a:cubicBezTo>
                  <a:pt x="120" y="174"/>
                  <a:pt x="120" y="174"/>
                  <a:pt x="120" y="174"/>
                </a:cubicBezTo>
                <a:cubicBezTo>
                  <a:pt x="120" y="182"/>
                  <a:pt x="119" y="233"/>
                  <a:pt x="119" y="239"/>
                </a:cubicBezTo>
                <a:cubicBezTo>
                  <a:pt x="119" y="239"/>
                  <a:pt x="119" y="239"/>
                  <a:pt x="119" y="239"/>
                </a:cubicBezTo>
                <a:cubicBezTo>
                  <a:pt x="119" y="240"/>
                  <a:pt x="120" y="243"/>
                  <a:pt x="122" y="245"/>
                </a:cubicBezTo>
                <a:cubicBezTo>
                  <a:pt x="122" y="245"/>
                  <a:pt x="122" y="245"/>
                  <a:pt x="122" y="245"/>
                </a:cubicBezTo>
                <a:cubicBezTo>
                  <a:pt x="124" y="246"/>
                  <a:pt x="126" y="247"/>
                  <a:pt x="128" y="247"/>
                </a:cubicBezTo>
                <a:cubicBezTo>
                  <a:pt x="128" y="247"/>
                  <a:pt x="128" y="247"/>
                  <a:pt x="128" y="247"/>
                </a:cubicBezTo>
                <a:cubicBezTo>
                  <a:pt x="136" y="247"/>
                  <a:pt x="199" y="248"/>
                  <a:pt x="240" y="248"/>
                </a:cubicBezTo>
                <a:cubicBezTo>
                  <a:pt x="240" y="248"/>
                  <a:pt x="240" y="248"/>
                  <a:pt x="240" y="248"/>
                </a:cubicBezTo>
                <a:cubicBezTo>
                  <a:pt x="228" y="240"/>
                  <a:pt x="217" y="235"/>
                  <a:pt x="206" y="231"/>
                </a:cubicBezTo>
                <a:cubicBezTo>
                  <a:pt x="206" y="231"/>
                  <a:pt x="206" y="231"/>
                  <a:pt x="206" y="231"/>
                </a:cubicBezTo>
                <a:cubicBezTo>
                  <a:pt x="186" y="224"/>
                  <a:pt x="169" y="223"/>
                  <a:pt x="158" y="223"/>
                </a:cubicBezTo>
                <a:cubicBezTo>
                  <a:pt x="158" y="223"/>
                  <a:pt x="158" y="223"/>
                  <a:pt x="158" y="223"/>
                </a:cubicBezTo>
                <a:cubicBezTo>
                  <a:pt x="150" y="223"/>
                  <a:pt x="146" y="223"/>
                  <a:pt x="145" y="224"/>
                </a:cubicBezTo>
                <a:cubicBezTo>
                  <a:pt x="145" y="224"/>
                  <a:pt x="145" y="224"/>
                  <a:pt x="145" y="224"/>
                </a:cubicBezTo>
                <a:cubicBezTo>
                  <a:pt x="145" y="224"/>
                  <a:pt x="145" y="224"/>
                  <a:pt x="145" y="224"/>
                </a:cubicBezTo>
                <a:cubicBezTo>
                  <a:pt x="141" y="224"/>
                  <a:pt x="137" y="223"/>
                  <a:pt x="134" y="221"/>
                </a:cubicBezTo>
                <a:cubicBezTo>
                  <a:pt x="134" y="221"/>
                  <a:pt x="134" y="221"/>
                  <a:pt x="134" y="221"/>
                </a:cubicBezTo>
                <a:cubicBezTo>
                  <a:pt x="131" y="218"/>
                  <a:pt x="129" y="214"/>
                  <a:pt x="129" y="210"/>
                </a:cubicBezTo>
                <a:cubicBezTo>
                  <a:pt x="129" y="210"/>
                  <a:pt x="129" y="210"/>
                  <a:pt x="129" y="210"/>
                </a:cubicBezTo>
                <a:cubicBezTo>
                  <a:pt x="129" y="169"/>
                  <a:pt x="129" y="169"/>
                  <a:pt x="129" y="169"/>
                </a:cubicBezTo>
                <a:cubicBezTo>
                  <a:pt x="129" y="162"/>
                  <a:pt x="135" y="156"/>
                  <a:pt x="142" y="155"/>
                </a:cubicBezTo>
                <a:cubicBezTo>
                  <a:pt x="142" y="155"/>
                  <a:pt x="142" y="155"/>
                  <a:pt x="142" y="155"/>
                </a:cubicBezTo>
                <a:cubicBezTo>
                  <a:pt x="146" y="155"/>
                  <a:pt x="150" y="155"/>
                  <a:pt x="153" y="155"/>
                </a:cubicBezTo>
                <a:cubicBezTo>
                  <a:pt x="153" y="155"/>
                  <a:pt x="153" y="155"/>
                  <a:pt x="153" y="155"/>
                </a:cubicBezTo>
                <a:cubicBezTo>
                  <a:pt x="183" y="155"/>
                  <a:pt x="212" y="162"/>
                  <a:pt x="236" y="171"/>
                </a:cubicBezTo>
                <a:cubicBezTo>
                  <a:pt x="236" y="171"/>
                  <a:pt x="236" y="171"/>
                  <a:pt x="236" y="171"/>
                </a:cubicBezTo>
                <a:cubicBezTo>
                  <a:pt x="261" y="180"/>
                  <a:pt x="282" y="192"/>
                  <a:pt x="296" y="203"/>
                </a:cubicBezTo>
                <a:cubicBezTo>
                  <a:pt x="296" y="203"/>
                  <a:pt x="296" y="203"/>
                  <a:pt x="296" y="203"/>
                </a:cubicBezTo>
                <a:cubicBezTo>
                  <a:pt x="302" y="208"/>
                  <a:pt x="309" y="214"/>
                  <a:pt x="316" y="221"/>
                </a:cubicBezTo>
                <a:cubicBezTo>
                  <a:pt x="316" y="221"/>
                  <a:pt x="316" y="221"/>
                  <a:pt x="316" y="221"/>
                </a:cubicBezTo>
                <a:cubicBezTo>
                  <a:pt x="322" y="227"/>
                  <a:pt x="329" y="233"/>
                  <a:pt x="334" y="237"/>
                </a:cubicBezTo>
                <a:cubicBezTo>
                  <a:pt x="334" y="237"/>
                  <a:pt x="334" y="237"/>
                  <a:pt x="334" y="237"/>
                </a:cubicBezTo>
                <a:cubicBezTo>
                  <a:pt x="337" y="240"/>
                  <a:pt x="340" y="242"/>
                  <a:pt x="340" y="242"/>
                </a:cubicBezTo>
                <a:cubicBezTo>
                  <a:pt x="340" y="242"/>
                  <a:pt x="340" y="242"/>
                  <a:pt x="340" y="242"/>
                </a:cubicBezTo>
                <a:cubicBezTo>
                  <a:pt x="340" y="242"/>
                  <a:pt x="340" y="242"/>
                  <a:pt x="340" y="242"/>
                </a:cubicBezTo>
                <a:cubicBezTo>
                  <a:pt x="340" y="242"/>
                  <a:pt x="340" y="242"/>
                  <a:pt x="340" y="242"/>
                </a:cubicBezTo>
                <a:cubicBezTo>
                  <a:pt x="343" y="243"/>
                  <a:pt x="351" y="246"/>
                  <a:pt x="359" y="249"/>
                </a:cubicBezTo>
                <a:cubicBezTo>
                  <a:pt x="359" y="249"/>
                  <a:pt x="359" y="249"/>
                  <a:pt x="359" y="249"/>
                </a:cubicBezTo>
                <a:cubicBezTo>
                  <a:pt x="367" y="253"/>
                  <a:pt x="377" y="259"/>
                  <a:pt x="385" y="267"/>
                </a:cubicBezTo>
                <a:cubicBezTo>
                  <a:pt x="385" y="267"/>
                  <a:pt x="385" y="267"/>
                  <a:pt x="385" y="267"/>
                </a:cubicBezTo>
                <a:cubicBezTo>
                  <a:pt x="390" y="272"/>
                  <a:pt x="395" y="279"/>
                  <a:pt x="398" y="288"/>
                </a:cubicBezTo>
                <a:cubicBezTo>
                  <a:pt x="398" y="288"/>
                  <a:pt x="398" y="288"/>
                  <a:pt x="398" y="288"/>
                </a:cubicBezTo>
                <a:cubicBezTo>
                  <a:pt x="400" y="295"/>
                  <a:pt x="402" y="303"/>
                  <a:pt x="402" y="311"/>
                </a:cubicBezTo>
                <a:cubicBezTo>
                  <a:pt x="402" y="311"/>
                  <a:pt x="402" y="311"/>
                  <a:pt x="402" y="311"/>
                </a:cubicBezTo>
                <a:cubicBezTo>
                  <a:pt x="403" y="319"/>
                  <a:pt x="404" y="327"/>
                  <a:pt x="404" y="335"/>
                </a:cubicBezTo>
                <a:cubicBezTo>
                  <a:pt x="404" y="335"/>
                  <a:pt x="404" y="335"/>
                  <a:pt x="404" y="335"/>
                </a:cubicBezTo>
                <a:cubicBezTo>
                  <a:pt x="404" y="354"/>
                  <a:pt x="402" y="371"/>
                  <a:pt x="402" y="371"/>
                </a:cubicBezTo>
                <a:cubicBezTo>
                  <a:pt x="402" y="371"/>
                  <a:pt x="402" y="371"/>
                  <a:pt x="402" y="371"/>
                </a:cubicBezTo>
                <a:cubicBezTo>
                  <a:pt x="401" y="378"/>
                  <a:pt x="395" y="383"/>
                  <a:pt x="389" y="383"/>
                </a:cubicBezTo>
                <a:cubicBezTo>
                  <a:pt x="389" y="383"/>
                  <a:pt x="389" y="383"/>
                  <a:pt x="389" y="383"/>
                </a:cubicBezTo>
                <a:cubicBezTo>
                  <a:pt x="355" y="383"/>
                  <a:pt x="355" y="383"/>
                  <a:pt x="355" y="383"/>
                </a:cubicBezTo>
                <a:cubicBezTo>
                  <a:pt x="349" y="391"/>
                  <a:pt x="342" y="396"/>
                  <a:pt x="335" y="400"/>
                </a:cubicBezTo>
                <a:cubicBezTo>
                  <a:pt x="335" y="400"/>
                  <a:pt x="335" y="400"/>
                  <a:pt x="335" y="400"/>
                </a:cubicBezTo>
                <a:cubicBezTo>
                  <a:pt x="326" y="404"/>
                  <a:pt x="316" y="406"/>
                  <a:pt x="308" y="406"/>
                </a:cubicBezTo>
                <a:cubicBezTo>
                  <a:pt x="308" y="406"/>
                  <a:pt x="308" y="406"/>
                  <a:pt x="308" y="406"/>
                </a:cubicBezTo>
                <a:cubicBezTo>
                  <a:pt x="292" y="406"/>
                  <a:pt x="278" y="398"/>
                  <a:pt x="268" y="388"/>
                </a:cubicBezTo>
                <a:cubicBezTo>
                  <a:pt x="268" y="388"/>
                  <a:pt x="268" y="388"/>
                  <a:pt x="268" y="388"/>
                </a:cubicBezTo>
                <a:cubicBezTo>
                  <a:pt x="258" y="378"/>
                  <a:pt x="252" y="364"/>
                  <a:pt x="252" y="349"/>
                </a:cubicBezTo>
                <a:cubicBezTo>
                  <a:pt x="252" y="349"/>
                  <a:pt x="252" y="349"/>
                  <a:pt x="252" y="349"/>
                </a:cubicBezTo>
                <a:cubicBezTo>
                  <a:pt x="251" y="338"/>
                  <a:pt x="256" y="332"/>
                  <a:pt x="262" y="332"/>
                </a:cubicBezTo>
                <a:cubicBezTo>
                  <a:pt x="274" y="331"/>
                  <a:pt x="277" y="339"/>
                  <a:pt x="280" y="356"/>
                </a:cubicBezTo>
                <a:cubicBezTo>
                  <a:pt x="281" y="362"/>
                  <a:pt x="283" y="366"/>
                  <a:pt x="287" y="370"/>
                </a:cubicBezTo>
                <a:cubicBezTo>
                  <a:pt x="287" y="370"/>
                  <a:pt x="287" y="370"/>
                  <a:pt x="287" y="370"/>
                </a:cubicBezTo>
                <a:cubicBezTo>
                  <a:pt x="293" y="376"/>
                  <a:pt x="300" y="379"/>
                  <a:pt x="308" y="379"/>
                </a:cubicBezTo>
                <a:cubicBezTo>
                  <a:pt x="308" y="379"/>
                  <a:pt x="308" y="379"/>
                  <a:pt x="308" y="379"/>
                </a:cubicBezTo>
                <a:cubicBezTo>
                  <a:pt x="313" y="379"/>
                  <a:pt x="319" y="378"/>
                  <a:pt x="324" y="376"/>
                </a:cubicBezTo>
                <a:cubicBezTo>
                  <a:pt x="324" y="376"/>
                  <a:pt x="324" y="376"/>
                  <a:pt x="324" y="376"/>
                </a:cubicBezTo>
                <a:cubicBezTo>
                  <a:pt x="328" y="373"/>
                  <a:pt x="332" y="370"/>
                  <a:pt x="336" y="364"/>
                </a:cubicBezTo>
                <a:cubicBezTo>
                  <a:pt x="336" y="364"/>
                  <a:pt x="336" y="364"/>
                  <a:pt x="336" y="364"/>
                </a:cubicBezTo>
                <a:cubicBezTo>
                  <a:pt x="338" y="359"/>
                  <a:pt x="342" y="357"/>
                  <a:pt x="347" y="357"/>
                </a:cubicBezTo>
                <a:cubicBezTo>
                  <a:pt x="347" y="357"/>
                  <a:pt x="347" y="357"/>
                  <a:pt x="347" y="357"/>
                </a:cubicBezTo>
                <a:cubicBezTo>
                  <a:pt x="376" y="356"/>
                  <a:pt x="376" y="356"/>
                  <a:pt x="376" y="356"/>
                </a:cubicBezTo>
                <a:cubicBezTo>
                  <a:pt x="377" y="351"/>
                  <a:pt x="377" y="343"/>
                  <a:pt x="377" y="335"/>
                </a:cubicBezTo>
                <a:cubicBezTo>
                  <a:pt x="377" y="335"/>
                  <a:pt x="377" y="335"/>
                  <a:pt x="377" y="335"/>
                </a:cubicBezTo>
                <a:cubicBezTo>
                  <a:pt x="377" y="328"/>
                  <a:pt x="377" y="320"/>
                  <a:pt x="376" y="313"/>
                </a:cubicBezTo>
                <a:cubicBezTo>
                  <a:pt x="376" y="313"/>
                  <a:pt x="376" y="313"/>
                  <a:pt x="376" y="313"/>
                </a:cubicBezTo>
                <a:cubicBezTo>
                  <a:pt x="375" y="307"/>
                  <a:pt x="374" y="300"/>
                  <a:pt x="373" y="296"/>
                </a:cubicBezTo>
                <a:cubicBezTo>
                  <a:pt x="373" y="296"/>
                  <a:pt x="373" y="296"/>
                  <a:pt x="373" y="296"/>
                </a:cubicBezTo>
                <a:cubicBezTo>
                  <a:pt x="371" y="290"/>
                  <a:pt x="366" y="285"/>
                  <a:pt x="360" y="281"/>
                </a:cubicBezTo>
                <a:cubicBezTo>
                  <a:pt x="360" y="281"/>
                  <a:pt x="360" y="281"/>
                  <a:pt x="360" y="281"/>
                </a:cubicBezTo>
                <a:cubicBezTo>
                  <a:pt x="354" y="277"/>
                  <a:pt x="347" y="273"/>
                  <a:pt x="341" y="271"/>
                </a:cubicBezTo>
                <a:cubicBezTo>
                  <a:pt x="341" y="271"/>
                  <a:pt x="341" y="271"/>
                  <a:pt x="341" y="271"/>
                </a:cubicBezTo>
                <a:cubicBezTo>
                  <a:pt x="337" y="269"/>
                  <a:pt x="333" y="268"/>
                  <a:pt x="330" y="267"/>
                </a:cubicBezTo>
                <a:cubicBezTo>
                  <a:pt x="330" y="267"/>
                  <a:pt x="330" y="267"/>
                  <a:pt x="330" y="267"/>
                </a:cubicBezTo>
                <a:cubicBezTo>
                  <a:pt x="325" y="265"/>
                  <a:pt x="322" y="262"/>
                  <a:pt x="317" y="258"/>
                </a:cubicBezTo>
                <a:cubicBezTo>
                  <a:pt x="317" y="258"/>
                  <a:pt x="317" y="258"/>
                  <a:pt x="317" y="258"/>
                </a:cubicBezTo>
                <a:cubicBezTo>
                  <a:pt x="313" y="255"/>
                  <a:pt x="309" y="251"/>
                  <a:pt x="305" y="247"/>
                </a:cubicBezTo>
                <a:cubicBezTo>
                  <a:pt x="305" y="247"/>
                  <a:pt x="305" y="247"/>
                  <a:pt x="305" y="247"/>
                </a:cubicBezTo>
                <a:cubicBezTo>
                  <a:pt x="296" y="238"/>
                  <a:pt x="287" y="229"/>
                  <a:pt x="279" y="224"/>
                </a:cubicBezTo>
                <a:cubicBezTo>
                  <a:pt x="279" y="224"/>
                  <a:pt x="279" y="224"/>
                  <a:pt x="279" y="224"/>
                </a:cubicBezTo>
                <a:cubicBezTo>
                  <a:pt x="268" y="215"/>
                  <a:pt x="249" y="204"/>
                  <a:pt x="227" y="196"/>
                </a:cubicBezTo>
                <a:cubicBezTo>
                  <a:pt x="227" y="196"/>
                  <a:pt x="227" y="196"/>
                  <a:pt x="227" y="196"/>
                </a:cubicBezTo>
                <a:cubicBezTo>
                  <a:pt x="205" y="188"/>
                  <a:pt x="180" y="182"/>
                  <a:pt x="156" y="182"/>
                </a:cubicBezTo>
                <a:cubicBezTo>
                  <a:pt x="156" y="182"/>
                  <a:pt x="156" y="182"/>
                  <a:pt x="156" y="182"/>
                </a:cubicBezTo>
                <a:cubicBezTo>
                  <a:pt x="156" y="196"/>
                  <a:pt x="156" y="196"/>
                  <a:pt x="156" y="196"/>
                </a:cubicBezTo>
                <a:cubicBezTo>
                  <a:pt x="157" y="196"/>
                  <a:pt x="157" y="196"/>
                  <a:pt x="158" y="196"/>
                </a:cubicBezTo>
                <a:cubicBezTo>
                  <a:pt x="158" y="196"/>
                  <a:pt x="158" y="196"/>
                  <a:pt x="158" y="196"/>
                </a:cubicBezTo>
                <a:cubicBezTo>
                  <a:pt x="171" y="196"/>
                  <a:pt x="191" y="198"/>
                  <a:pt x="214" y="206"/>
                </a:cubicBezTo>
                <a:cubicBezTo>
                  <a:pt x="214" y="206"/>
                  <a:pt x="214" y="206"/>
                  <a:pt x="214" y="206"/>
                </a:cubicBezTo>
                <a:cubicBezTo>
                  <a:pt x="237" y="213"/>
                  <a:pt x="263" y="227"/>
                  <a:pt x="287" y="252"/>
                </a:cubicBezTo>
                <a:cubicBezTo>
                  <a:pt x="287" y="252"/>
                  <a:pt x="287" y="252"/>
                  <a:pt x="287" y="252"/>
                </a:cubicBezTo>
                <a:cubicBezTo>
                  <a:pt x="291" y="255"/>
                  <a:pt x="292" y="261"/>
                  <a:pt x="290" y="266"/>
                </a:cubicBezTo>
                <a:cubicBezTo>
                  <a:pt x="290" y="266"/>
                  <a:pt x="290" y="266"/>
                  <a:pt x="290" y="266"/>
                </a:cubicBezTo>
                <a:cubicBezTo>
                  <a:pt x="288" y="271"/>
                  <a:pt x="283" y="274"/>
                  <a:pt x="278" y="274"/>
                </a:cubicBezTo>
                <a:cubicBezTo>
                  <a:pt x="278" y="274"/>
                  <a:pt x="278" y="274"/>
                  <a:pt x="278" y="274"/>
                </a:cubicBezTo>
                <a:cubicBezTo>
                  <a:pt x="278" y="274"/>
                  <a:pt x="243" y="274"/>
                  <a:pt x="207" y="274"/>
                </a:cubicBezTo>
                <a:cubicBezTo>
                  <a:pt x="207" y="274"/>
                  <a:pt x="207" y="274"/>
                  <a:pt x="207" y="274"/>
                </a:cubicBezTo>
                <a:cubicBezTo>
                  <a:pt x="172" y="274"/>
                  <a:pt x="134" y="274"/>
                  <a:pt x="128" y="274"/>
                </a:cubicBezTo>
                <a:cubicBezTo>
                  <a:pt x="128" y="274"/>
                  <a:pt x="128" y="274"/>
                  <a:pt x="128" y="274"/>
                </a:cubicBezTo>
                <a:cubicBezTo>
                  <a:pt x="118" y="274"/>
                  <a:pt x="109" y="269"/>
                  <a:pt x="103" y="263"/>
                </a:cubicBezTo>
                <a:cubicBezTo>
                  <a:pt x="103" y="263"/>
                  <a:pt x="103" y="263"/>
                  <a:pt x="103" y="263"/>
                </a:cubicBezTo>
                <a:cubicBezTo>
                  <a:pt x="97" y="257"/>
                  <a:pt x="93" y="249"/>
                  <a:pt x="93" y="239"/>
                </a:cubicBezTo>
                <a:cubicBezTo>
                  <a:pt x="93" y="239"/>
                  <a:pt x="93" y="239"/>
                  <a:pt x="93" y="239"/>
                </a:cubicBezTo>
                <a:cubicBezTo>
                  <a:pt x="93" y="235"/>
                  <a:pt x="93" y="209"/>
                  <a:pt x="93" y="191"/>
                </a:cubicBezTo>
                <a:cubicBezTo>
                  <a:pt x="93" y="191"/>
                  <a:pt x="93" y="191"/>
                  <a:pt x="93" y="191"/>
                </a:cubicBezTo>
                <a:cubicBezTo>
                  <a:pt x="90" y="192"/>
                  <a:pt x="88" y="193"/>
                  <a:pt x="85" y="194"/>
                </a:cubicBezTo>
                <a:cubicBezTo>
                  <a:pt x="85" y="194"/>
                  <a:pt x="85" y="194"/>
                  <a:pt x="85" y="194"/>
                </a:cubicBezTo>
                <a:cubicBezTo>
                  <a:pt x="72" y="201"/>
                  <a:pt x="56" y="214"/>
                  <a:pt x="43" y="241"/>
                </a:cubicBezTo>
                <a:cubicBezTo>
                  <a:pt x="43" y="241"/>
                  <a:pt x="43" y="241"/>
                  <a:pt x="43" y="241"/>
                </a:cubicBezTo>
                <a:cubicBezTo>
                  <a:pt x="35" y="259"/>
                  <a:pt x="29" y="284"/>
                  <a:pt x="28" y="317"/>
                </a:cubicBezTo>
                <a:cubicBezTo>
                  <a:pt x="28" y="317"/>
                  <a:pt x="28" y="317"/>
                  <a:pt x="28" y="317"/>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8"/>
                  <a:pt x="27" y="318"/>
                  <a:pt x="27" y="318"/>
                </a:cubicBezTo>
                <a:cubicBezTo>
                  <a:pt x="27" y="319"/>
                  <a:pt x="27" y="319"/>
                  <a:pt x="27" y="320"/>
                </a:cubicBezTo>
                <a:cubicBezTo>
                  <a:pt x="27" y="320"/>
                  <a:pt x="27" y="320"/>
                  <a:pt x="27" y="320"/>
                </a:cubicBezTo>
                <a:cubicBezTo>
                  <a:pt x="27" y="321"/>
                  <a:pt x="27" y="324"/>
                  <a:pt x="27" y="326"/>
                </a:cubicBezTo>
                <a:cubicBezTo>
                  <a:pt x="27" y="326"/>
                  <a:pt x="27" y="326"/>
                  <a:pt x="27" y="326"/>
                </a:cubicBezTo>
                <a:cubicBezTo>
                  <a:pt x="27" y="332"/>
                  <a:pt x="28" y="339"/>
                  <a:pt x="29" y="347"/>
                </a:cubicBezTo>
                <a:cubicBezTo>
                  <a:pt x="29" y="347"/>
                  <a:pt x="29" y="347"/>
                  <a:pt x="29" y="347"/>
                </a:cubicBezTo>
                <a:cubicBezTo>
                  <a:pt x="31" y="354"/>
                  <a:pt x="33" y="362"/>
                  <a:pt x="37" y="367"/>
                </a:cubicBezTo>
                <a:cubicBezTo>
                  <a:pt x="37" y="367"/>
                  <a:pt x="37" y="367"/>
                  <a:pt x="37" y="367"/>
                </a:cubicBezTo>
                <a:cubicBezTo>
                  <a:pt x="39" y="371"/>
                  <a:pt x="42" y="374"/>
                  <a:pt x="46" y="376"/>
                </a:cubicBezTo>
                <a:cubicBezTo>
                  <a:pt x="46" y="376"/>
                  <a:pt x="46" y="376"/>
                  <a:pt x="46" y="376"/>
                </a:cubicBezTo>
                <a:cubicBezTo>
                  <a:pt x="50" y="378"/>
                  <a:pt x="56" y="379"/>
                  <a:pt x="62" y="379"/>
                </a:cubicBezTo>
                <a:cubicBezTo>
                  <a:pt x="62" y="379"/>
                  <a:pt x="62" y="379"/>
                  <a:pt x="62" y="379"/>
                </a:cubicBezTo>
                <a:cubicBezTo>
                  <a:pt x="68" y="379"/>
                  <a:pt x="74" y="378"/>
                  <a:pt x="79" y="374"/>
                </a:cubicBezTo>
                <a:cubicBezTo>
                  <a:pt x="79" y="374"/>
                  <a:pt x="79" y="374"/>
                  <a:pt x="79" y="374"/>
                </a:cubicBezTo>
                <a:cubicBezTo>
                  <a:pt x="84" y="370"/>
                  <a:pt x="88" y="364"/>
                  <a:pt x="90" y="355"/>
                </a:cubicBezTo>
                <a:cubicBezTo>
                  <a:pt x="90" y="355"/>
                  <a:pt x="90" y="355"/>
                  <a:pt x="90" y="355"/>
                </a:cubicBezTo>
                <a:cubicBezTo>
                  <a:pt x="92" y="349"/>
                  <a:pt x="97" y="345"/>
                  <a:pt x="103" y="345"/>
                </a:cubicBezTo>
                <a:cubicBezTo>
                  <a:pt x="103" y="345"/>
                  <a:pt x="103" y="345"/>
                  <a:pt x="103" y="345"/>
                </a:cubicBezTo>
                <a:cubicBezTo>
                  <a:pt x="217" y="345"/>
                  <a:pt x="217" y="345"/>
                  <a:pt x="217" y="345"/>
                </a:cubicBezTo>
                <a:cubicBezTo>
                  <a:pt x="223" y="345"/>
                  <a:pt x="228" y="348"/>
                  <a:pt x="230" y="354"/>
                </a:cubicBezTo>
                <a:cubicBezTo>
                  <a:pt x="230" y="354"/>
                  <a:pt x="230" y="354"/>
                  <a:pt x="230" y="354"/>
                </a:cubicBezTo>
                <a:cubicBezTo>
                  <a:pt x="230" y="354"/>
                  <a:pt x="230" y="354"/>
                  <a:pt x="230" y="354"/>
                </a:cubicBezTo>
                <a:cubicBezTo>
                  <a:pt x="230" y="354"/>
                  <a:pt x="230" y="354"/>
                  <a:pt x="230" y="354"/>
                </a:cubicBezTo>
                <a:cubicBezTo>
                  <a:pt x="230" y="354"/>
                  <a:pt x="230" y="354"/>
                  <a:pt x="230" y="354"/>
                </a:cubicBezTo>
                <a:cubicBezTo>
                  <a:pt x="230" y="354"/>
                  <a:pt x="230" y="355"/>
                  <a:pt x="230" y="355"/>
                </a:cubicBezTo>
                <a:cubicBezTo>
                  <a:pt x="230" y="355"/>
                  <a:pt x="230" y="355"/>
                  <a:pt x="230" y="355"/>
                </a:cubicBezTo>
                <a:cubicBezTo>
                  <a:pt x="231" y="357"/>
                  <a:pt x="232" y="358"/>
                  <a:pt x="233" y="361"/>
                </a:cubicBezTo>
                <a:cubicBezTo>
                  <a:pt x="233" y="361"/>
                  <a:pt x="233" y="361"/>
                  <a:pt x="233" y="361"/>
                </a:cubicBezTo>
                <a:cubicBezTo>
                  <a:pt x="235" y="365"/>
                  <a:pt x="238" y="372"/>
                  <a:pt x="242" y="379"/>
                </a:cubicBezTo>
                <a:cubicBezTo>
                  <a:pt x="242" y="379"/>
                  <a:pt x="242" y="379"/>
                  <a:pt x="242" y="379"/>
                </a:cubicBezTo>
                <a:cubicBezTo>
                  <a:pt x="251" y="393"/>
                  <a:pt x="265" y="410"/>
                  <a:pt x="284" y="420"/>
                </a:cubicBezTo>
                <a:cubicBezTo>
                  <a:pt x="284" y="420"/>
                  <a:pt x="284" y="420"/>
                  <a:pt x="284" y="420"/>
                </a:cubicBezTo>
                <a:cubicBezTo>
                  <a:pt x="297" y="428"/>
                  <a:pt x="312" y="432"/>
                  <a:pt x="331" y="432"/>
                </a:cubicBezTo>
                <a:cubicBezTo>
                  <a:pt x="331" y="432"/>
                  <a:pt x="331" y="432"/>
                  <a:pt x="331" y="432"/>
                </a:cubicBezTo>
                <a:cubicBezTo>
                  <a:pt x="350" y="432"/>
                  <a:pt x="366" y="429"/>
                  <a:pt x="379" y="423"/>
                </a:cubicBezTo>
                <a:cubicBezTo>
                  <a:pt x="379" y="423"/>
                  <a:pt x="379" y="423"/>
                  <a:pt x="379" y="423"/>
                </a:cubicBezTo>
                <a:cubicBezTo>
                  <a:pt x="392" y="416"/>
                  <a:pt x="402" y="408"/>
                  <a:pt x="410" y="398"/>
                </a:cubicBezTo>
                <a:cubicBezTo>
                  <a:pt x="410" y="398"/>
                  <a:pt x="410" y="398"/>
                  <a:pt x="410" y="398"/>
                </a:cubicBezTo>
                <a:cubicBezTo>
                  <a:pt x="426" y="378"/>
                  <a:pt x="434" y="352"/>
                  <a:pt x="434" y="330"/>
                </a:cubicBezTo>
                <a:cubicBezTo>
                  <a:pt x="434" y="330"/>
                  <a:pt x="434" y="330"/>
                  <a:pt x="434" y="330"/>
                </a:cubicBezTo>
                <a:cubicBezTo>
                  <a:pt x="434" y="309"/>
                  <a:pt x="425" y="284"/>
                  <a:pt x="410" y="259"/>
                </a:cubicBezTo>
                <a:cubicBezTo>
                  <a:pt x="410" y="259"/>
                  <a:pt x="410" y="259"/>
                  <a:pt x="410" y="259"/>
                </a:cubicBezTo>
                <a:cubicBezTo>
                  <a:pt x="395" y="235"/>
                  <a:pt x="374" y="211"/>
                  <a:pt x="351" y="191"/>
                </a:cubicBezTo>
                <a:cubicBezTo>
                  <a:pt x="351" y="191"/>
                  <a:pt x="351" y="191"/>
                  <a:pt x="351" y="191"/>
                </a:cubicBezTo>
                <a:cubicBezTo>
                  <a:pt x="347" y="188"/>
                  <a:pt x="345" y="183"/>
                  <a:pt x="346" y="179"/>
                </a:cubicBezTo>
                <a:cubicBezTo>
                  <a:pt x="346" y="179"/>
                  <a:pt x="346" y="179"/>
                  <a:pt x="346" y="179"/>
                </a:cubicBezTo>
                <a:cubicBezTo>
                  <a:pt x="347" y="174"/>
                  <a:pt x="350" y="170"/>
                  <a:pt x="355" y="168"/>
                </a:cubicBezTo>
                <a:cubicBezTo>
                  <a:pt x="355" y="168"/>
                  <a:pt x="355" y="168"/>
                  <a:pt x="355" y="168"/>
                </a:cubicBezTo>
                <a:cubicBezTo>
                  <a:pt x="355" y="168"/>
                  <a:pt x="355" y="168"/>
                  <a:pt x="355" y="168"/>
                </a:cubicBezTo>
                <a:cubicBezTo>
                  <a:pt x="355" y="168"/>
                  <a:pt x="355" y="168"/>
                  <a:pt x="355" y="168"/>
                </a:cubicBezTo>
                <a:cubicBezTo>
                  <a:pt x="355" y="168"/>
                  <a:pt x="355" y="168"/>
                  <a:pt x="356" y="168"/>
                </a:cubicBezTo>
                <a:cubicBezTo>
                  <a:pt x="356" y="168"/>
                  <a:pt x="356" y="168"/>
                  <a:pt x="356" y="168"/>
                </a:cubicBezTo>
                <a:cubicBezTo>
                  <a:pt x="356" y="168"/>
                  <a:pt x="357" y="168"/>
                  <a:pt x="358" y="167"/>
                </a:cubicBezTo>
                <a:cubicBezTo>
                  <a:pt x="358" y="167"/>
                  <a:pt x="358" y="167"/>
                  <a:pt x="358" y="167"/>
                </a:cubicBezTo>
                <a:cubicBezTo>
                  <a:pt x="360" y="167"/>
                  <a:pt x="363" y="165"/>
                  <a:pt x="366" y="164"/>
                </a:cubicBezTo>
                <a:cubicBezTo>
                  <a:pt x="366" y="164"/>
                  <a:pt x="366" y="164"/>
                  <a:pt x="366" y="164"/>
                </a:cubicBezTo>
                <a:cubicBezTo>
                  <a:pt x="372" y="161"/>
                  <a:pt x="380" y="157"/>
                  <a:pt x="385" y="153"/>
                </a:cubicBezTo>
                <a:cubicBezTo>
                  <a:pt x="385" y="153"/>
                  <a:pt x="385" y="153"/>
                  <a:pt x="385" y="153"/>
                </a:cubicBezTo>
                <a:cubicBezTo>
                  <a:pt x="389" y="151"/>
                  <a:pt x="391" y="148"/>
                  <a:pt x="391" y="148"/>
                </a:cubicBezTo>
                <a:cubicBezTo>
                  <a:pt x="391" y="148"/>
                  <a:pt x="391" y="148"/>
                  <a:pt x="391" y="148"/>
                </a:cubicBezTo>
                <a:cubicBezTo>
                  <a:pt x="392" y="145"/>
                  <a:pt x="394" y="139"/>
                  <a:pt x="395" y="132"/>
                </a:cubicBezTo>
                <a:cubicBezTo>
                  <a:pt x="395" y="132"/>
                  <a:pt x="395" y="132"/>
                  <a:pt x="395" y="132"/>
                </a:cubicBezTo>
                <a:cubicBezTo>
                  <a:pt x="396" y="125"/>
                  <a:pt x="396" y="118"/>
                  <a:pt x="396" y="111"/>
                </a:cubicBezTo>
                <a:cubicBezTo>
                  <a:pt x="396" y="111"/>
                  <a:pt x="396" y="111"/>
                  <a:pt x="396" y="111"/>
                </a:cubicBezTo>
                <a:cubicBezTo>
                  <a:pt x="396" y="104"/>
                  <a:pt x="396" y="99"/>
                  <a:pt x="396" y="95"/>
                </a:cubicBezTo>
                <a:cubicBezTo>
                  <a:pt x="396" y="95"/>
                  <a:pt x="396" y="95"/>
                  <a:pt x="396" y="95"/>
                </a:cubicBezTo>
                <a:cubicBezTo>
                  <a:pt x="395" y="95"/>
                  <a:pt x="393" y="95"/>
                  <a:pt x="392" y="95"/>
                </a:cubicBezTo>
                <a:cubicBezTo>
                  <a:pt x="392" y="95"/>
                  <a:pt x="392" y="95"/>
                  <a:pt x="392"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91" y="95"/>
                  <a:pt x="391" y="95"/>
                  <a:pt x="391" y="95"/>
                </a:cubicBezTo>
                <a:cubicBezTo>
                  <a:pt x="387" y="95"/>
                  <a:pt x="384" y="94"/>
                  <a:pt x="381" y="91"/>
                </a:cubicBezTo>
                <a:cubicBezTo>
                  <a:pt x="381" y="91"/>
                  <a:pt x="381" y="91"/>
                  <a:pt x="381" y="91"/>
                </a:cubicBezTo>
                <a:cubicBezTo>
                  <a:pt x="378" y="89"/>
                  <a:pt x="377" y="85"/>
                  <a:pt x="377" y="81"/>
                </a:cubicBezTo>
                <a:cubicBezTo>
                  <a:pt x="377" y="81"/>
                  <a:pt x="377" y="81"/>
                  <a:pt x="377" y="81"/>
                </a:cubicBezTo>
                <a:cubicBezTo>
                  <a:pt x="377" y="81"/>
                  <a:pt x="377" y="40"/>
                  <a:pt x="377" y="32"/>
                </a:cubicBezTo>
                <a:cubicBezTo>
                  <a:pt x="377" y="32"/>
                  <a:pt x="377" y="32"/>
                  <a:pt x="377" y="32"/>
                </a:cubicBezTo>
                <a:cubicBezTo>
                  <a:pt x="377" y="30"/>
                  <a:pt x="376" y="28"/>
                  <a:pt x="375" y="28"/>
                </a:cubicBezTo>
                <a:cubicBezTo>
                  <a:pt x="375" y="28"/>
                  <a:pt x="375" y="28"/>
                  <a:pt x="375" y="28"/>
                </a:cubicBezTo>
                <a:cubicBezTo>
                  <a:pt x="375" y="27"/>
                  <a:pt x="374" y="27"/>
                  <a:pt x="373" y="27"/>
                </a:cubicBezTo>
                <a:cubicBezTo>
                  <a:pt x="373" y="27"/>
                  <a:pt x="373" y="27"/>
                  <a:pt x="373" y="27"/>
                </a:cubicBezTo>
                <a:cubicBezTo>
                  <a:pt x="371" y="27"/>
                  <a:pt x="370" y="27"/>
                  <a:pt x="369" y="28"/>
                </a:cubicBezTo>
                <a:cubicBezTo>
                  <a:pt x="369" y="28"/>
                  <a:pt x="369" y="28"/>
                  <a:pt x="369" y="28"/>
                </a:cubicBezTo>
                <a:cubicBezTo>
                  <a:pt x="369" y="28"/>
                  <a:pt x="368" y="29"/>
                  <a:pt x="368" y="32"/>
                </a:cubicBezTo>
                <a:cubicBezTo>
                  <a:pt x="368" y="32"/>
                  <a:pt x="368" y="32"/>
                  <a:pt x="368" y="32"/>
                </a:cubicBezTo>
                <a:cubicBezTo>
                  <a:pt x="368" y="41"/>
                  <a:pt x="368" y="76"/>
                  <a:pt x="368" y="81"/>
                </a:cubicBezTo>
                <a:cubicBezTo>
                  <a:pt x="368" y="81"/>
                  <a:pt x="368" y="81"/>
                  <a:pt x="368" y="81"/>
                </a:cubicBezTo>
                <a:cubicBezTo>
                  <a:pt x="368" y="85"/>
                  <a:pt x="367" y="88"/>
                  <a:pt x="364" y="90"/>
                </a:cubicBezTo>
                <a:cubicBezTo>
                  <a:pt x="364" y="90"/>
                  <a:pt x="364" y="90"/>
                  <a:pt x="364" y="90"/>
                </a:cubicBezTo>
                <a:cubicBezTo>
                  <a:pt x="362" y="93"/>
                  <a:pt x="358" y="94"/>
                  <a:pt x="355" y="94"/>
                </a:cubicBezTo>
                <a:cubicBezTo>
                  <a:pt x="355" y="94"/>
                  <a:pt x="355" y="94"/>
                  <a:pt x="355" y="94"/>
                </a:cubicBezTo>
                <a:cubicBezTo>
                  <a:pt x="321" y="94"/>
                  <a:pt x="321" y="94"/>
                  <a:pt x="321" y="94"/>
                </a:cubicBezTo>
                <a:cubicBezTo>
                  <a:pt x="317" y="94"/>
                  <a:pt x="314" y="93"/>
                  <a:pt x="312" y="90"/>
                </a:cubicBezTo>
                <a:cubicBezTo>
                  <a:pt x="312" y="90"/>
                  <a:pt x="312" y="90"/>
                  <a:pt x="312" y="90"/>
                </a:cubicBezTo>
                <a:cubicBezTo>
                  <a:pt x="309" y="88"/>
                  <a:pt x="308" y="85"/>
                  <a:pt x="308" y="81"/>
                </a:cubicBezTo>
                <a:cubicBezTo>
                  <a:pt x="308" y="81"/>
                  <a:pt x="308" y="81"/>
                  <a:pt x="308" y="81"/>
                </a:cubicBezTo>
                <a:cubicBezTo>
                  <a:pt x="308" y="81"/>
                  <a:pt x="308" y="42"/>
                  <a:pt x="308" y="32"/>
                </a:cubicBezTo>
                <a:cubicBezTo>
                  <a:pt x="308" y="32"/>
                  <a:pt x="308" y="32"/>
                  <a:pt x="308" y="32"/>
                </a:cubicBezTo>
                <a:cubicBezTo>
                  <a:pt x="308" y="29"/>
                  <a:pt x="307" y="28"/>
                  <a:pt x="306" y="28"/>
                </a:cubicBezTo>
                <a:cubicBezTo>
                  <a:pt x="306" y="28"/>
                  <a:pt x="306" y="28"/>
                  <a:pt x="306" y="28"/>
                </a:cubicBezTo>
                <a:cubicBezTo>
                  <a:pt x="306" y="27"/>
                  <a:pt x="305" y="27"/>
                  <a:pt x="304" y="27"/>
                </a:cubicBezTo>
                <a:cubicBezTo>
                  <a:pt x="304" y="27"/>
                  <a:pt x="304" y="27"/>
                  <a:pt x="304" y="27"/>
                </a:cubicBezTo>
                <a:cubicBezTo>
                  <a:pt x="302" y="27"/>
                  <a:pt x="301" y="27"/>
                  <a:pt x="300" y="28"/>
                </a:cubicBezTo>
                <a:cubicBezTo>
                  <a:pt x="300" y="28"/>
                  <a:pt x="300" y="28"/>
                  <a:pt x="300" y="28"/>
                </a:cubicBezTo>
                <a:cubicBezTo>
                  <a:pt x="300" y="28"/>
                  <a:pt x="299" y="29"/>
                  <a:pt x="299" y="32"/>
                </a:cubicBezTo>
                <a:cubicBezTo>
                  <a:pt x="299" y="32"/>
                  <a:pt x="299" y="32"/>
                  <a:pt x="299" y="32"/>
                </a:cubicBezTo>
                <a:cubicBezTo>
                  <a:pt x="299" y="41"/>
                  <a:pt x="299" y="74"/>
                  <a:pt x="299" y="82"/>
                </a:cubicBezTo>
                <a:cubicBezTo>
                  <a:pt x="299" y="82"/>
                  <a:pt x="299" y="82"/>
                  <a:pt x="299" y="82"/>
                </a:cubicBezTo>
                <a:cubicBezTo>
                  <a:pt x="299" y="86"/>
                  <a:pt x="297" y="89"/>
                  <a:pt x="294" y="92"/>
                </a:cubicBezTo>
                <a:cubicBezTo>
                  <a:pt x="294" y="92"/>
                  <a:pt x="294" y="92"/>
                  <a:pt x="294" y="92"/>
                </a:cubicBezTo>
                <a:cubicBezTo>
                  <a:pt x="291" y="94"/>
                  <a:pt x="288" y="95"/>
                  <a:pt x="284" y="95"/>
                </a:cubicBezTo>
                <a:cubicBezTo>
                  <a:pt x="284" y="95"/>
                  <a:pt x="284" y="95"/>
                  <a:pt x="284" y="95"/>
                </a:cubicBezTo>
                <a:cubicBezTo>
                  <a:pt x="284" y="95"/>
                  <a:pt x="284" y="95"/>
                  <a:pt x="284" y="95"/>
                </a:cubicBezTo>
                <a:cubicBezTo>
                  <a:pt x="284" y="95"/>
                  <a:pt x="283" y="95"/>
                  <a:pt x="283" y="95"/>
                </a:cubicBezTo>
                <a:cubicBezTo>
                  <a:pt x="283" y="95"/>
                  <a:pt x="283" y="95"/>
                  <a:pt x="283" y="95"/>
                </a:cubicBezTo>
                <a:cubicBezTo>
                  <a:pt x="282" y="95"/>
                  <a:pt x="281" y="95"/>
                  <a:pt x="280" y="95"/>
                </a:cubicBezTo>
                <a:cubicBezTo>
                  <a:pt x="280" y="95"/>
                  <a:pt x="280" y="95"/>
                  <a:pt x="280" y="95"/>
                </a:cubicBezTo>
                <a:cubicBezTo>
                  <a:pt x="280" y="98"/>
                  <a:pt x="280" y="102"/>
                  <a:pt x="280" y="106"/>
                </a:cubicBezTo>
                <a:cubicBezTo>
                  <a:pt x="280" y="106"/>
                  <a:pt x="280" y="106"/>
                  <a:pt x="280" y="106"/>
                </a:cubicBezTo>
                <a:cubicBezTo>
                  <a:pt x="280" y="116"/>
                  <a:pt x="280" y="130"/>
                  <a:pt x="281" y="139"/>
                </a:cubicBezTo>
                <a:cubicBezTo>
                  <a:pt x="281" y="139"/>
                  <a:pt x="281" y="139"/>
                  <a:pt x="281" y="139"/>
                </a:cubicBezTo>
                <a:cubicBezTo>
                  <a:pt x="281" y="142"/>
                  <a:pt x="282" y="144"/>
                  <a:pt x="282" y="145"/>
                </a:cubicBezTo>
                <a:cubicBezTo>
                  <a:pt x="282" y="145"/>
                  <a:pt x="282" y="145"/>
                  <a:pt x="282" y="145"/>
                </a:cubicBezTo>
                <a:cubicBezTo>
                  <a:pt x="282" y="145"/>
                  <a:pt x="282" y="145"/>
                  <a:pt x="282" y="145"/>
                </a:cubicBezTo>
                <a:cubicBezTo>
                  <a:pt x="282" y="145"/>
                  <a:pt x="282" y="145"/>
                  <a:pt x="282" y="145"/>
                </a:cubicBezTo>
                <a:cubicBezTo>
                  <a:pt x="283" y="148"/>
                  <a:pt x="285" y="150"/>
                  <a:pt x="287" y="152"/>
                </a:cubicBezTo>
                <a:cubicBezTo>
                  <a:pt x="287" y="152"/>
                  <a:pt x="287" y="152"/>
                  <a:pt x="287" y="152"/>
                </a:cubicBezTo>
                <a:cubicBezTo>
                  <a:pt x="289" y="154"/>
                  <a:pt x="293" y="156"/>
                  <a:pt x="296" y="158"/>
                </a:cubicBezTo>
                <a:cubicBezTo>
                  <a:pt x="296" y="158"/>
                  <a:pt x="296" y="158"/>
                  <a:pt x="296" y="158"/>
                </a:cubicBezTo>
                <a:cubicBezTo>
                  <a:pt x="303" y="162"/>
                  <a:pt x="312" y="165"/>
                  <a:pt x="318" y="167"/>
                </a:cubicBezTo>
                <a:cubicBezTo>
                  <a:pt x="318" y="167"/>
                  <a:pt x="318" y="167"/>
                  <a:pt x="318" y="167"/>
                </a:cubicBezTo>
                <a:cubicBezTo>
                  <a:pt x="325" y="169"/>
                  <a:pt x="330" y="176"/>
                  <a:pt x="328" y="183"/>
                </a:cubicBezTo>
                <a:cubicBezTo>
                  <a:pt x="328" y="183"/>
                  <a:pt x="328" y="183"/>
                  <a:pt x="328" y="183"/>
                </a:cubicBezTo>
                <a:cubicBezTo>
                  <a:pt x="326" y="190"/>
                  <a:pt x="318" y="194"/>
                  <a:pt x="311" y="192"/>
                </a:cubicBezTo>
                <a:cubicBezTo>
                  <a:pt x="311" y="192"/>
                  <a:pt x="311" y="192"/>
                  <a:pt x="311" y="192"/>
                </a:cubicBezTo>
                <a:cubicBezTo>
                  <a:pt x="300" y="189"/>
                  <a:pt x="283" y="184"/>
                  <a:pt x="269" y="172"/>
                </a:cubicBezTo>
                <a:cubicBezTo>
                  <a:pt x="269" y="172"/>
                  <a:pt x="269" y="172"/>
                  <a:pt x="269" y="172"/>
                </a:cubicBezTo>
                <a:cubicBezTo>
                  <a:pt x="264" y="167"/>
                  <a:pt x="260" y="162"/>
                  <a:pt x="257" y="156"/>
                </a:cubicBezTo>
                <a:cubicBezTo>
                  <a:pt x="257" y="156"/>
                  <a:pt x="257" y="156"/>
                  <a:pt x="257" y="156"/>
                </a:cubicBezTo>
                <a:cubicBezTo>
                  <a:pt x="256" y="154"/>
                  <a:pt x="256" y="152"/>
                  <a:pt x="256" y="150"/>
                </a:cubicBezTo>
                <a:cubicBezTo>
                  <a:pt x="256" y="150"/>
                  <a:pt x="256" y="150"/>
                  <a:pt x="256" y="150"/>
                </a:cubicBezTo>
                <a:cubicBezTo>
                  <a:pt x="255" y="148"/>
                  <a:pt x="255" y="147"/>
                  <a:pt x="255" y="145"/>
                </a:cubicBezTo>
                <a:cubicBezTo>
                  <a:pt x="255" y="145"/>
                  <a:pt x="255" y="145"/>
                  <a:pt x="255" y="145"/>
                </a:cubicBezTo>
                <a:cubicBezTo>
                  <a:pt x="254" y="141"/>
                  <a:pt x="254" y="137"/>
                  <a:pt x="254" y="132"/>
                </a:cubicBezTo>
                <a:cubicBezTo>
                  <a:pt x="254" y="132"/>
                  <a:pt x="254" y="132"/>
                  <a:pt x="254" y="132"/>
                </a:cubicBezTo>
                <a:cubicBezTo>
                  <a:pt x="253" y="124"/>
                  <a:pt x="253" y="114"/>
                  <a:pt x="253" y="106"/>
                </a:cubicBezTo>
                <a:cubicBezTo>
                  <a:pt x="253" y="106"/>
                  <a:pt x="253" y="106"/>
                  <a:pt x="253" y="106"/>
                </a:cubicBezTo>
                <a:cubicBezTo>
                  <a:pt x="253" y="101"/>
                  <a:pt x="253" y="97"/>
                  <a:pt x="253" y="94"/>
                </a:cubicBezTo>
                <a:cubicBezTo>
                  <a:pt x="253" y="94"/>
                  <a:pt x="253" y="94"/>
                  <a:pt x="253" y="94"/>
                </a:cubicBezTo>
                <a:cubicBezTo>
                  <a:pt x="253" y="89"/>
                  <a:pt x="255" y="84"/>
                  <a:pt x="257" y="81"/>
                </a:cubicBezTo>
                <a:cubicBezTo>
                  <a:pt x="257" y="81"/>
                  <a:pt x="257" y="81"/>
                  <a:pt x="257" y="81"/>
                </a:cubicBezTo>
                <a:cubicBezTo>
                  <a:pt x="260" y="77"/>
                  <a:pt x="263" y="74"/>
                  <a:pt x="266" y="72"/>
                </a:cubicBezTo>
                <a:cubicBezTo>
                  <a:pt x="266" y="72"/>
                  <a:pt x="266" y="72"/>
                  <a:pt x="266" y="72"/>
                </a:cubicBezTo>
                <a:cubicBezTo>
                  <a:pt x="268" y="71"/>
                  <a:pt x="270" y="70"/>
                  <a:pt x="272" y="70"/>
                </a:cubicBezTo>
                <a:cubicBezTo>
                  <a:pt x="272" y="70"/>
                  <a:pt x="272" y="70"/>
                  <a:pt x="272" y="70"/>
                </a:cubicBezTo>
                <a:cubicBezTo>
                  <a:pt x="272" y="57"/>
                  <a:pt x="272" y="38"/>
                  <a:pt x="272" y="32"/>
                </a:cubicBezTo>
                <a:cubicBezTo>
                  <a:pt x="272" y="32"/>
                  <a:pt x="272" y="32"/>
                  <a:pt x="272" y="32"/>
                </a:cubicBezTo>
                <a:cubicBezTo>
                  <a:pt x="272" y="23"/>
                  <a:pt x="276" y="14"/>
                  <a:pt x="282" y="8"/>
                </a:cubicBezTo>
                <a:cubicBezTo>
                  <a:pt x="282" y="8"/>
                  <a:pt x="282" y="8"/>
                  <a:pt x="282" y="8"/>
                </a:cubicBezTo>
                <a:cubicBezTo>
                  <a:pt x="289" y="2"/>
                  <a:pt x="296" y="0"/>
                  <a:pt x="304" y="0"/>
                </a:cubicBezTo>
                <a:cubicBezTo>
                  <a:pt x="304" y="0"/>
                  <a:pt x="304" y="0"/>
                  <a:pt x="304" y="0"/>
                </a:cubicBezTo>
                <a:cubicBezTo>
                  <a:pt x="312" y="0"/>
                  <a:pt x="320" y="3"/>
                  <a:pt x="325" y="9"/>
                </a:cubicBezTo>
                <a:cubicBezTo>
                  <a:pt x="325" y="9"/>
                  <a:pt x="325" y="9"/>
                  <a:pt x="325" y="9"/>
                </a:cubicBezTo>
                <a:cubicBezTo>
                  <a:pt x="331" y="15"/>
                  <a:pt x="334" y="23"/>
                  <a:pt x="334" y="32"/>
                </a:cubicBezTo>
                <a:cubicBezTo>
                  <a:pt x="334" y="32"/>
                  <a:pt x="334" y="32"/>
                  <a:pt x="334" y="32"/>
                </a:cubicBezTo>
                <a:cubicBezTo>
                  <a:pt x="334" y="38"/>
                  <a:pt x="334" y="55"/>
                  <a:pt x="334" y="68"/>
                </a:cubicBezTo>
                <a:cubicBezTo>
                  <a:pt x="334" y="68"/>
                  <a:pt x="334" y="68"/>
                  <a:pt x="334" y="68"/>
                </a:cubicBezTo>
                <a:cubicBezTo>
                  <a:pt x="342" y="68"/>
                  <a:pt x="342" y="68"/>
                  <a:pt x="342" y="68"/>
                </a:cubicBezTo>
                <a:cubicBezTo>
                  <a:pt x="342" y="55"/>
                  <a:pt x="342" y="38"/>
                  <a:pt x="342" y="32"/>
                </a:cubicBezTo>
                <a:cubicBezTo>
                  <a:pt x="342" y="32"/>
                  <a:pt x="342" y="32"/>
                  <a:pt x="342" y="32"/>
                </a:cubicBezTo>
                <a:cubicBezTo>
                  <a:pt x="342" y="23"/>
                  <a:pt x="345" y="15"/>
                  <a:pt x="351" y="9"/>
                </a:cubicBezTo>
                <a:cubicBezTo>
                  <a:pt x="351" y="9"/>
                  <a:pt x="351" y="9"/>
                  <a:pt x="351" y="9"/>
                </a:cubicBezTo>
                <a:cubicBezTo>
                  <a:pt x="356" y="3"/>
                  <a:pt x="365" y="0"/>
                  <a:pt x="373" y="0"/>
                </a:cubicBezTo>
                <a:cubicBezTo>
                  <a:pt x="373" y="0"/>
                  <a:pt x="373" y="0"/>
                  <a:pt x="373" y="0"/>
                </a:cubicBezTo>
                <a:cubicBezTo>
                  <a:pt x="381" y="0"/>
                  <a:pt x="389" y="4"/>
                  <a:pt x="395" y="10"/>
                </a:cubicBezTo>
                <a:cubicBezTo>
                  <a:pt x="395" y="10"/>
                  <a:pt x="395" y="10"/>
                  <a:pt x="395" y="10"/>
                </a:cubicBezTo>
                <a:cubicBezTo>
                  <a:pt x="400" y="16"/>
                  <a:pt x="403" y="24"/>
                  <a:pt x="403" y="32"/>
                </a:cubicBezTo>
                <a:cubicBezTo>
                  <a:pt x="403" y="32"/>
                  <a:pt x="403" y="32"/>
                  <a:pt x="403" y="32"/>
                </a:cubicBezTo>
                <a:cubicBezTo>
                  <a:pt x="403" y="37"/>
                  <a:pt x="403" y="57"/>
                  <a:pt x="403" y="70"/>
                </a:cubicBezTo>
                <a:cubicBezTo>
                  <a:pt x="403" y="70"/>
                  <a:pt x="403" y="70"/>
                  <a:pt x="403" y="70"/>
                </a:cubicBezTo>
                <a:cubicBezTo>
                  <a:pt x="408" y="71"/>
                  <a:pt x="414" y="74"/>
                  <a:pt x="418" y="80"/>
                </a:cubicBezTo>
                <a:cubicBezTo>
                  <a:pt x="418" y="80"/>
                  <a:pt x="418" y="80"/>
                  <a:pt x="418" y="80"/>
                </a:cubicBezTo>
                <a:cubicBezTo>
                  <a:pt x="421" y="84"/>
                  <a:pt x="422" y="89"/>
                  <a:pt x="422" y="95"/>
                </a:cubicBezTo>
                <a:cubicBezTo>
                  <a:pt x="422" y="95"/>
                  <a:pt x="422" y="95"/>
                  <a:pt x="422" y="95"/>
                </a:cubicBezTo>
                <a:cubicBezTo>
                  <a:pt x="422" y="98"/>
                  <a:pt x="422" y="104"/>
                  <a:pt x="422" y="111"/>
                </a:cubicBezTo>
                <a:cubicBezTo>
                  <a:pt x="422" y="111"/>
                  <a:pt x="422" y="111"/>
                  <a:pt x="422" y="111"/>
                </a:cubicBezTo>
                <a:cubicBezTo>
                  <a:pt x="422" y="118"/>
                  <a:pt x="422" y="127"/>
                  <a:pt x="421" y="135"/>
                </a:cubicBezTo>
                <a:cubicBezTo>
                  <a:pt x="421" y="135"/>
                  <a:pt x="421" y="135"/>
                  <a:pt x="421" y="135"/>
                </a:cubicBezTo>
                <a:cubicBezTo>
                  <a:pt x="420" y="144"/>
                  <a:pt x="419" y="152"/>
                  <a:pt x="415" y="160"/>
                </a:cubicBezTo>
                <a:cubicBezTo>
                  <a:pt x="415" y="160"/>
                  <a:pt x="415" y="160"/>
                  <a:pt x="415" y="160"/>
                </a:cubicBezTo>
                <a:cubicBezTo>
                  <a:pt x="411" y="167"/>
                  <a:pt x="406" y="171"/>
                  <a:pt x="401" y="175"/>
                </a:cubicBezTo>
                <a:cubicBezTo>
                  <a:pt x="401" y="175"/>
                  <a:pt x="401" y="175"/>
                  <a:pt x="401" y="175"/>
                </a:cubicBezTo>
                <a:cubicBezTo>
                  <a:pt x="395" y="179"/>
                  <a:pt x="390" y="182"/>
                  <a:pt x="384" y="185"/>
                </a:cubicBezTo>
                <a:cubicBezTo>
                  <a:pt x="384" y="185"/>
                  <a:pt x="384" y="185"/>
                  <a:pt x="384" y="185"/>
                </a:cubicBezTo>
                <a:cubicBezTo>
                  <a:pt x="384" y="185"/>
                  <a:pt x="384" y="185"/>
                  <a:pt x="384" y="185"/>
                </a:cubicBezTo>
                <a:cubicBezTo>
                  <a:pt x="384" y="185"/>
                  <a:pt x="384" y="185"/>
                  <a:pt x="384" y="185"/>
                </a:cubicBezTo>
                <a:cubicBezTo>
                  <a:pt x="403" y="203"/>
                  <a:pt x="420" y="224"/>
                  <a:pt x="433" y="245"/>
                </a:cubicBezTo>
                <a:cubicBezTo>
                  <a:pt x="433" y="245"/>
                  <a:pt x="433" y="245"/>
                  <a:pt x="433" y="245"/>
                </a:cubicBezTo>
                <a:cubicBezTo>
                  <a:pt x="449" y="273"/>
                  <a:pt x="460" y="302"/>
                  <a:pt x="460" y="330"/>
                </a:cubicBezTo>
                <a:cubicBezTo>
                  <a:pt x="460" y="330"/>
                  <a:pt x="460" y="330"/>
                  <a:pt x="460" y="330"/>
                </a:cubicBezTo>
                <a:cubicBezTo>
                  <a:pt x="460" y="351"/>
                  <a:pt x="455" y="373"/>
                  <a:pt x="444" y="395"/>
                </a:cubicBezTo>
                <a:cubicBezTo>
                  <a:pt x="444" y="395"/>
                  <a:pt x="444" y="395"/>
                  <a:pt x="444" y="395"/>
                </a:cubicBezTo>
                <a:cubicBezTo>
                  <a:pt x="433" y="416"/>
                  <a:pt x="416" y="435"/>
                  <a:pt x="390" y="447"/>
                </a:cubicBezTo>
                <a:cubicBezTo>
                  <a:pt x="390" y="447"/>
                  <a:pt x="390" y="447"/>
                  <a:pt x="390" y="447"/>
                </a:cubicBezTo>
                <a:cubicBezTo>
                  <a:pt x="374" y="455"/>
                  <a:pt x="354" y="459"/>
                  <a:pt x="331" y="459"/>
                </a:cubicBezTo>
                <a:cubicBezTo>
                  <a:pt x="331" y="459"/>
                  <a:pt x="331" y="459"/>
                  <a:pt x="331" y="459"/>
                </a:cubicBezTo>
                <a:cubicBezTo>
                  <a:pt x="331" y="459"/>
                  <a:pt x="331" y="459"/>
                  <a:pt x="331" y="459"/>
                </a:cubicBezTo>
                <a:cubicBezTo>
                  <a:pt x="331" y="459"/>
                  <a:pt x="331" y="459"/>
                  <a:pt x="331" y="459"/>
                </a:cubicBezTo>
                <a:cubicBezTo>
                  <a:pt x="307" y="459"/>
                  <a:pt x="287" y="453"/>
                  <a:pt x="271" y="444"/>
                </a:cubicBezTo>
                <a:close/>
                <a:moveTo>
                  <a:pt x="294" y="122"/>
                </a:moveTo>
                <a:cubicBezTo>
                  <a:pt x="294" y="122"/>
                  <a:pt x="294" y="122"/>
                  <a:pt x="294" y="122"/>
                </a:cubicBezTo>
                <a:cubicBezTo>
                  <a:pt x="294" y="122"/>
                  <a:pt x="294" y="122"/>
                  <a:pt x="294" y="122"/>
                </a:cubicBezTo>
                <a:cubicBezTo>
                  <a:pt x="294" y="122"/>
                  <a:pt x="294" y="122"/>
                  <a:pt x="294" y="122"/>
                </a:cubicBezTo>
                <a:cubicBezTo>
                  <a:pt x="294" y="122"/>
                  <a:pt x="294" y="122"/>
                  <a:pt x="294" y="122"/>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67" name="Freeform 200"/>
          <p:cNvSpPr>
            <a:spLocks noChangeAspect="1"/>
          </p:cNvSpPr>
          <p:nvPr userDrawn="1"/>
        </p:nvSpPr>
        <p:spPr bwMode="auto">
          <a:xfrm>
            <a:off x="9512902" y="2195360"/>
            <a:ext cx="273024" cy="393192"/>
          </a:xfrm>
          <a:custGeom>
            <a:avLst/>
            <a:gdLst/>
            <a:ahLst/>
            <a:cxnLst>
              <a:cxn ang="0">
                <a:pos x="0" y="62"/>
              </a:cxn>
              <a:cxn ang="0">
                <a:pos x="0" y="101"/>
              </a:cxn>
              <a:cxn ang="0">
                <a:pos x="8" y="140"/>
              </a:cxn>
              <a:cxn ang="0">
                <a:pos x="9" y="143"/>
              </a:cxn>
              <a:cxn ang="0">
                <a:pos x="10" y="143"/>
              </a:cxn>
              <a:cxn ang="0">
                <a:pos x="31" y="193"/>
              </a:cxn>
              <a:cxn ang="0">
                <a:pos x="48" y="231"/>
              </a:cxn>
              <a:cxn ang="0">
                <a:pos x="90" y="263"/>
              </a:cxn>
              <a:cxn ang="0">
                <a:pos x="119" y="263"/>
              </a:cxn>
              <a:cxn ang="0">
                <a:pos x="68" y="367"/>
              </a:cxn>
              <a:cxn ang="0">
                <a:pos x="230" y="425"/>
              </a:cxn>
              <a:cxn ang="0">
                <a:pos x="168" y="373"/>
              </a:cxn>
              <a:cxn ang="0">
                <a:pos x="149" y="367"/>
              </a:cxn>
              <a:cxn ang="0">
                <a:pos x="200" y="315"/>
              </a:cxn>
              <a:cxn ang="0">
                <a:pos x="187" y="237"/>
              </a:cxn>
              <a:cxn ang="0">
                <a:pos x="174" y="315"/>
              </a:cxn>
              <a:cxn ang="0">
                <a:pos x="122" y="367"/>
              </a:cxn>
              <a:cxn ang="0">
                <a:pos x="188" y="390"/>
              </a:cxn>
              <a:cxn ang="0">
                <a:pos x="210" y="408"/>
              </a:cxn>
              <a:cxn ang="0">
                <a:pos x="114" y="413"/>
              </a:cxn>
              <a:cxn ang="0">
                <a:pos x="137" y="306"/>
              </a:cxn>
              <a:cxn ang="0">
                <a:pos x="146" y="250"/>
              </a:cxn>
              <a:cxn ang="0">
                <a:pos x="89" y="237"/>
              </a:cxn>
              <a:cxn ang="0">
                <a:pos x="72" y="220"/>
              </a:cxn>
              <a:cxn ang="0">
                <a:pos x="56" y="183"/>
              </a:cxn>
              <a:cxn ang="0">
                <a:pos x="36" y="137"/>
              </a:cxn>
              <a:cxn ang="0">
                <a:pos x="33" y="131"/>
              </a:cxn>
              <a:cxn ang="0">
                <a:pos x="26" y="63"/>
              </a:cxn>
              <a:cxn ang="0">
                <a:pos x="61" y="27"/>
              </a:cxn>
              <a:cxn ang="0">
                <a:pos x="259" y="27"/>
              </a:cxn>
              <a:cxn ang="0">
                <a:pos x="290" y="61"/>
              </a:cxn>
              <a:cxn ang="0">
                <a:pos x="283" y="132"/>
              </a:cxn>
              <a:cxn ang="0">
                <a:pos x="227" y="260"/>
              </a:cxn>
              <a:cxn ang="0">
                <a:pos x="307" y="143"/>
              </a:cxn>
              <a:cxn ang="0">
                <a:pos x="317" y="61"/>
              </a:cxn>
              <a:cxn ang="0">
                <a:pos x="258" y="0"/>
              </a:cxn>
              <a:cxn ang="0">
                <a:pos x="61" y="0"/>
              </a:cxn>
            </a:cxnLst>
            <a:rect l="0" t="0" r="r" b="b"/>
            <a:pathLst>
              <a:path w="317" h="458">
                <a:moveTo>
                  <a:pt x="61" y="0"/>
                </a:moveTo>
                <a:cubicBezTo>
                  <a:pt x="14" y="0"/>
                  <a:pt x="0" y="41"/>
                  <a:pt x="0" y="62"/>
                </a:cubicBezTo>
                <a:cubicBezTo>
                  <a:pt x="0" y="62"/>
                  <a:pt x="0" y="63"/>
                  <a:pt x="0" y="63"/>
                </a:cubicBezTo>
                <a:cubicBezTo>
                  <a:pt x="0" y="101"/>
                  <a:pt x="0" y="101"/>
                  <a:pt x="0" y="101"/>
                </a:cubicBezTo>
                <a:cubicBezTo>
                  <a:pt x="0" y="115"/>
                  <a:pt x="6" y="133"/>
                  <a:pt x="8" y="140"/>
                </a:cubicBezTo>
                <a:cubicBezTo>
                  <a:pt x="8" y="140"/>
                  <a:pt x="8" y="140"/>
                  <a:pt x="8" y="140"/>
                </a:cubicBezTo>
                <a:cubicBezTo>
                  <a:pt x="9" y="143"/>
                  <a:pt x="9" y="143"/>
                  <a:pt x="9" y="143"/>
                </a:cubicBezTo>
                <a:cubicBezTo>
                  <a:pt x="9" y="143"/>
                  <a:pt x="9" y="143"/>
                  <a:pt x="9" y="143"/>
                </a:cubicBezTo>
                <a:cubicBezTo>
                  <a:pt x="9" y="143"/>
                  <a:pt x="9" y="143"/>
                  <a:pt x="9" y="143"/>
                </a:cubicBezTo>
                <a:cubicBezTo>
                  <a:pt x="10" y="143"/>
                  <a:pt x="10" y="143"/>
                  <a:pt x="10" y="143"/>
                </a:cubicBezTo>
                <a:cubicBezTo>
                  <a:pt x="11" y="145"/>
                  <a:pt x="11" y="147"/>
                  <a:pt x="11" y="147"/>
                </a:cubicBezTo>
                <a:cubicBezTo>
                  <a:pt x="16" y="158"/>
                  <a:pt x="24" y="177"/>
                  <a:pt x="31" y="193"/>
                </a:cubicBezTo>
                <a:cubicBezTo>
                  <a:pt x="32" y="195"/>
                  <a:pt x="33" y="198"/>
                  <a:pt x="36" y="203"/>
                </a:cubicBezTo>
                <a:cubicBezTo>
                  <a:pt x="39" y="211"/>
                  <a:pt x="44" y="220"/>
                  <a:pt x="48" y="231"/>
                </a:cubicBezTo>
                <a:cubicBezTo>
                  <a:pt x="48" y="231"/>
                  <a:pt x="48" y="231"/>
                  <a:pt x="48" y="231"/>
                </a:cubicBezTo>
                <a:cubicBezTo>
                  <a:pt x="64" y="264"/>
                  <a:pt x="87" y="263"/>
                  <a:pt x="90" y="263"/>
                </a:cubicBezTo>
                <a:cubicBezTo>
                  <a:pt x="90" y="263"/>
                  <a:pt x="89" y="263"/>
                  <a:pt x="89" y="263"/>
                </a:cubicBezTo>
                <a:cubicBezTo>
                  <a:pt x="89" y="263"/>
                  <a:pt x="106" y="263"/>
                  <a:pt x="119" y="263"/>
                </a:cubicBezTo>
                <a:cubicBezTo>
                  <a:pt x="119" y="272"/>
                  <a:pt x="119" y="278"/>
                  <a:pt x="119" y="284"/>
                </a:cubicBezTo>
                <a:cubicBezTo>
                  <a:pt x="88" y="300"/>
                  <a:pt x="68" y="332"/>
                  <a:pt x="68" y="367"/>
                </a:cubicBezTo>
                <a:cubicBezTo>
                  <a:pt x="68" y="417"/>
                  <a:pt x="109" y="458"/>
                  <a:pt x="160" y="458"/>
                </a:cubicBezTo>
                <a:cubicBezTo>
                  <a:pt x="187" y="458"/>
                  <a:pt x="213" y="446"/>
                  <a:pt x="230" y="425"/>
                </a:cubicBezTo>
                <a:cubicBezTo>
                  <a:pt x="245" y="408"/>
                  <a:pt x="242" y="382"/>
                  <a:pt x="225" y="368"/>
                </a:cubicBezTo>
                <a:cubicBezTo>
                  <a:pt x="208" y="354"/>
                  <a:pt x="182" y="356"/>
                  <a:pt x="168" y="373"/>
                </a:cubicBezTo>
                <a:cubicBezTo>
                  <a:pt x="166" y="376"/>
                  <a:pt x="163" y="377"/>
                  <a:pt x="160" y="377"/>
                </a:cubicBezTo>
                <a:cubicBezTo>
                  <a:pt x="154" y="377"/>
                  <a:pt x="149" y="372"/>
                  <a:pt x="149" y="367"/>
                </a:cubicBezTo>
                <a:cubicBezTo>
                  <a:pt x="149" y="361"/>
                  <a:pt x="154" y="356"/>
                  <a:pt x="160" y="356"/>
                </a:cubicBezTo>
                <a:cubicBezTo>
                  <a:pt x="182" y="356"/>
                  <a:pt x="200" y="338"/>
                  <a:pt x="200" y="315"/>
                </a:cubicBezTo>
                <a:cubicBezTo>
                  <a:pt x="200" y="250"/>
                  <a:pt x="200" y="250"/>
                  <a:pt x="200" y="250"/>
                </a:cubicBezTo>
                <a:cubicBezTo>
                  <a:pt x="200" y="242"/>
                  <a:pt x="194" y="237"/>
                  <a:pt x="187" y="237"/>
                </a:cubicBezTo>
                <a:cubicBezTo>
                  <a:pt x="179" y="237"/>
                  <a:pt x="173" y="243"/>
                  <a:pt x="173" y="250"/>
                </a:cubicBezTo>
                <a:cubicBezTo>
                  <a:pt x="174" y="315"/>
                  <a:pt x="174" y="315"/>
                  <a:pt x="174" y="315"/>
                </a:cubicBezTo>
                <a:cubicBezTo>
                  <a:pt x="174" y="323"/>
                  <a:pt x="167" y="329"/>
                  <a:pt x="160" y="329"/>
                </a:cubicBezTo>
                <a:cubicBezTo>
                  <a:pt x="139" y="329"/>
                  <a:pt x="122" y="346"/>
                  <a:pt x="122" y="367"/>
                </a:cubicBezTo>
                <a:cubicBezTo>
                  <a:pt x="122" y="387"/>
                  <a:pt x="139" y="404"/>
                  <a:pt x="160" y="404"/>
                </a:cubicBezTo>
                <a:cubicBezTo>
                  <a:pt x="171" y="404"/>
                  <a:pt x="181" y="399"/>
                  <a:pt x="188" y="390"/>
                </a:cubicBezTo>
                <a:cubicBezTo>
                  <a:pt x="193" y="384"/>
                  <a:pt x="202" y="384"/>
                  <a:pt x="208" y="388"/>
                </a:cubicBezTo>
                <a:cubicBezTo>
                  <a:pt x="214" y="393"/>
                  <a:pt x="215" y="402"/>
                  <a:pt x="210" y="408"/>
                </a:cubicBezTo>
                <a:cubicBezTo>
                  <a:pt x="197" y="423"/>
                  <a:pt x="179" y="432"/>
                  <a:pt x="160" y="432"/>
                </a:cubicBezTo>
                <a:cubicBezTo>
                  <a:pt x="142" y="432"/>
                  <a:pt x="126" y="425"/>
                  <a:pt x="114" y="413"/>
                </a:cubicBezTo>
                <a:cubicBezTo>
                  <a:pt x="101" y="400"/>
                  <a:pt x="94" y="384"/>
                  <a:pt x="94" y="367"/>
                </a:cubicBezTo>
                <a:cubicBezTo>
                  <a:pt x="94" y="340"/>
                  <a:pt x="112" y="315"/>
                  <a:pt x="137" y="306"/>
                </a:cubicBezTo>
                <a:cubicBezTo>
                  <a:pt x="142" y="304"/>
                  <a:pt x="146" y="299"/>
                  <a:pt x="146" y="293"/>
                </a:cubicBezTo>
                <a:cubicBezTo>
                  <a:pt x="146" y="250"/>
                  <a:pt x="146" y="250"/>
                  <a:pt x="146" y="250"/>
                </a:cubicBezTo>
                <a:cubicBezTo>
                  <a:pt x="146" y="243"/>
                  <a:pt x="140" y="237"/>
                  <a:pt x="132" y="237"/>
                </a:cubicBezTo>
                <a:cubicBezTo>
                  <a:pt x="132" y="237"/>
                  <a:pt x="89" y="237"/>
                  <a:pt x="89" y="237"/>
                </a:cubicBezTo>
                <a:cubicBezTo>
                  <a:pt x="89" y="237"/>
                  <a:pt x="89" y="237"/>
                  <a:pt x="89" y="237"/>
                </a:cubicBezTo>
                <a:cubicBezTo>
                  <a:pt x="88" y="236"/>
                  <a:pt x="80" y="236"/>
                  <a:pt x="72" y="220"/>
                </a:cubicBezTo>
                <a:cubicBezTo>
                  <a:pt x="68" y="209"/>
                  <a:pt x="63" y="199"/>
                  <a:pt x="60" y="192"/>
                </a:cubicBezTo>
                <a:cubicBezTo>
                  <a:pt x="58" y="188"/>
                  <a:pt x="56" y="184"/>
                  <a:pt x="56" y="183"/>
                </a:cubicBezTo>
                <a:cubicBezTo>
                  <a:pt x="56" y="182"/>
                  <a:pt x="55" y="182"/>
                  <a:pt x="55" y="182"/>
                </a:cubicBezTo>
                <a:cubicBezTo>
                  <a:pt x="49" y="167"/>
                  <a:pt x="40" y="147"/>
                  <a:pt x="36" y="137"/>
                </a:cubicBezTo>
                <a:cubicBezTo>
                  <a:pt x="34" y="131"/>
                  <a:pt x="34" y="131"/>
                  <a:pt x="34" y="131"/>
                </a:cubicBezTo>
                <a:cubicBezTo>
                  <a:pt x="34" y="131"/>
                  <a:pt x="34" y="131"/>
                  <a:pt x="33" y="131"/>
                </a:cubicBezTo>
                <a:cubicBezTo>
                  <a:pt x="31" y="124"/>
                  <a:pt x="26" y="110"/>
                  <a:pt x="26" y="101"/>
                </a:cubicBezTo>
                <a:cubicBezTo>
                  <a:pt x="26" y="101"/>
                  <a:pt x="26" y="64"/>
                  <a:pt x="26" y="63"/>
                </a:cubicBezTo>
                <a:cubicBezTo>
                  <a:pt x="26" y="62"/>
                  <a:pt x="27" y="53"/>
                  <a:pt x="32" y="44"/>
                </a:cubicBezTo>
                <a:cubicBezTo>
                  <a:pt x="38" y="32"/>
                  <a:pt x="47" y="27"/>
                  <a:pt x="61" y="27"/>
                </a:cubicBezTo>
                <a:cubicBezTo>
                  <a:pt x="258" y="27"/>
                  <a:pt x="258" y="27"/>
                  <a:pt x="258" y="27"/>
                </a:cubicBezTo>
                <a:cubicBezTo>
                  <a:pt x="258" y="27"/>
                  <a:pt x="259" y="27"/>
                  <a:pt x="259" y="27"/>
                </a:cubicBezTo>
                <a:cubicBezTo>
                  <a:pt x="259" y="27"/>
                  <a:pt x="273" y="27"/>
                  <a:pt x="282" y="36"/>
                </a:cubicBezTo>
                <a:cubicBezTo>
                  <a:pt x="288" y="41"/>
                  <a:pt x="290" y="50"/>
                  <a:pt x="290" y="61"/>
                </a:cubicBezTo>
                <a:cubicBezTo>
                  <a:pt x="290" y="101"/>
                  <a:pt x="290" y="101"/>
                  <a:pt x="290" y="101"/>
                </a:cubicBezTo>
                <a:cubicBezTo>
                  <a:pt x="290" y="113"/>
                  <a:pt x="289" y="119"/>
                  <a:pt x="283" y="132"/>
                </a:cubicBezTo>
                <a:cubicBezTo>
                  <a:pt x="281" y="137"/>
                  <a:pt x="245" y="200"/>
                  <a:pt x="222" y="242"/>
                </a:cubicBezTo>
                <a:cubicBezTo>
                  <a:pt x="219" y="248"/>
                  <a:pt x="221" y="256"/>
                  <a:pt x="227" y="260"/>
                </a:cubicBezTo>
                <a:cubicBezTo>
                  <a:pt x="234" y="264"/>
                  <a:pt x="242" y="261"/>
                  <a:pt x="246" y="255"/>
                </a:cubicBezTo>
                <a:cubicBezTo>
                  <a:pt x="255" y="237"/>
                  <a:pt x="304" y="150"/>
                  <a:pt x="307" y="143"/>
                </a:cubicBezTo>
                <a:cubicBezTo>
                  <a:pt x="315" y="127"/>
                  <a:pt x="317" y="117"/>
                  <a:pt x="317" y="101"/>
                </a:cubicBezTo>
                <a:cubicBezTo>
                  <a:pt x="317" y="61"/>
                  <a:pt x="317" y="61"/>
                  <a:pt x="317" y="61"/>
                </a:cubicBezTo>
                <a:cubicBezTo>
                  <a:pt x="317" y="42"/>
                  <a:pt x="311" y="27"/>
                  <a:pt x="300" y="16"/>
                </a:cubicBezTo>
                <a:cubicBezTo>
                  <a:pt x="283" y="0"/>
                  <a:pt x="260" y="0"/>
                  <a:pt x="258" y="0"/>
                </a:cubicBezTo>
                <a:cubicBezTo>
                  <a:pt x="258" y="0"/>
                  <a:pt x="258" y="0"/>
                  <a:pt x="258" y="0"/>
                </a:cubicBezTo>
                <a:cubicBezTo>
                  <a:pt x="61" y="0"/>
                  <a:pt x="61" y="0"/>
                  <a:pt x="61" y="0"/>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68" name="Freeform 204"/>
          <p:cNvSpPr>
            <a:spLocks noChangeAspect="1"/>
          </p:cNvSpPr>
          <p:nvPr userDrawn="1"/>
        </p:nvSpPr>
        <p:spPr bwMode="auto">
          <a:xfrm>
            <a:off x="7605970" y="3000095"/>
            <a:ext cx="231658" cy="393192"/>
          </a:xfrm>
          <a:custGeom>
            <a:avLst/>
            <a:gdLst/>
            <a:ahLst/>
            <a:cxnLst>
              <a:cxn ang="0">
                <a:pos x="128" y="136"/>
              </a:cxn>
              <a:cxn ang="0">
                <a:pos x="128" y="188"/>
              </a:cxn>
              <a:cxn ang="0">
                <a:pos x="141" y="201"/>
              </a:cxn>
              <a:cxn ang="0">
                <a:pos x="237" y="201"/>
              </a:cxn>
              <a:cxn ang="0">
                <a:pos x="251" y="188"/>
              </a:cxn>
              <a:cxn ang="0">
                <a:pos x="251" y="13"/>
              </a:cxn>
              <a:cxn ang="0">
                <a:pos x="237" y="0"/>
              </a:cxn>
              <a:cxn ang="0">
                <a:pos x="13" y="0"/>
              </a:cxn>
              <a:cxn ang="0">
                <a:pos x="0" y="13"/>
              </a:cxn>
              <a:cxn ang="0">
                <a:pos x="0" y="413"/>
              </a:cxn>
              <a:cxn ang="0">
                <a:pos x="13" y="427"/>
              </a:cxn>
              <a:cxn ang="0">
                <a:pos x="237" y="427"/>
              </a:cxn>
              <a:cxn ang="0">
                <a:pos x="251" y="413"/>
              </a:cxn>
              <a:cxn ang="0">
                <a:pos x="251" y="239"/>
              </a:cxn>
              <a:cxn ang="0">
                <a:pos x="237" y="226"/>
              </a:cxn>
              <a:cxn ang="0">
                <a:pos x="141" y="226"/>
              </a:cxn>
              <a:cxn ang="0">
                <a:pos x="128" y="239"/>
              </a:cxn>
              <a:cxn ang="0">
                <a:pos x="128" y="291"/>
              </a:cxn>
              <a:cxn ang="0">
                <a:pos x="141" y="304"/>
              </a:cxn>
              <a:cxn ang="0">
                <a:pos x="168" y="304"/>
              </a:cxn>
              <a:cxn ang="0">
                <a:pos x="128" y="354"/>
              </a:cxn>
              <a:cxn ang="0">
                <a:pos x="88" y="304"/>
              </a:cxn>
              <a:cxn ang="0">
                <a:pos x="104" y="304"/>
              </a:cxn>
              <a:cxn ang="0">
                <a:pos x="117" y="291"/>
              </a:cxn>
              <a:cxn ang="0">
                <a:pos x="104" y="278"/>
              </a:cxn>
              <a:cxn ang="0">
                <a:pos x="60" y="278"/>
              </a:cxn>
              <a:cxn ang="0">
                <a:pos x="48" y="285"/>
              </a:cxn>
              <a:cxn ang="0">
                <a:pos x="49" y="299"/>
              </a:cxn>
              <a:cxn ang="0">
                <a:pos x="117" y="384"/>
              </a:cxn>
              <a:cxn ang="0">
                <a:pos x="128" y="389"/>
              </a:cxn>
              <a:cxn ang="0">
                <a:pos x="138" y="384"/>
              </a:cxn>
              <a:cxn ang="0">
                <a:pos x="206" y="299"/>
              </a:cxn>
              <a:cxn ang="0">
                <a:pos x="208" y="285"/>
              </a:cxn>
              <a:cxn ang="0">
                <a:pos x="196" y="278"/>
              </a:cxn>
              <a:cxn ang="0">
                <a:pos x="155" y="278"/>
              </a:cxn>
              <a:cxn ang="0">
                <a:pos x="155" y="252"/>
              </a:cxn>
              <a:cxn ang="0">
                <a:pos x="224" y="252"/>
              </a:cxn>
              <a:cxn ang="0">
                <a:pos x="224" y="400"/>
              </a:cxn>
              <a:cxn ang="0">
                <a:pos x="27" y="400"/>
              </a:cxn>
              <a:cxn ang="0">
                <a:pos x="27" y="27"/>
              </a:cxn>
              <a:cxn ang="0">
                <a:pos x="224" y="27"/>
              </a:cxn>
              <a:cxn ang="0">
                <a:pos x="224" y="174"/>
              </a:cxn>
              <a:cxn ang="0">
                <a:pos x="155" y="174"/>
              </a:cxn>
              <a:cxn ang="0">
                <a:pos x="155" y="149"/>
              </a:cxn>
              <a:cxn ang="0">
                <a:pos x="196" y="149"/>
              </a:cxn>
              <a:cxn ang="0">
                <a:pos x="208" y="142"/>
              </a:cxn>
              <a:cxn ang="0">
                <a:pos x="206" y="127"/>
              </a:cxn>
              <a:cxn ang="0">
                <a:pos x="138" y="43"/>
              </a:cxn>
              <a:cxn ang="0">
                <a:pos x="128" y="38"/>
              </a:cxn>
              <a:cxn ang="0">
                <a:pos x="117" y="43"/>
              </a:cxn>
              <a:cxn ang="0">
                <a:pos x="49" y="127"/>
              </a:cxn>
              <a:cxn ang="0">
                <a:pos x="48" y="142"/>
              </a:cxn>
              <a:cxn ang="0">
                <a:pos x="60" y="149"/>
              </a:cxn>
              <a:cxn ang="0">
                <a:pos x="104" y="149"/>
              </a:cxn>
              <a:cxn ang="0">
                <a:pos x="117" y="136"/>
              </a:cxn>
              <a:cxn ang="0">
                <a:pos x="104" y="122"/>
              </a:cxn>
              <a:cxn ang="0">
                <a:pos x="88" y="122"/>
              </a:cxn>
              <a:cxn ang="0">
                <a:pos x="128" y="72"/>
              </a:cxn>
              <a:cxn ang="0">
                <a:pos x="168" y="122"/>
              </a:cxn>
              <a:cxn ang="0">
                <a:pos x="141" y="122"/>
              </a:cxn>
              <a:cxn ang="0">
                <a:pos x="128" y="136"/>
              </a:cxn>
            </a:cxnLst>
            <a:rect l="0" t="0" r="r" b="b"/>
            <a:pathLst>
              <a:path w="251" h="427">
                <a:moveTo>
                  <a:pt x="128" y="136"/>
                </a:moveTo>
                <a:cubicBezTo>
                  <a:pt x="128" y="188"/>
                  <a:pt x="128" y="188"/>
                  <a:pt x="128" y="188"/>
                </a:cubicBezTo>
                <a:cubicBezTo>
                  <a:pt x="128" y="195"/>
                  <a:pt x="134" y="201"/>
                  <a:pt x="141" y="201"/>
                </a:cubicBezTo>
                <a:cubicBezTo>
                  <a:pt x="237" y="201"/>
                  <a:pt x="237" y="201"/>
                  <a:pt x="237" y="201"/>
                </a:cubicBezTo>
                <a:cubicBezTo>
                  <a:pt x="245" y="201"/>
                  <a:pt x="251" y="195"/>
                  <a:pt x="251" y="188"/>
                </a:cubicBezTo>
                <a:cubicBezTo>
                  <a:pt x="251" y="13"/>
                  <a:pt x="251" y="13"/>
                  <a:pt x="251" y="13"/>
                </a:cubicBezTo>
                <a:cubicBezTo>
                  <a:pt x="251" y="6"/>
                  <a:pt x="245" y="0"/>
                  <a:pt x="237" y="0"/>
                </a:cubicBezTo>
                <a:cubicBezTo>
                  <a:pt x="13" y="0"/>
                  <a:pt x="13" y="0"/>
                  <a:pt x="13" y="0"/>
                </a:cubicBezTo>
                <a:cubicBezTo>
                  <a:pt x="6" y="0"/>
                  <a:pt x="0" y="6"/>
                  <a:pt x="0" y="13"/>
                </a:cubicBezTo>
                <a:cubicBezTo>
                  <a:pt x="0" y="413"/>
                  <a:pt x="0" y="413"/>
                  <a:pt x="0" y="413"/>
                </a:cubicBezTo>
                <a:cubicBezTo>
                  <a:pt x="0" y="421"/>
                  <a:pt x="6" y="427"/>
                  <a:pt x="13" y="427"/>
                </a:cubicBezTo>
                <a:cubicBezTo>
                  <a:pt x="237" y="427"/>
                  <a:pt x="237" y="427"/>
                  <a:pt x="237" y="427"/>
                </a:cubicBezTo>
                <a:cubicBezTo>
                  <a:pt x="245" y="427"/>
                  <a:pt x="251" y="421"/>
                  <a:pt x="251" y="413"/>
                </a:cubicBezTo>
                <a:cubicBezTo>
                  <a:pt x="251" y="239"/>
                  <a:pt x="251" y="239"/>
                  <a:pt x="251" y="239"/>
                </a:cubicBezTo>
                <a:cubicBezTo>
                  <a:pt x="251" y="232"/>
                  <a:pt x="245" y="226"/>
                  <a:pt x="237" y="226"/>
                </a:cubicBezTo>
                <a:cubicBezTo>
                  <a:pt x="141" y="226"/>
                  <a:pt x="141" y="226"/>
                  <a:pt x="141" y="226"/>
                </a:cubicBezTo>
                <a:cubicBezTo>
                  <a:pt x="134" y="226"/>
                  <a:pt x="128" y="232"/>
                  <a:pt x="128" y="239"/>
                </a:cubicBezTo>
                <a:cubicBezTo>
                  <a:pt x="128" y="291"/>
                  <a:pt x="128" y="291"/>
                  <a:pt x="128" y="291"/>
                </a:cubicBezTo>
                <a:cubicBezTo>
                  <a:pt x="128" y="298"/>
                  <a:pt x="134" y="304"/>
                  <a:pt x="141" y="304"/>
                </a:cubicBezTo>
                <a:cubicBezTo>
                  <a:pt x="168" y="304"/>
                  <a:pt x="168" y="304"/>
                  <a:pt x="168" y="304"/>
                </a:cubicBezTo>
                <a:cubicBezTo>
                  <a:pt x="128" y="354"/>
                  <a:pt x="128" y="354"/>
                  <a:pt x="128" y="354"/>
                </a:cubicBezTo>
                <a:cubicBezTo>
                  <a:pt x="88" y="304"/>
                  <a:pt x="88" y="304"/>
                  <a:pt x="88" y="304"/>
                </a:cubicBezTo>
                <a:cubicBezTo>
                  <a:pt x="104" y="304"/>
                  <a:pt x="104" y="304"/>
                  <a:pt x="104" y="304"/>
                </a:cubicBezTo>
                <a:cubicBezTo>
                  <a:pt x="111" y="304"/>
                  <a:pt x="117" y="298"/>
                  <a:pt x="117" y="291"/>
                </a:cubicBezTo>
                <a:cubicBezTo>
                  <a:pt x="117" y="283"/>
                  <a:pt x="111" y="278"/>
                  <a:pt x="104" y="278"/>
                </a:cubicBezTo>
                <a:cubicBezTo>
                  <a:pt x="60" y="278"/>
                  <a:pt x="60" y="278"/>
                  <a:pt x="60" y="278"/>
                </a:cubicBezTo>
                <a:cubicBezTo>
                  <a:pt x="55" y="278"/>
                  <a:pt x="50" y="280"/>
                  <a:pt x="48" y="285"/>
                </a:cubicBezTo>
                <a:cubicBezTo>
                  <a:pt x="46" y="290"/>
                  <a:pt x="46" y="295"/>
                  <a:pt x="49" y="299"/>
                </a:cubicBezTo>
                <a:cubicBezTo>
                  <a:pt x="117" y="384"/>
                  <a:pt x="117" y="384"/>
                  <a:pt x="117" y="384"/>
                </a:cubicBezTo>
                <a:cubicBezTo>
                  <a:pt x="120" y="387"/>
                  <a:pt x="124" y="389"/>
                  <a:pt x="128" y="389"/>
                </a:cubicBezTo>
                <a:cubicBezTo>
                  <a:pt x="132" y="389"/>
                  <a:pt x="136" y="387"/>
                  <a:pt x="138" y="384"/>
                </a:cubicBezTo>
                <a:cubicBezTo>
                  <a:pt x="206" y="299"/>
                  <a:pt x="206" y="299"/>
                  <a:pt x="206" y="299"/>
                </a:cubicBezTo>
                <a:cubicBezTo>
                  <a:pt x="209" y="295"/>
                  <a:pt x="210" y="290"/>
                  <a:pt x="208" y="285"/>
                </a:cubicBezTo>
                <a:cubicBezTo>
                  <a:pt x="206" y="280"/>
                  <a:pt x="201" y="278"/>
                  <a:pt x="196" y="278"/>
                </a:cubicBezTo>
                <a:cubicBezTo>
                  <a:pt x="155" y="278"/>
                  <a:pt x="155" y="278"/>
                  <a:pt x="155" y="278"/>
                </a:cubicBezTo>
                <a:cubicBezTo>
                  <a:pt x="155" y="252"/>
                  <a:pt x="155" y="252"/>
                  <a:pt x="155" y="252"/>
                </a:cubicBezTo>
                <a:cubicBezTo>
                  <a:pt x="224" y="252"/>
                  <a:pt x="224" y="252"/>
                  <a:pt x="224" y="252"/>
                </a:cubicBezTo>
                <a:cubicBezTo>
                  <a:pt x="224" y="400"/>
                  <a:pt x="224" y="400"/>
                  <a:pt x="224" y="400"/>
                </a:cubicBezTo>
                <a:cubicBezTo>
                  <a:pt x="27" y="400"/>
                  <a:pt x="27" y="400"/>
                  <a:pt x="27" y="400"/>
                </a:cubicBezTo>
                <a:cubicBezTo>
                  <a:pt x="27" y="27"/>
                  <a:pt x="27" y="27"/>
                  <a:pt x="27" y="27"/>
                </a:cubicBezTo>
                <a:cubicBezTo>
                  <a:pt x="224" y="27"/>
                  <a:pt x="224" y="27"/>
                  <a:pt x="224" y="27"/>
                </a:cubicBezTo>
                <a:cubicBezTo>
                  <a:pt x="224" y="174"/>
                  <a:pt x="224" y="174"/>
                  <a:pt x="224" y="174"/>
                </a:cubicBezTo>
                <a:cubicBezTo>
                  <a:pt x="155" y="174"/>
                  <a:pt x="155" y="174"/>
                  <a:pt x="155" y="174"/>
                </a:cubicBezTo>
                <a:cubicBezTo>
                  <a:pt x="155" y="149"/>
                  <a:pt x="155" y="149"/>
                  <a:pt x="155" y="149"/>
                </a:cubicBezTo>
                <a:cubicBezTo>
                  <a:pt x="196" y="149"/>
                  <a:pt x="196" y="149"/>
                  <a:pt x="196" y="149"/>
                </a:cubicBezTo>
                <a:cubicBezTo>
                  <a:pt x="201" y="149"/>
                  <a:pt x="206" y="146"/>
                  <a:pt x="208" y="142"/>
                </a:cubicBezTo>
                <a:cubicBezTo>
                  <a:pt x="210" y="137"/>
                  <a:pt x="209" y="131"/>
                  <a:pt x="206" y="127"/>
                </a:cubicBezTo>
                <a:cubicBezTo>
                  <a:pt x="138" y="43"/>
                  <a:pt x="138" y="43"/>
                  <a:pt x="138" y="43"/>
                </a:cubicBezTo>
                <a:cubicBezTo>
                  <a:pt x="136" y="39"/>
                  <a:pt x="132" y="38"/>
                  <a:pt x="128" y="38"/>
                </a:cubicBezTo>
                <a:cubicBezTo>
                  <a:pt x="124" y="38"/>
                  <a:pt x="120" y="39"/>
                  <a:pt x="117" y="43"/>
                </a:cubicBezTo>
                <a:cubicBezTo>
                  <a:pt x="49" y="127"/>
                  <a:pt x="49" y="127"/>
                  <a:pt x="49" y="127"/>
                </a:cubicBezTo>
                <a:cubicBezTo>
                  <a:pt x="46" y="131"/>
                  <a:pt x="46" y="137"/>
                  <a:pt x="48" y="142"/>
                </a:cubicBezTo>
                <a:cubicBezTo>
                  <a:pt x="50" y="146"/>
                  <a:pt x="55" y="149"/>
                  <a:pt x="60" y="149"/>
                </a:cubicBezTo>
                <a:cubicBezTo>
                  <a:pt x="104" y="149"/>
                  <a:pt x="104" y="149"/>
                  <a:pt x="104" y="149"/>
                </a:cubicBezTo>
                <a:cubicBezTo>
                  <a:pt x="111" y="149"/>
                  <a:pt x="117" y="143"/>
                  <a:pt x="117" y="136"/>
                </a:cubicBezTo>
                <a:cubicBezTo>
                  <a:pt x="117" y="128"/>
                  <a:pt x="111" y="122"/>
                  <a:pt x="104" y="122"/>
                </a:cubicBezTo>
                <a:cubicBezTo>
                  <a:pt x="88" y="122"/>
                  <a:pt x="88" y="122"/>
                  <a:pt x="88" y="122"/>
                </a:cubicBezTo>
                <a:cubicBezTo>
                  <a:pt x="128" y="72"/>
                  <a:pt x="128" y="72"/>
                  <a:pt x="128" y="72"/>
                </a:cubicBezTo>
                <a:cubicBezTo>
                  <a:pt x="168" y="122"/>
                  <a:pt x="168" y="122"/>
                  <a:pt x="168" y="122"/>
                </a:cubicBezTo>
                <a:cubicBezTo>
                  <a:pt x="141" y="122"/>
                  <a:pt x="141" y="122"/>
                  <a:pt x="141" y="122"/>
                </a:cubicBezTo>
                <a:cubicBezTo>
                  <a:pt x="134" y="122"/>
                  <a:pt x="128" y="128"/>
                  <a:pt x="128" y="136"/>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69" name="Freeform 212"/>
          <p:cNvSpPr>
            <a:spLocks noChangeAspect="1"/>
          </p:cNvSpPr>
          <p:nvPr userDrawn="1"/>
        </p:nvSpPr>
        <p:spPr bwMode="auto">
          <a:xfrm>
            <a:off x="8576194" y="3838255"/>
            <a:ext cx="201481" cy="404361"/>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0" name="Freeform 228"/>
          <p:cNvSpPr>
            <a:spLocks noChangeAspect="1"/>
          </p:cNvSpPr>
          <p:nvPr userDrawn="1"/>
        </p:nvSpPr>
        <p:spPr bwMode="auto">
          <a:xfrm>
            <a:off x="9461323" y="3000095"/>
            <a:ext cx="371653" cy="393192"/>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chemeClr val="bg1"/>
            </a:solidFill>
            <a:prstDash val="solid"/>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1" name="Freeform 208"/>
          <p:cNvSpPr>
            <a:spLocks noChangeAspect="1"/>
          </p:cNvSpPr>
          <p:nvPr userDrawn="1"/>
        </p:nvSpPr>
        <p:spPr bwMode="auto">
          <a:xfrm>
            <a:off x="8574378" y="2941499"/>
            <a:ext cx="254308" cy="451797"/>
          </a:xfrm>
          <a:custGeom>
            <a:avLst/>
            <a:gdLst/>
            <a:ahLst/>
            <a:cxnLst>
              <a:cxn ang="0">
                <a:pos x="0" y="128"/>
              </a:cxn>
              <a:cxn ang="0">
                <a:pos x="23" y="202"/>
              </a:cxn>
              <a:cxn ang="0">
                <a:pos x="24" y="202"/>
              </a:cxn>
              <a:cxn ang="0">
                <a:pos x="32" y="212"/>
              </a:cxn>
              <a:cxn ang="0">
                <a:pos x="32" y="213"/>
              </a:cxn>
              <a:cxn ang="0">
                <a:pos x="62" y="284"/>
              </a:cxn>
              <a:cxn ang="0">
                <a:pos x="77" y="296"/>
              </a:cxn>
              <a:cxn ang="0">
                <a:pos x="89" y="283"/>
              </a:cxn>
              <a:cxn ang="0">
                <a:pos x="89" y="281"/>
              </a:cxn>
              <a:cxn ang="0">
                <a:pos x="51" y="194"/>
              </a:cxn>
              <a:cxn ang="0">
                <a:pos x="45" y="186"/>
              </a:cxn>
              <a:cxn ang="0">
                <a:pos x="27" y="128"/>
              </a:cxn>
              <a:cxn ang="0">
                <a:pos x="128" y="27"/>
              </a:cxn>
              <a:cxn ang="0">
                <a:pos x="230" y="128"/>
              </a:cxn>
              <a:cxn ang="0">
                <a:pos x="207" y="192"/>
              </a:cxn>
              <a:cxn ang="0">
                <a:pos x="201" y="199"/>
              </a:cxn>
              <a:cxn ang="0">
                <a:pos x="169" y="275"/>
              </a:cxn>
              <a:cxn ang="0">
                <a:pos x="170" y="285"/>
              </a:cxn>
              <a:cxn ang="0">
                <a:pos x="170" y="297"/>
              </a:cxn>
              <a:cxn ang="0">
                <a:pos x="170" y="301"/>
              </a:cxn>
              <a:cxn ang="0">
                <a:pos x="166" y="301"/>
              </a:cxn>
              <a:cxn ang="0">
                <a:pos x="165" y="301"/>
              </a:cxn>
              <a:cxn ang="0">
                <a:pos x="155" y="301"/>
              </a:cxn>
              <a:cxn ang="0">
                <a:pos x="98" y="301"/>
              </a:cxn>
              <a:cxn ang="0">
                <a:pos x="69" y="310"/>
              </a:cxn>
              <a:cxn ang="0">
                <a:pos x="59" y="333"/>
              </a:cxn>
              <a:cxn ang="0">
                <a:pos x="94" y="367"/>
              </a:cxn>
              <a:cxn ang="0">
                <a:pos x="159" y="367"/>
              </a:cxn>
              <a:cxn ang="0">
                <a:pos x="170" y="370"/>
              </a:cxn>
              <a:cxn ang="0">
                <a:pos x="171" y="373"/>
              </a:cxn>
              <a:cxn ang="0">
                <a:pos x="162" y="380"/>
              </a:cxn>
              <a:cxn ang="0">
                <a:pos x="121" y="379"/>
              </a:cxn>
              <a:cxn ang="0">
                <a:pos x="66" y="400"/>
              </a:cxn>
              <a:cxn ang="0">
                <a:pos x="80" y="438"/>
              </a:cxn>
              <a:cxn ang="0">
                <a:pos x="133" y="449"/>
              </a:cxn>
              <a:cxn ang="0">
                <a:pos x="144" y="434"/>
              </a:cxn>
              <a:cxn ang="0">
                <a:pos x="128" y="423"/>
              </a:cxn>
              <a:cxn ang="0">
                <a:pos x="99" y="418"/>
              </a:cxn>
              <a:cxn ang="0">
                <a:pos x="93" y="408"/>
              </a:cxn>
              <a:cxn ang="0">
                <a:pos x="161" y="406"/>
              </a:cxn>
              <a:cxn ang="0">
                <a:pos x="162" y="406"/>
              </a:cxn>
              <a:cxn ang="0">
                <a:pos x="162" y="406"/>
              </a:cxn>
              <a:cxn ang="0">
                <a:pos x="198" y="373"/>
              </a:cxn>
              <a:cxn ang="0">
                <a:pos x="187" y="349"/>
              </a:cxn>
              <a:cxn ang="0">
                <a:pos x="159" y="340"/>
              </a:cxn>
              <a:cxn ang="0">
                <a:pos x="94" y="340"/>
              </a:cxn>
              <a:cxn ang="0">
                <a:pos x="85" y="333"/>
              </a:cxn>
              <a:cxn ang="0">
                <a:pos x="87" y="330"/>
              </a:cxn>
              <a:cxn ang="0">
                <a:pos x="98" y="328"/>
              </a:cxn>
              <a:cxn ang="0">
                <a:pos x="155" y="327"/>
              </a:cxn>
              <a:cxn ang="0">
                <a:pos x="162" y="327"/>
              </a:cxn>
              <a:cxn ang="0">
                <a:pos x="164" y="328"/>
              </a:cxn>
              <a:cxn ang="0">
                <a:pos x="189" y="322"/>
              </a:cxn>
              <a:cxn ang="0">
                <a:pos x="196" y="283"/>
              </a:cxn>
              <a:cxn ang="0">
                <a:pos x="222" y="216"/>
              </a:cxn>
              <a:cxn ang="0">
                <a:pos x="228" y="209"/>
              </a:cxn>
              <a:cxn ang="0">
                <a:pos x="256" y="128"/>
              </a:cxn>
              <a:cxn ang="0">
                <a:pos x="128" y="0"/>
              </a:cxn>
              <a:cxn ang="0">
                <a:pos x="0" y="128"/>
              </a:cxn>
            </a:cxnLst>
            <a:rect l="0" t="0" r="r" b="b"/>
            <a:pathLst>
              <a:path w="256" h="454">
                <a:moveTo>
                  <a:pt x="0" y="128"/>
                </a:moveTo>
                <a:cubicBezTo>
                  <a:pt x="0" y="154"/>
                  <a:pt x="8" y="180"/>
                  <a:pt x="23" y="202"/>
                </a:cubicBezTo>
                <a:cubicBezTo>
                  <a:pt x="24" y="202"/>
                  <a:pt x="24" y="202"/>
                  <a:pt x="24" y="202"/>
                </a:cubicBezTo>
                <a:cubicBezTo>
                  <a:pt x="32" y="212"/>
                  <a:pt x="32" y="212"/>
                  <a:pt x="32" y="212"/>
                </a:cubicBezTo>
                <a:cubicBezTo>
                  <a:pt x="32" y="213"/>
                  <a:pt x="32" y="213"/>
                  <a:pt x="32" y="213"/>
                </a:cubicBezTo>
                <a:cubicBezTo>
                  <a:pt x="54" y="232"/>
                  <a:pt x="60" y="266"/>
                  <a:pt x="62" y="284"/>
                </a:cubicBezTo>
                <a:cubicBezTo>
                  <a:pt x="63" y="291"/>
                  <a:pt x="69" y="297"/>
                  <a:pt x="77" y="296"/>
                </a:cubicBezTo>
                <a:cubicBezTo>
                  <a:pt x="84" y="295"/>
                  <a:pt x="89" y="290"/>
                  <a:pt x="89" y="283"/>
                </a:cubicBezTo>
                <a:cubicBezTo>
                  <a:pt x="89" y="282"/>
                  <a:pt x="89" y="282"/>
                  <a:pt x="89" y="281"/>
                </a:cubicBezTo>
                <a:cubicBezTo>
                  <a:pt x="86" y="255"/>
                  <a:pt x="77" y="218"/>
                  <a:pt x="51" y="194"/>
                </a:cubicBezTo>
                <a:cubicBezTo>
                  <a:pt x="51" y="193"/>
                  <a:pt x="46" y="187"/>
                  <a:pt x="45" y="186"/>
                </a:cubicBezTo>
                <a:cubicBezTo>
                  <a:pt x="33" y="169"/>
                  <a:pt x="27" y="149"/>
                  <a:pt x="27" y="128"/>
                </a:cubicBezTo>
                <a:cubicBezTo>
                  <a:pt x="27" y="72"/>
                  <a:pt x="72" y="27"/>
                  <a:pt x="128" y="27"/>
                </a:cubicBezTo>
                <a:cubicBezTo>
                  <a:pt x="184" y="27"/>
                  <a:pt x="230" y="72"/>
                  <a:pt x="230" y="128"/>
                </a:cubicBezTo>
                <a:cubicBezTo>
                  <a:pt x="230" y="151"/>
                  <a:pt x="216" y="180"/>
                  <a:pt x="207" y="192"/>
                </a:cubicBezTo>
                <a:cubicBezTo>
                  <a:pt x="201" y="199"/>
                  <a:pt x="201" y="199"/>
                  <a:pt x="201" y="199"/>
                </a:cubicBezTo>
                <a:cubicBezTo>
                  <a:pt x="186" y="217"/>
                  <a:pt x="169" y="237"/>
                  <a:pt x="169" y="275"/>
                </a:cubicBezTo>
                <a:cubicBezTo>
                  <a:pt x="169" y="278"/>
                  <a:pt x="170" y="281"/>
                  <a:pt x="170" y="285"/>
                </a:cubicBezTo>
                <a:cubicBezTo>
                  <a:pt x="170" y="290"/>
                  <a:pt x="170" y="294"/>
                  <a:pt x="170" y="297"/>
                </a:cubicBezTo>
                <a:cubicBezTo>
                  <a:pt x="170" y="299"/>
                  <a:pt x="170" y="300"/>
                  <a:pt x="170" y="301"/>
                </a:cubicBezTo>
                <a:cubicBezTo>
                  <a:pt x="169" y="301"/>
                  <a:pt x="168" y="301"/>
                  <a:pt x="166" y="301"/>
                </a:cubicBezTo>
                <a:cubicBezTo>
                  <a:pt x="165" y="301"/>
                  <a:pt x="165" y="301"/>
                  <a:pt x="165" y="301"/>
                </a:cubicBezTo>
                <a:cubicBezTo>
                  <a:pt x="162" y="301"/>
                  <a:pt x="162" y="301"/>
                  <a:pt x="155" y="301"/>
                </a:cubicBezTo>
                <a:cubicBezTo>
                  <a:pt x="98" y="301"/>
                  <a:pt x="98" y="301"/>
                  <a:pt x="98" y="301"/>
                </a:cubicBezTo>
                <a:cubicBezTo>
                  <a:pt x="83" y="301"/>
                  <a:pt x="74" y="306"/>
                  <a:pt x="69" y="310"/>
                </a:cubicBezTo>
                <a:cubicBezTo>
                  <a:pt x="62" y="316"/>
                  <a:pt x="59" y="324"/>
                  <a:pt x="59" y="333"/>
                </a:cubicBezTo>
                <a:cubicBezTo>
                  <a:pt x="59" y="350"/>
                  <a:pt x="72" y="367"/>
                  <a:pt x="94" y="367"/>
                </a:cubicBezTo>
                <a:cubicBezTo>
                  <a:pt x="159" y="367"/>
                  <a:pt x="159" y="367"/>
                  <a:pt x="159" y="367"/>
                </a:cubicBezTo>
                <a:cubicBezTo>
                  <a:pt x="164" y="367"/>
                  <a:pt x="168" y="368"/>
                  <a:pt x="170" y="370"/>
                </a:cubicBezTo>
                <a:cubicBezTo>
                  <a:pt x="171" y="371"/>
                  <a:pt x="171" y="372"/>
                  <a:pt x="171" y="373"/>
                </a:cubicBezTo>
                <a:cubicBezTo>
                  <a:pt x="171" y="376"/>
                  <a:pt x="169" y="379"/>
                  <a:pt x="162" y="380"/>
                </a:cubicBezTo>
                <a:cubicBezTo>
                  <a:pt x="159" y="379"/>
                  <a:pt x="140" y="378"/>
                  <a:pt x="121" y="379"/>
                </a:cubicBezTo>
                <a:cubicBezTo>
                  <a:pt x="90" y="379"/>
                  <a:pt x="68" y="383"/>
                  <a:pt x="66" y="400"/>
                </a:cubicBezTo>
                <a:cubicBezTo>
                  <a:pt x="65" y="411"/>
                  <a:pt x="68" y="426"/>
                  <a:pt x="80" y="438"/>
                </a:cubicBezTo>
                <a:cubicBezTo>
                  <a:pt x="89" y="446"/>
                  <a:pt x="105" y="454"/>
                  <a:pt x="133" y="449"/>
                </a:cubicBezTo>
                <a:cubicBezTo>
                  <a:pt x="140" y="448"/>
                  <a:pt x="145" y="441"/>
                  <a:pt x="144" y="434"/>
                </a:cubicBezTo>
                <a:cubicBezTo>
                  <a:pt x="143" y="427"/>
                  <a:pt x="136" y="422"/>
                  <a:pt x="128" y="423"/>
                </a:cubicBezTo>
                <a:cubicBezTo>
                  <a:pt x="115" y="425"/>
                  <a:pt x="105" y="424"/>
                  <a:pt x="99" y="418"/>
                </a:cubicBezTo>
                <a:cubicBezTo>
                  <a:pt x="95" y="415"/>
                  <a:pt x="94" y="411"/>
                  <a:pt x="93" y="408"/>
                </a:cubicBezTo>
                <a:cubicBezTo>
                  <a:pt x="104" y="405"/>
                  <a:pt x="133" y="404"/>
                  <a:pt x="161" y="406"/>
                </a:cubicBezTo>
                <a:cubicBezTo>
                  <a:pt x="162" y="406"/>
                  <a:pt x="162" y="406"/>
                  <a:pt x="162" y="406"/>
                </a:cubicBezTo>
                <a:cubicBezTo>
                  <a:pt x="162" y="406"/>
                  <a:pt x="162" y="406"/>
                  <a:pt x="162" y="406"/>
                </a:cubicBezTo>
                <a:cubicBezTo>
                  <a:pt x="184" y="406"/>
                  <a:pt x="198" y="389"/>
                  <a:pt x="198" y="373"/>
                </a:cubicBezTo>
                <a:cubicBezTo>
                  <a:pt x="198" y="364"/>
                  <a:pt x="194" y="355"/>
                  <a:pt x="187" y="349"/>
                </a:cubicBezTo>
                <a:cubicBezTo>
                  <a:pt x="182" y="345"/>
                  <a:pt x="173" y="340"/>
                  <a:pt x="159" y="340"/>
                </a:cubicBezTo>
                <a:cubicBezTo>
                  <a:pt x="94" y="340"/>
                  <a:pt x="94" y="340"/>
                  <a:pt x="94" y="340"/>
                </a:cubicBezTo>
                <a:cubicBezTo>
                  <a:pt x="88" y="340"/>
                  <a:pt x="85" y="336"/>
                  <a:pt x="85" y="333"/>
                </a:cubicBezTo>
                <a:cubicBezTo>
                  <a:pt x="85" y="332"/>
                  <a:pt x="86" y="331"/>
                  <a:pt x="87" y="330"/>
                </a:cubicBezTo>
                <a:cubicBezTo>
                  <a:pt x="89" y="329"/>
                  <a:pt x="93" y="328"/>
                  <a:pt x="98" y="328"/>
                </a:cubicBezTo>
                <a:cubicBezTo>
                  <a:pt x="155" y="327"/>
                  <a:pt x="155" y="327"/>
                  <a:pt x="155" y="327"/>
                </a:cubicBezTo>
                <a:cubicBezTo>
                  <a:pt x="161" y="327"/>
                  <a:pt x="161" y="327"/>
                  <a:pt x="162" y="327"/>
                </a:cubicBezTo>
                <a:cubicBezTo>
                  <a:pt x="164" y="328"/>
                  <a:pt x="164" y="328"/>
                  <a:pt x="164" y="328"/>
                </a:cubicBezTo>
                <a:cubicBezTo>
                  <a:pt x="173" y="329"/>
                  <a:pt x="182" y="329"/>
                  <a:pt x="189" y="322"/>
                </a:cubicBezTo>
                <a:cubicBezTo>
                  <a:pt x="197" y="315"/>
                  <a:pt x="198" y="303"/>
                  <a:pt x="196" y="283"/>
                </a:cubicBezTo>
                <a:cubicBezTo>
                  <a:pt x="194" y="249"/>
                  <a:pt x="206" y="235"/>
                  <a:pt x="222" y="216"/>
                </a:cubicBezTo>
                <a:cubicBezTo>
                  <a:pt x="228" y="209"/>
                  <a:pt x="228" y="209"/>
                  <a:pt x="228" y="209"/>
                </a:cubicBezTo>
                <a:cubicBezTo>
                  <a:pt x="239" y="195"/>
                  <a:pt x="256" y="159"/>
                  <a:pt x="256" y="128"/>
                </a:cubicBezTo>
                <a:cubicBezTo>
                  <a:pt x="256" y="57"/>
                  <a:pt x="199" y="0"/>
                  <a:pt x="128" y="0"/>
                </a:cubicBezTo>
                <a:cubicBezTo>
                  <a:pt x="58" y="0"/>
                  <a:pt x="0" y="57"/>
                  <a:pt x="0" y="128"/>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2" name="Freeform 152"/>
          <p:cNvSpPr>
            <a:spLocks noChangeAspect="1"/>
          </p:cNvSpPr>
          <p:nvPr userDrawn="1"/>
        </p:nvSpPr>
        <p:spPr bwMode="auto">
          <a:xfrm>
            <a:off x="7471868" y="4723069"/>
            <a:ext cx="586683" cy="351304"/>
          </a:xfrm>
          <a:custGeom>
            <a:avLst/>
            <a:gdLst/>
            <a:ahLst/>
            <a:cxnLst>
              <a:cxn ang="0">
                <a:pos x="230" y="1"/>
              </a:cxn>
              <a:cxn ang="0">
                <a:pos x="218" y="11"/>
              </a:cxn>
              <a:cxn ang="0">
                <a:pos x="169" y="208"/>
              </a:cxn>
              <a:cxn ang="0">
                <a:pos x="118" y="25"/>
              </a:cxn>
              <a:cxn ang="0">
                <a:pos x="105" y="15"/>
              </a:cxn>
              <a:cxn ang="0">
                <a:pos x="92" y="26"/>
              </a:cxn>
              <a:cxn ang="0">
                <a:pos x="65" y="188"/>
              </a:cxn>
              <a:cxn ang="0">
                <a:pos x="60" y="178"/>
              </a:cxn>
              <a:cxn ang="0">
                <a:pos x="11" y="116"/>
              </a:cxn>
              <a:cxn ang="0">
                <a:pos x="0" y="129"/>
              </a:cxn>
              <a:cxn ang="0">
                <a:pos x="1" y="132"/>
              </a:cxn>
              <a:cxn ang="0">
                <a:pos x="11" y="142"/>
              </a:cxn>
              <a:cxn ang="0">
                <a:pos x="57" y="244"/>
              </a:cxn>
              <a:cxn ang="0">
                <a:pos x="70" y="253"/>
              </a:cxn>
              <a:cxn ang="0">
                <a:pos x="83" y="242"/>
              </a:cxn>
              <a:cxn ang="0">
                <a:pos x="108" y="90"/>
              </a:cxn>
              <a:cxn ang="0">
                <a:pos x="124" y="147"/>
              </a:cxn>
              <a:cxn ang="0">
                <a:pos x="146" y="226"/>
              </a:cxn>
              <a:cxn ang="0">
                <a:pos x="154" y="252"/>
              </a:cxn>
              <a:cxn ang="0">
                <a:pos x="156" y="260"/>
              </a:cxn>
              <a:cxn ang="0">
                <a:pos x="170" y="272"/>
              </a:cxn>
              <a:cxn ang="0">
                <a:pos x="183" y="262"/>
              </a:cxn>
              <a:cxn ang="0">
                <a:pos x="234" y="58"/>
              </a:cxn>
              <a:cxn ang="0">
                <a:pos x="265" y="139"/>
              </a:cxn>
              <a:cxn ang="0">
                <a:pos x="277" y="147"/>
              </a:cxn>
              <a:cxn ang="0">
                <a:pos x="441" y="147"/>
              </a:cxn>
              <a:cxn ang="0">
                <a:pos x="454" y="134"/>
              </a:cxn>
              <a:cxn ang="0">
                <a:pos x="441" y="121"/>
              </a:cxn>
              <a:cxn ang="0">
                <a:pos x="286" y="121"/>
              </a:cxn>
              <a:cxn ang="0">
                <a:pos x="244" y="9"/>
              </a:cxn>
              <a:cxn ang="0">
                <a:pos x="230" y="1"/>
              </a:cxn>
            </a:cxnLst>
            <a:rect l="0" t="0" r="r" b="b"/>
            <a:pathLst>
              <a:path w="454" h="272">
                <a:moveTo>
                  <a:pt x="230" y="1"/>
                </a:moveTo>
                <a:cubicBezTo>
                  <a:pt x="224" y="1"/>
                  <a:pt x="220" y="5"/>
                  <a:pt x="218" y="11"/>
                </a:cubicBezTo>
                <a:cubicBezTo>
                  <a:pt x="218" y="11"/>
                  <a:pt x="184" y="146"/>
                  <a:pt x="169" y="208"/>
                </a:cubicBezTo>
                <a:cubicBezTo>
                  <a:pt x="155" y="159"/>
                  <a:pt x="134" y="82"/>
                  <a:pt x="118" y="25"/>
                </a:cubicBezTo>
                <a:cubicBezTo>
                  <a:pt x="116" y="18"/>
                  <a:pt x="111" y="14"/>
                  <a:pt x="105" y="15"/>
                </a:cubicBezTo>
                <a:cubicBezTo>
                  <a:pt x="98" y="15"/>
                  <a:pt x="93" y="20"/>
                  <a:pt x="92" y="26"/>
                </a:cubicBezTo>
                <a:cubicBezTo>
                  <a:pt x="92" y="26"/>
                  <a:pt x="74" y="131"/>
                  <a:pt x="65" y="188"/>
                </a:cubicBezTo>
                <a:cubicBezTo>
                  <a:pt x="63" y="185"/>
                  <a:pt x="62" y="181"/>
                  <a:pt x="60" y="178"/>
                </a:cubicBezTo>
                <a:cubicBezTo>
                  <a:pt x="40" y="129"/>
                  <a:pt x="27" y="113"/>
                  <a:pt x="11" y="116"/>
                </a:cubicBezTo>
                <a:cubicBezTo>
                  <a:pt x="5" y="117"/>
                  <a:pt x="0" y="123"/>
                  <a:pt x="0" y="129"/>
                </a:cubicBezTo>
                <a:cubicBezTo>
                  <a:pt x="0" y="130"/>
                  <a:pt x="0" y="131"/>
                  <a:pt x="1" y="132"/>
                </a:cubicBezTo>
                <a:cubicBezTo>
                  <a:pt x="2" y="137"/>
                  <a:pt x="6" y="141"/>
                  <a:pt x="11" y="142"/>
                </a:cubicBezTo>
                <a:cubicBezTo>
                  <a:pt x="20" y="151"/>
                  <a:pt x="40" y="196"/>
                  <a:pt x="57" y="244"/>
                </a:cubicBezTo>
                <a:cubicBezTo>
                  <a:pt x="59" y="250"/>
                  <a:pt x="64" y="253"/>
                  <a:pt x="70" y="253"/>
                </a:cubicBezTo>
                <a:cubicBezTo>
                  <a:pt x="77" y="252"/>
                  <a:pt x="82" y="248"/>
                  <a:pt x="83" y="242"/>
                </a:cubicBezTo>
                <a:cubicBezTo>
                  <a:pt x="83" y="242"/>
                  <a:pt x="98" y="151"/>
                  <a:pt x="108" y="90"/>
                </a:cubicBezTo>
                <a:cubicBezTo>
                  <a:pt x="116" y="118"/>
                  <a:pt x="124" y="147"/>
                  <a:pt x="124" y="147"/>
                </a:cubicBezTo>
                <a:cubicBezTo>
                  <a:pt x="146" y="226"/>
                  <a:pt x="146" y="226"/>
                  <a:pt x="146" y="226"/>
                </a:cubicBezTo>
                <a:cubicBezTo>
                  <a:pt x="154" y="252"/>
                  <a:pt x="154" y="252"/>
                  <a:pt x="154" y="252"/>
                </a:cubicBezTo>
                <a:cubicBezTo>
                  <a:pt x="156" y="260"/>
                  <a:pt x="156" y="260"/>
                  <a:pt x="156" y="260"/>
                </a:cubicBezTo>
                <a:cubicBezTo>
                  <a:pt x="157" y="263"/>
                  <a:pt x="160" y="272"/>
                  <a:pt x="170" y="272"/>
                </a:cubicBezTo>
                <a:cubicBezTo>
                  <a:pt x="176" y="272"/>
                  <a:pt x="181" y="268"/>
                  <a:pt x="183" y="262"/>
                </a:cubicBezTo>
                <a:cubicBezTo>
                  <a:pt x="183" y="262"/>
                  <a:pt x="219" y="115"/>
                  <a:pt x="234" y="58"/>
                </a:cubicBezTo>
                <a:cubicBezTo>
                  <a:pt x="247" y="94"/>
                  <a:pt x="265" y="139"/>
                  <a:pt x="265" y="139"/>
                </a:cubicBezTo>
                <a:cubicBezTo>
                  <a:pt x="267" y="144"/>
                  <a:pt x="272" y="147"/>
                  <a:pt x="277" y="147"/>
                </a:cubicBezTo>
                <a:cubicBezTo>
                  <a:pt x="441" y="147"/>
                  <a:pt x="441" y="147"/>
                  <a:pt x="441" y="147"/>
                </a:cubicBezTo>
                <a:cubicBezTo>
                  <a:pt x="448" y="147"/>
                  <a:pt x="454" y="141"/>
                  <a:pt x="454" y="134"/>
                </a:cubicBezTo>
                <a:cubicBezTo>
                  <a:pt x="454" y="127"/>
                  <a:pt x="448" y="121"/>
                  <a:pt x="441" y="121"/>
                </a:cubicBezTo>
                <a:cubicBezTo>
                  <a:pt x="441" y="121"/>
                  <a:pt x="303" y="121"/>
                  <a:pt x="286" y="121"/>
                </a:cubicBezTo>
                <a:cubicBezTo>
                  <a:pt x="281" y="106"/>
                  <a:pt x="244" y="9"/>
                  <a:pt x="244" y="9"/>
                </a:cubicBezTo>
                <a:cubicBezTo>
                  <a:pt x="241" y="4"/>
                  <a:pt x="236" y="0"/>
                  <a:pt x="230" y="1"/>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3" name="Freeform 176"/>
          <p:cNvSpPr>
            <a:spLocks noChangeAspect="1"/>
          </p:cNvSpPr>
          <p:nvPr userDrawn="1"/>
        </p:nvSpPr>
        <p:spPr bwMode="auto">
          <a:xfrm>
            <a:off x="11346413" y="2195360"/>
            <a:ext cx="383947" cy="393192"/>
          </a:xfrm>
          <a:custGeom>
            <a:avLst/>
            <a:gdLst/>
            <a:ahLst/>
            <a:cxnLst>
              <a:cxn ang="0">
                <a:pos x="167" y="10"/>
              </a:cxn>
              <a:cxn ang="0">
                <a:pos x="159" y="23"/>
              </a:cxn>
              <a:cxn ang="0">
                <a:pos x="110" y="92"/>
              </a:cxn>
              <a:cxn ang="0">
                <a:pos x="58" y="71"/>
              </a:cxn>
              <a:cxn ang="0">
                <a:pos x="10" y="186"/>
              </a:cxn>
              <a:cxn ang="0">
                <a:pos x="77" y="196"/>
              </a:cxn>
              <a:cxn ang="0">
                <a:pos x="69" y="179"/>
              </a:cxn>
              <a:cxn ang="0">
                <a:pos x="69" y="98"/>
              </a:cxn>
              <a:cxn ang="0">
                <a:pos x="120" y="119"/>
              </a:cxn>
              <a:cxn ang="0">
                <a:pos x="192" y="72"/>
              </a:cxn>
              <a:cxn ang="0">
                <a:pos x="187" y="31"/>
              </a:cxn>
              <a:cxn ang="0">
                <a:pos x="262" y="71"/>
              </a:cxn>
              <a:cxn ang="0">
                <a:pos x="273" y="85"/>
              </a:cxn>
              <a:cxn ang="0">
                <a:pos x="341" y="125"/>
              </a:cxn>
              <a:cxn ang="0">
                <a:pos x="354" y="120"/>
              </a:cxn>
              <a:cxn ang="0">
                <a:pos x="421" y="165"/>
              </a:cxn>
              <a:cxn ang="0">
                <a:pos x="386" y="180"/>
              </a:cxn>
              <a:cxn ang="0">
                <a:pos x="378" y="193"/>
              </a:cxn>
              <a:cxn ang="0">
                <a:pos x="383" y="226"/>
              </a:cxn>
              <a:cxn ang="0">
                <a:pos x="377" y="274"/>
              </a:cxn>
              <a:cxn ang="0">
                <a:pos x="386" y="286"/>
              </a:cxn>
              <a:cxn ang="0">
                <a:pos x="407" y="335"/>
              </a:cxn>
              <a:cxn ang="0">
                <a:pos x="372" y="358"/>
              </a:cxn>
              <a:cxn ang="0">
                <a:pos x="351" y="345"/>
              </a:cxn>
              <a:cxn ang="0">
                <a:pos x="330" y="348"/>
              </a:cxn>
              <a:cxn ang="0">
                <a:pos x="274" y="378"/>
              </a:cxn>
              <a:cxn ang="0">
                <a:pos x="263" y="383"/>
              </a:cxn>
              <a:cxn ang="0">
                <a:pos x="260" y="395"/>
              </a:cxn>
              <a:cxn ang="0">
                <a:pos x="227" y="435"/>
              </a:cxn>
              <a:cxn ang="0">
                <a:pos x="188" y="393"/>
              </a:cxn>
              <a:cxn ang="0">
                <a:pos x="175" y="379"/>
              </a:cxn>
              <a:cxn ang="0">
                <a:pos x="120" y="346"/>
              </a:cxn>
              <a:cxn ang="0">
                <a:pos x="111" y="341"/>
              </a:cxn>
              <a:cxn ang="0">
                <a:pos x="71" y="368"/>
              </a:cxn>
              <a:cxn ang="0">
                <a:pos x="147" y="244"/>
              </a:cxn>
              <a:cxn ang="0">
                <a:pos x="227" y="160"/>
              </a:cxn>
              <a:cxn ang="0">
                <a:pos x="227" y="304"/>
              </a:cxn>
              <a:cxn ang="0">
                <a:pos x="154" y="279"/>
              </a:cxn>
              <a:cxn ang="0">
                <a:pos x="227" y="330"/>
              </a:cxn>
              <a:cxn ang="0">
                <a:pos x="325" y="232"/>
              </a:cxn>
              <a:cxn ang="0">
                <a:pos x="128" y="223"/>
              </a:cxn>
              <a:cxn ang="0">
                <a:pos x="4" y="292"/>
              </a:cxn>
              <a:cxn ang="0">
                <a:pos x="63" y="397"/>
              </a:cxn>
              <a:cxn ang="0">
                <a:pos x="109" y="371"/>
              </a:cxn>
              <a:cxn ang="0">
                <a:pos x="161" y="402"/>
              </a:cxn>
              <a:cxn ang="0">
                <a:pos x="159" y="440"/>
              </a:cxn>
              <a:cxn ang="0">
                <a:pos x="194" y="459"/>
              </a:cxn>
              <a:cxn ang="0">
                <a:pos x="292" y="447"/>
              </a:cxn>
              <a:cxn ang="0">
                <a:pos x="295" y="440"/>
              </a:cxn>
              <a:cxn ang="0">
                <a:pos x="288" y="403"/>
              </a:cxn>
              <a:cxn ang="0">
                <a:pos x="344" y="372"/>
              </a:cxn>
              <a:cxn ang="0">
                <a:pos x="379" y="394"/>
              </a:cxn>
              <a:cxn ang="0">
                <a:pos x="429" y="350"/>
              </a:cxn>
              <a:cxn ang="0">
                <a:pos x="450" y="289"/>
              </a:cxn>
              <a:cxn ang="0">
                <a:pos x="406" y="265"/>
              </a:cxn>
              <a:cxn ang="0">
                <a:pos x="407" y="200"/>
              </a:cxn>
              <a:cxn ang="0">
                <a:pos x="443" y="184"/>
              </a:cxn>
              <a:cxn ang="0">
                <a:pos x="451" y="169"/>
              </a:cxn>
              <a:cxn ang="0">
                <a:pos x="377" y="70"/>
              </a:cxn>
              <a:cxn ang="0">
                <a:pos x="289" y="62"/>
              </a:cxn>
              <a:cxn ang="0">
                <a:pos x="291" y="19"/>
              </a:cxn>
              <a:cxn ang="0">
                <a:pos x="228" y="1"/>
              </a:cxn>
            </a:cxnLst>
            <a:rect l="0" t="0" r="r" b="b"/>
            <a:pathLst>
              <a:path w="451" h="462">
                <a:moveTo>
                  <a:pt x="228" y="1"/>
                </a:moveTo>
                <a:cubicBezTo>
                  <a:pt x="218" y="1"/>
                  <a:pt x="184" y="2"/>
                  <a:pt x="167" y="10"/>
                </a:cubicBezTo>
                <a:cubicBezTo>
                  <a:pt x="162" y="12"/>
                  <a:pt x="159" y="17"/>
                  <a:pt x="159" y="22"/>
                </a:cubicBezTo>
                <a:cubicBezTo>
                  <a:pt x="159" y="22"/>
                  <a:pt x="159" y="23"/>
                  <a:pt x="159" y="23"/>
                </a:cubicBezTo>
                <a:cubicBezTo>
                  <a:pt x="159" y="23"/>
                  <a:pt x="162" y="49"/>
                  <a:pt x="164" y="62"/>
                </a:cubicBezTo>
                <a:cubicBezTo>
                  <a:pt x="143" y="70"/>
                  <a:pt x="123" y="83"/>
                  <a:pt x="110" y="92"/>
                </a:cubicBezTo>
                <a:cubicBezTo>
                  <a:pt x="100" y="86"/>
                  <a:pt x="74" y="70"/>
                  <a:pt x="74" y="70"/>
                </a:cubicBezTo>
                <a:cubicBezTo>
                  <a:pt x="69" y="67"/>
                  <a:pt x="63" y="67"/>
                  <a:pt x="58" y="71"/>
                </a:cubicBezTo>
                <a:cubicBezTo>
                  <a:pt x="46" y="80"/>
                  <a:pt x="10" y="131"/>
                  <a:pt x="1" y="170"/>
                </a:cubicBezTo>
                <a:cubicBezTo>
                  <a:pt x="0" y="177"/>
                  <a:pt x="4" y="183"/>
                  <a:pt x="10" y="186"/>
                </a:cubicBezTo>
                <a:cubicBezTo>
                  <a:pt x="60" y="204"/>
                  <a:pt x="60" y="204"/>
                  <a:pt x="60" y="204"/>
                </a:cubicBezTo>
                <a:cubicBezTo>
                  <a:pt x="66" y="207"/>
                  <a:pt x="74" y="203"/>
                  <a:pt x="77" y="196"/>
                </a:cubicBezTo>
                <a:cubicBezTo>
                  <a:pt x="77" y="195"/>
                  <a:pt x="78" y="193"/>
                  <a:pt x="78" y="192"/>
                </a:cubicBezTo>
                <a:cubicBezTo>
                  <a:pt x="78" y="186"/>
                  <a:pt x="74" y="181"/>
                  <a:pt x="69" y="179"/>
                </a:cubicBezTo>
                <a:cubicBezTo>
                  <a:pt x="69" y="179"/>
                  <a:pt x="44" y="170"/>
                  <a:pt x="31" y="165"/>
                </a:cubicBezTo>
                <a:cubicBezTo>
                  <a:pt x="39" y="139"/>
                  <a:pt x="58" y="111"/>
                  <a:pt x="69" y="98"/>
                </a:cubicBezTo>
                <a:cubicBezTo>
                  <a:pt x="80" y="105"/>
                  <a:pt x="104" y="120"/>
                  <a:pt x="104" y="120"/>
                </a:cubicBezTo>
                <a:cubicBezTo>
                  <a:pt x="109" y="123"/>
                  <a:pt x="115" y="123"/>
                  <a:pt x="120" y="119"/>
                </a:cubicBezTo>
                <a:cubicBezTo>
                  <a:pt x="137" y="105"/>
                  <a:pt x="162" y="89"/>
                  <a:pt x="181" y="85"/>
                </a:cubicBezTo>
                <a:cubicBezTo>
                  <a:pt x="187" y="84"/>
                  <a:pt x="192" y="78"/>
                  <a:pt x="192" y="72"/>
                </a:cubicBezTo>
                <a:cubicBezTo>
                  <a:pt x="192" y="72"/>
                  <a:pt x="192" y="71"/>
                  <a:pt x="191" y="71"/>
                </a:cubicBezTo>
                <a:cubicBezTo>
                  <a:pt x="191" y="71"/>
                  <a:pt x="189" y="45"/>
                  <a:pt x="187" y="31"/>
                </a:cubicBezTo>
                <a:cubicBezTo>
                  <a:pt x="208" y="27"/>
                  <a:pt x="247" y="26"/>
                  <a:pt x="264" y="29"/>
                </a:cubicBezTo>
                <a:cubicBezTo>
                  <a:pt x="264" y="40"/>
                  <a:pt x="263" y="60"/>
                  <a:pt x="262" y="71"/>
                </a:cubicBezTo>
                <a:cubicBezTo>
                  <a:pt x="262" y="71"/>
                  <a:pt x="262" y="72"/>
                  <a:pt x="262" y="72"/>
                </a:cubicBezTo>
                <a:cubicBezTo>
                  <a:pt x="262" y="79"/>
                  <a:pt x="266" y="84"/>
                  <a:pt x="273" y="85"/>
                </a:cubicBezTo>
                <a:cubicBezTo>
                  <a:pt x="289" y="88"/>
                  <a:pt x="327" y="112"/>
                  <a:pt x="332" y="119"/>
                </a:cubicBezTo>
                <a:cubicBezTo>
                  <a:pt x="334" y="122"/>
                  <a:pt x="337" y="124"/>
                  <a:pt x="341" y="125"/>
                </a:cubicBezTo>
                <a:cubicBezTo>
                  <a:pt x="344" y="126"/>
                  <a:pt x="348" y="125"/>
                  <a:pt x="351" y="122"/>
                </a:cubicBezTo>
                <a:cubicBezTo>
                  <a:pt x="354" y="120"/>
                  <a:pt x="354" y="120"/>
                  <a:pt x="354" y="120"/>
                </a:cubicBezTo>
                <a:cubicBezTo>
                  <a:pt x="362" y="114"/>
                  <a:pt x="373" y="105"/>
                  <a:pt x="382" y="99"/>
                </a:cubicBezTo>
                <a:cubicBezTo>
                  <a:pt x="395" y="116"/>
                  <a:pt x="413" y="148"/>
                  <a:pt x="421" y="165"/>
                </a:cubicBezTo>
                <a:cubicBezTo>
                  <a:pt x="417" y="167"/>
                  <a:pt x="412" y="169"/>
                  <a:pt x="412" y="169"/>
                </a:cubicBezTo>
                <a:cubicBezTo>
                  <a:pt x="386" y="180"/>
                  <a:pt x="386" y="180"/>
                  <a:pt x="386" y="180"/>
                </a:cubicBezTo>
                <a:cubicBezTo>
                  <a:pt x="382" y="182"/>
                  <a:pt x="379" y="185"/>
                  <a:pt x="378" y="189"/>
                </a:cubicBezTo>
                <a:cubicBezTo>
                  <a:pt x="378" y="190"/>
                  <a:pt x="378" y="191"/>
                  <a:pt x="378" y="193"/>
                </a:cubicBezTo>
                <a:cubicBezTo>
                  <a:pt x="378" y="195"/>
                  <a:pt x="378" y="198"/>
                  <a:pt x="379" y="200"/>
                </a:cubicBezTo>
                <a:cubicBezTo>
                  <a:pt x="382" y="203"/>
                  <a:pt x="383" y="214"/>
                  <a:pt x="383" y="226"/>
                </a:cubicBezTo>
                <a:cubicBezTo>
                  <a:pt x="383" y="243"/>
                  <a:pt x="381" y="262"/>
                  <a:pt x="378" y="268"/>
                </a:cubicBezTo>
                <a:cubicBezTo>
                  <a:pt x="377" y="270"/>
                  <a:pt x="377" y="272"/>
                  <a:pt x="377" y="274"/>
                </a:cubicBezTo>
                <a:cubicBezTo>
                  <a:pt x="377" y="276"/>
                  <a:pt x="377" y="277"/>
                  <a:pt x="378" y="279"/>
                </a:cubicBezTo>
                <a:cubicBezTo>
                  <a:pt x="379" y="283"/>
                  <a:pt x="382" y="285"/>
                  <a:pt x="386" y="286"/>
                </a:cubicBezTo>
                <a:cubicBezTo>
                  <a:pt x="401" y="291"/>
                  <a:pt x="410" y="294"/>
                  <a:pt x="423" y="300"/>
                </a:cubicBezTo>
                <a:cubicBezTo>
                  <a:pt x="421" y="307"/>
                  <a:pt x="416" y="319"/>
                  <a:pt x="407" y="335"/>
                </a:cubicBezTo>
                <a:cubicBezTo>
                  <a:pt x="398" y="350"/>
                  <a:pt x="391" y="360"/>
                  <a:pt x="385" y="366"/>
                </a:cubicBezTo>
                <a:cubicBezTo>
                  <a:pt x="381" y="364"/>
                  <a:pt x="376" y="361"/>
                  <a:pt x="372" y="358"/>
                </a:cubicBezTo>
                <a:cubicBezTo>
                  <a:pt x="364" y="353"/>
                  <a:pt x="352" y="346"/>
                  <a:pt x="350" y="344"/>
                </a:cubicBezTo>
                <a:cubicBezTo>
                  <a:pt x="351" y="345"/>
                  <a:pt x="351" y="345"/>
                  <a:pt x="351" y="345"/>
                </a:cubicBezTo>
                <a:cubicBezTo>
                  <a:pt x="348" y="342"/>
                  <a:pt x="344" y="341"/>
                  <a:pt x="340" y="342"/>
                </a:cubicBezTo>
                <a:cubicBezTo>
                  <a:pt x="336" y="342"/>
                  <a:pt x="332" y="345"/>
                  <a:pt x="330" y="348"/>
                </a:cubicBezTo>
                <a:cubicBezTo>
                  <a:pt x="330" y="348"/>
                  <a:pt x="330" y="348"/>
                  <a:pt x="330" y="348"/>
                </a:cubicBezTo>
                <a:cubicBezTo>
                  <a:pt x="324" y="357"/>
                  <a:pt x="284" y="379"/>
                  <a:pt x="274" y="378"/>
                </a:cubicBezTo>
                <a:cubicBezTo>
                  <a:pt x="275" y="378"/>
                  <a:pt x="275" y="378"/>
                  <a:pt x="275" y="378"/>
                </a:cubicBezTo>
                <a:cubicBezTo>
                  <a:pt x="270" y="378"/>
                  <a:pt x="266" y="380"/>
                  <a:pt x="263" y="383"/>
                </a:cubicBezTo>
                <a:cubicBezTo>
                  <a:pt x="260" y="387"/>
                  <a:pt x="259" y="392"/>
                  <a:pt x="260" y="396"/>
                </a:cubicBezTo>
                <a:cubicBezTo>
                  <a:pt x="260" y="395"/>
                  <a:pt x="260" y="395"/>
                  <a:pt x="260" y="395"/>
                </a:cubicBezTo>
                <a:cubicBezTo>
                  <a:pt x="260" y="397"/>
                  <a:pt x="264" y="420"/>
                  <a:pt x="267" y="432"/>
                </a:cubicBezTo>
                <a:cubicBezTo>
                  <a:pt x="261" y="434"/>
                  <a:pt x="248" y="436"/>
                  <a:pt x="227" y="435"/>
                </a:cubicBezTo>
                <a:cubicBezTo>
                  <a:pt x="209" y="435"/>
                  <a:pt x="194" y="432"/>
                  <a:pt x="186" y="431"/>
                </a:cubicBezTo>
                <a:cubicBezTo>
                  <a:pt x="187" y="418"/>
                  <a:pt x="188" y="393"/>
                  <a:pt x="188" y="393"/>
                </a:cubicBezTo>
                <a:cubicBezTo>
                  <a:pt x="188" y="393"/>
                  <a:pt x="188" y="393"/>
                  <a:pt x="188" y="392"/>
                </a:cubicBezTo>
                <a:cubicBezTo>
                  <a:pt x="188" y="385"/>
                  <a:pt x="182" y="379"/>
                  <a:pt x="175" y="379"/>
                </a:cubicBezTo>
                <a:cubicBezTo>
                  <a:pt x="175" y="379"/>
                  <a:pt x="175" y="379"/>
                  <a:pt x="175" y="379"/>
                </a:cubicBezTo>
                <a:cubicBezTo>
                  <a:pt x="166" y="378"/>
                  <a:pt x="126" y="353"/>
                  <a:pt x="120" y="346"/>
                </a:cubicBezTo>
                <a:cubicBezTo>
                  <a:pt x="121" y="347"/>
                  <a:pt x="121" y="347"/>
                  <a:pt x="121" y="347"/>
                </a:cubicBezTo>
                <a:cubicBezTo>
                  <a:pt x="119" y="344"/>
                  <a:pt x="115" y="342"/>
                  <a:pt x="111" y="341"/>
                </a:cubicBezTo>
                <a:cubicBezTo>
                  <a:pt x="108" y="340"/>
                  <a:pt x="103" y="341"/>
                  <a:pt x="101" y="343"/>
                </a:cubicBezTo>
                <a:cubicBezTo>
                  <a:pt x="101" y="343"/>
                  <a:pt x="81" y="359"/>
                  <a:pt x="71" y="368"/>
                </a:cubicBezTo>
                <a:cubicBezTo>
                  <a:pt x="59" y="355"/>
                  <a:pt x="38" y="326"/>
                  <a:pt x="32" y="300"/>
                </a:cubicBezTo>
                <a:cubicBezTo>
                  <a:pt x="47" y="292"/>
                  <a:pt x="147" y="244"/>
                  <a:pt x="147" y="244"/>
                </a:cubicBezTo>
                <a:cubicBezTo>
                  <a:pt x="152" y="241"/>
                  <a:pt x="155" y="237"/>
                  <a:pt x="155" y="232"/>
                </a:cubicBezTo>
                <a:cubicBezTo>
                  <a:pt x="155" y="192"/>
                  <a:pt x="187" y="160"/>
                  <a:pt x="227" y="160"/>
                </a:cubicBezTo>
                <a:cubicBezTo>
                  <a:pt x="266" y="160"/>
                  <a:pt x="299" y="192"/>
                  <a:pt x="299" y="232"/>
                </a:cubicBezTo>
                <a:cubicBezTo>
                  <a:pt x="299" y="271"/>
                  <a:pt x="266" y="304"/>
                  <a:pt x="227" y="304"/>
                </a:cubicBezTo>
                <a:cubicBezTo>
                  <a:pt x="206" y="304"/>
                  <a:pt x="187" y="295"/>
                  <a:pt x="173" y="280"/>
                </a:cubicBezTo>
                <a:cubicBezTo>
                  <a:pt x="168" y="274"/>
                  <a:pt x="160" y="274"/>
                  <a:pt x="154" y="279"/>
                </a:cubicBezTo>
                <a:cubicBezTo>
                  <a:pt x="149" y="284"/>
                  <a:pt x="148" y="292"/>
                  <a:pt x="153" y="298"/>
                </a:cubicBezTo>
                <a:cubicBezTo>
                  <a:pt x="172" y="318"/>
                  <a:pt x="199" y="330"/>
                  <a:pt x="227" y="330"/>
                </a:cubicBezTo>
                <a:cubicBezTo>
                  <a:pt x="253" y="330"/>
                  <a:pt x="278" y="320"/>
                  <a:pt x="296" y="302"/>
                </a:cubicBezTo>
                <a:cubicBezTo>
                  <a:pt x="315" y="283"/>
                  <a:pt x="325" y="258"/>
                  <a:pt x="325" y="232"/>
                </a:cubicBezTo>
                <a:cubicBezTo>
                  <a:pt x="325" y="177"/>
                  <a:pt x="281" y="133"/>
                  <a:pt x="227" y="133"/>
                </a:cubicBezTo>
                <a:cubicBezTo>
                  <a:pt x="175" y="133"/>
                  <a:pt x="133" y="173"/>
                  <a:pt x="128" y="223"/>
                </a:cubicBezTo>
                <a:cubicBezTo>
                  <a:pt x="116" y="229"/>
                  <a:pt x="11" y="280"/>
                  <a:pt x="11" y="280"/>
                </a:cubicBezTo>
                <a:cubicBezTo>
                  <a:pt x="7" y="282"/>
                  <a:pt x="4" y="287"/>
                  <a:pt x="4" y="292"/>
                </a:cubicBezTo>
                <a:cubicBezTo>
                  <a:pt x="4" y="292"/>
                  <a:pt x="4" y="293"/>
                  <a:pt x="4" y="293"/>
                </a:cubicBezTo>
                <a:cubicBezTo>
                  <a:pt x="7" y="336"/>
                  <a:pt x="50" y="389"/>
                  <a:pt x="63" y="397"/>
                </a:cubicBezTo>
                <a:cubicBezTo>
                  <a:pt x="68" y="400"/>
                  <a:pt x="74" y="400"/>
                  <a:pt x="78" y="396"/>
                </a:cubicBezTo>
                <a:cubicBezTo>
                  <a:pt x="78" y="396"/>
                  <a:pt x="98" y="380"/>
                  <a:pt x="109" y="371"/>
                </a:cubicBezTo>
                <a:cubicBezTo>
                  <a:pt x="115" y="377"/>
                  <a:pt x="124" y="382"/>
                  <a:pt x="131" y="387"/>
                </a:cubicBezTo>
                <a:cubicBezTo>
                  <a:pt x="145" y="395"/>
                  <a:pt x="154" y="400"/>
                  <a:pt x="161" y="402"/>
                </a:cubicBezTo>
                <a:cubicBezTo>
                  <a:pt x="160" y="415"/>
                  <a:pt x="159" y="439"/>
                  <a:pt x="159" y="439"/>
                </a:cubicBezTo>
                <a:cubicBezTo>
                  <a:pt x="159" y="439"/>
                  <a:pt x="159" y="439"/>
                  <a:pt x="159" y="440"/>
                </a:cubicBezTo>
                <a:cubicBezTo>
                  <a:pt x="159" y="443"/>
                  <a:pt x="160" y="446"/>
                  <a:pt x="162" y="448"/>
                </a:cubicBezTo>
                <a:cubicBezTo>
                  <a:pt x="165" y="452"/>
                  <a:pt x="170" y="456"/>
                  <a:pt x="194" y="459"/>
                </a:cubicBezTo>
                <a:cubicBezTo>
                  <a:pt x="209" y="461"/>
                  <a:pt x="226" y="462"/>
                  <a:pt x="240" y="462"/>
                </a:cubicBezTo>
                <a:cubicBezTo>
                  <a:pt x="276" y="462"/>
                  <a:pt x="287" y="453"/>
                  <a:pt x="292" y="447"/>
                </a:cubicBezTo>
                <a:cubicBezTo>
                  <a:pt x="293" y="446"/>
                  <a:pt x="294" y="444"/>
                  <a:pt x="294" y="443"/>
                </a:cubicBezTo>
                <a:cubicBezTo>
                  <a:pt x="294" y="442"/>
                  <a:pt x="295" y="441"/>
                  <a:pt x="295" y="440"/>
                </a:cubicBezTo>
                <a:cubicBezTo>
                  <a:pt x="295" y="437"/>
                  <a:pt x="294" y="431"/>
                  <a:pt x="290" y="413"/>
                </a:cubicBezTo>
                <a:cubicBezTo>
                  <a:pt x="289" y="409"/>
                  <a:pt x="289" y="406"/>
                  <a:pt x="288" y="403"/>
                </a:cubicBezTo>
                <a:cubicBezTo>
                  <a:pt x="296" y="400"/>
                  <a:pt x="306" y="396"/>
                  <a:pt x="317" y="390"/>
                </a:cubicBezTo>
                <a:cubicBezTo>
                  <a:pt x="324" y="386"/>
                  <a:pt x="335" y="379"/>
                  <a:pt x="344" y="372"/>
                </a:cubicBezTo>
                <a:cubicBezTo>
                  <a:pt x="347" y="374"/>
                  <a:pt x="352" y="377"/>
                  <a:pt x="358" y="381"/>
                </a:cubicBezTo>
                <a:cubicBezTo>
                  <a:pt x="366" y="386"/>
                  <a:pt x="375" y="391"/>
                  <a:pt x="379" y="394"/>
                </a:cubicBezTo>
                <a:cubicBezTo>
                  <a:pt x="384" y="397"/>
                  <a:pt x="389" y="397"/>
                  <a:pt x="393" y="395"/>
                </a:cubicBezTo>
                <a:cubicBezTo>
                  <a:pt x="406" y="388"/>
                  <a:pt x="426" y="356"/>
                  <a:pt x="429" y="350"/>
                </a:cubicBezTo>
                <a:cubicBezTo>
                  <a:pt x="439" y="333"/>
                  <a:pt x="450" y="310"/>
                  <a:pt x="450" y="294"/>
                </a:cubicBezTo>
                <a:cubicBezTo>
                  <a:pt x="450" y="292"/>
                  <a:pt x="450" y="291"/>
                  <a:pt x="450" y="289"/>
                </a:cubicBezTo>
                <a:cubicBezTo>
                  <a:pt x="449" y="285"/>
                  <a:pt x="446" y="281"/>
                  <a:pt x="442" y="279"/>
                </a:cubicBezTo>
                <a:cubicBezTo>
                  <a:pt x="427" y="273"/>
                  <a:pt x="418" y="269"/>
                  <a:pt x="406" y="265"/>
                </a:cubicBezTo>
                <a:cubicBezTo>
                  <a:pt x="408" y="254"/>
                  <a:pt x="409" y="241"/>
                  <a:pt x="409" y="227"/>
                </a:cubicBezTo>
                <a:cubicBezTo>
                  <a:pt x="409" y="217"/>
                  <a:pt x="409" y="208"/>
                  <a:pt x="407" y="200"/>
                </a:cubicBezTo>
                <a:cubicBezTo>
                  <a:pt x="415" y="197"/>
                  <a:pt x="423" y="193"/>
                  <a:pt x="423" y="193"/>
                </a:cubicBezTo>
                <a:cubicBezTo>
                  <a:pt x="443" y="184"/>
                  <a:pt x="443" y="184"/>
                  <a:pt x="443" y="184"/>
                </a:cubicBezTo>
                <a:cubicBezTo>
                  <a:pt x="448" y="182"/>
                  <a:pt x="451" y="177"/>
                  <a:pt x="451" y="172"/>
                </a:cubicBezTo>
                <a:cubicBezTo>
                  <a:pt x="451" y="171"/>
                  <a:pt x="451" y="170"/>
                  <a:pt x="451" y="169"/>
                </a:cubicBezTo>
                <a:cubicBezTo>
                  <a:pt x="448" y="156"/>
                  <a:pt x="413" y="89"/>
                  <a:pt x="393" y="71"/>
                </a:cubicBezTo>
                <a:cubicBezTo>
                  <a:pt x="388" y="67"/>
                  <a:pt x="382" y="67"/>
                  <a:pt x="377" y="70"/>
                </a:cubicBezTo>
                <a:cubicBezTo>
                  <a:pt x="368" y="76"/>
                  <a:pt x="355" y="86"/>
                  <a:pt x="344" y="94"/>
                </a:cubicBezTo>
                <a:cubicBezTo>
                  <a:pt x="330" y="83"/>
                  <a:pt x="307" y="69"/>
                  <a:pt x="289" y="62"/>
                </a:cubicBezTo>
                <a:cubicBezTo>
                  <a:pt x="290" y="44"/>
                  <a:pt x="291" y="21"/>
                  <a:pt x="291" y="20"/>
                </a:cubicBezTo>
                <a:cubicBezTo>
                  <a:pt x="291" y="20"/>
                  <a:pt x="291" y="19"/>
                  <a:pt x="291" y="19"/>
                </a:cubicBezTo>
                <a:cubicBezTo>
                  <a:pt x="291" y="15"/>
                  <a:pt x="289" y="11"/>
                  <a:pt x="286" y="9"/>
                </a:cubicBezTo>
                <a:cubicBezTo>
                  <a:pt x="277" y="2"/>
                  <a:pt x="258" y="0"/>
                  <a:pt x="228" y="1"/>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4" name="Freeform 140"/>
          <p:cNvSpPr>
            <a:spLocks noChangeAspect="1"/>
          </p:cNvSpPr>
          <p:nvPr userDrawn="1"/>
        </p:nvSpPr>
        <p:spPr bwMode="auto">
          <a:xfrm>
            <a:off x="10350370" y="3849421"/>
            <a:ext cx="393194" cy="393192"/>
          </a:xfrm>
          <a:custGeom>
            <a:avLst/>
            <a:gdLst/>
            <a:ahLst/>
            <a:cxnLst>
              <a:cxn ang="0">
                <a:pos x="199" y="26"/>
              </a:cxn>
              <a:cxn ang="0">
                <a:pos x="185" y="99"/>
              </a:cxn>
              <a:cxn ang="0">
                <a:pos x="100" y="80"/>
              </a:cxn>
              <a:cxn ang="0">
                <a:pos x="44" y="43"/>
              </a:cxn>
              <a:cxn ang="0">
                <a:pos x="18" y="52"/>
              </a:cxn>
              <a:cxn ang="0">
                <a:pos x="33" y="80"/>
              </a:cxn>
              <a:cxn ang="0">
                <a:pos x="105" y="171"/>
              </a:cxn>
              <a:cxn ang="0">
                <a:pos x="56" y="215"/>
              </a:cxn>
              <a:cxn ang="0">
                <a:pos x="0" y="244"/>
              </a:cxn>
              <a:cxn ang="0">
                <a:pos x="26" y="262"/>
              </a:cxn>
              <a:cxn ang="0">
                <a:pos x="98" y="275"/>
              </a:cxn>
              <a:cxn ang="0">
                <a:pos x="80" y="361"/>
              </a:cxn>
              <a:cxn ang="0">
                <a:pos x="43" y="417"/>
              </a:cxn>
              <a:cxn ang="0">
                <a:pos x="43" y="439"/>
              </a:cxn>
              <a:cxn ang="0">
                <a:pos x="80" y="427"/>
              </a:cxn>
              <a:cxn ang="0">
                <a:pos x="171" y="356"/>
              </a:cxn>
              <a:cxn ang="0">
                <a:pos x="215" y="404"/>
              </a:cxn>
              <a:cxn ang="0">
                <a:pos x="245" y="461"/>
              </a:cxn>
              <a:cxn ang="0">
                <a:pos x="269" y="401"/>
              </a:cxn>
              <a:cxn ang="0">
                <a:pos x="309" y="346"/>
              </a:cxn>
              <a:cxn ang="0">
                <a:pos x="402" y="408"/>
              </a:cxn>
              <a:cxn ang="0">
                <a:pos x="439" y="418"/>
              </a:cxn>
              <a:cxn ang="0">
                <a:pos x="427" y="381"/>
              </a:cxn>
              <a:cxn ang="0">
                <a:pos x="351" y="283"/>
              </a:cxn>
              <a:cxn ang="0">
                <a:pos x="327" y="292"/>
              </a:cxn>
              <a:cxn ang="0">
                <a:pos x="378" y="361"/>
              </a:cxn>
              <a:cxn ang="0">
                <a:pos x="301" y="319"/>
              </a:cxn>
              <a:cxn ang="0">
                <a:pos x="251" y="349"/>
              </a:cxn>
              <a:cxn ang="0">
                <a:pos x="228" y="351"/>
              </a:cxn>
              <a:cxn ang="0">
                <a:pos x="175" y="329"/>
              </a:cxn>
              <a:cxn ang="0">
                <a:pos x="100" y="378"/>
              </a:cxn>
              <a:cxn ang="0">
                <a:pos x="144" y="309"/>
              </a:cxn>
              <a:cxn ang="0">
                <a:pos x="122" y="261"/>
              </a:cxn>
              <a:cxn ang="0">
                <a:pos x="60" y="242"/>
              </a:cxn>
              <a:cxn ang="0">
                <a:pos x="120" y="216"/>
              </a:cxn>
              <a:cxn ang="0">
                <a:pos x="134" y="169"/>
              </a:cxn>
              <a:cxn ang="0">
                <a:pos x="82" y="100"/>
              </a:cxn>
              <a:cxn ang="0">
                <a:pos x="160" y="141"/>
              </a:cxn>
              <a:cxn ang="0">
                <a:pos x="210" y="112"/>
              </a:cxn>
              <a:cxn ang="0">
                <a:pos x="233" y="110"/>
              </a:cxn>
              <a:cxn ang="0">
                <a:pos x="285" y="132"/>
              </a:cxn>
              <a:cxn ang="0">
                <a:pos x="361" y="82"/>
              </a:cxn>
              <a:cxn ang="0">
                <a:pos x="316" y="152"/>
              </a:cxn>
              <a:cxn ang="0">
                <a:pos x="338" y="200"/>
              </a:cxn>
              <a:cxn ang="0">
                <a:pos x="401" y="219"/>
              </a:cxn>
              <a:cxn ang="0">
                <a:pos x="341" y="246"/>
              </a:cxn>
              <a:cxn ang="0">
                <a:pos x="357" y="259"/>
              </a:cxn>
              <a:cxn ang="0">
                <a:pos x="437" y="236"/>
              </a:cxn>
              <a:cxn ang="0">
                <a:pos x="461" y="216"/>
              </a:cxn>
              <a:cxn ang="0">
                <a:pos x="401" y="192"/>
              </a:cxn>
              <a:cxn ang="0">
                <a:pos x="346" y="151"/>
              </a:cxn>
              <a:cxn ang="0">
                <a:pos x="408" y="59"/>
              </a:cxn>
              <a:cxn ang="0">
                <a:pos x="422" y="31"/>
              </a:cxn>
              <a:cxn ang="0">
                <a:pos x="395" y="23"/>
              </a:cxn>
              <a:cxn ang="0">
                <a:pos x="341" y="64"/>
              </a:cxn>
              <a:cxn ang="0">
                <a:pos x="256" y="95"/>
              </a:cxn>
              <a:cxn ang="0">
                <a:pos x="236" y="24"/>
              </a:cxn>
            </a:cxnLst>
            <a:rect l="0" t="0" r="r" b="b"/>
            <a:pathLst>
              <a:path w="461" h="461">
                <a:moveTo>
                  <a:pt x="216" y="0"/>
                </a:moveTo>
                <a:cubicBezTo>
                  <a:pt x="204" y="1"/>
                  <a:pt x="202" y="12"/>
                  <a:pt x="199" y="26"/>
                </a:cubicBezTo>
                <a:cubicBezTo>
                  <a:pt x="197" y="34"/>
                  <a:pt x="194" y="45"/>
                  <a:pt x="192" y="59"/>
                </a:cubicBezTo>
                <a:cubicBezTo>
                  <a:pt x="189" y="74"/>
                  <a:pt x="187" y="90"/>
                  <a:pt x="185" y="99"/>
                </a:cubicBezTo>
                <a:cubicBezTo>
                  <a:pt x="173" y="103"/>
                  <a:pt x="162" y="108"/>
                  <a:pt x="151" y="115"/>
                </a:cubicBezTo>
                <a:cubicBezTo>
                  <a:pt x="141" y="107"/>
                  <a:pt x="120" y="93"/>
                  <a:pt x="100" y="80"/>
                </a:cubicBezTo>
                <a:cubicBezTo>
                  <a:pt x="83" y="68"/>
                  <a:pt x="69" y="59"/>
                  <a:pt x="59" y="52"/>
                </a:cubicBezTo>
                <a:cubicBezTo>
                  <a:pt x="52" y="48"/>
                  <a:pt x="48" y="45"/>
                  <a:pt x="44" y="43"/>
                </a:cubicBezTo>
                <a:cubicBezTo>
                  <a:pt x="39" y="41"/>
                  <a:pt x="30" y="35"/>
                  <a:pt x="22" y="43"/>
                </a:cubicBezTo>
                <a:cubicBezTo>
                  <a:pt x="19" y="46"/>
                  <a:pt x="18" y="49"/>
                  <a:pt x="18" y="52"/>
                </a:cubicBezTo>
                <a:cubicBezTo>
                  <a:pt x="18" y="58"/>
                  <a:pt x="21" y="63"/>
                  <a:pt x="23" y="66"/>
                </a:cubicBezTo>
                <a:cubicBezTo>
                  <a:pt x="26" y="69"/>
                  <a:pt x="29" y="74"/>
                  <a:pt x="33" y="80"/>
                </a:cubicBezTo>
                <a:cubicBezTo>
                  <a:pt x="41" y="90"/>
                  <a:pt x="51" y="103"/>
                  <a:pt x="64" y="120"/>
                </a:cubicBezTo>
                <a:cubicBezTo>
                  <a:pt x="80" y="140"/>
                  <a:pt x="97" y="161"/>
                  <a:pt x="105" y="171"/>
                </a:cubicBezTo>
                <a:cubicBezTo>
                  <a:pt x="100" y="181"/>
                  <a:pt x="97" y="193"/>
                  <a:pt x="95" y="204"/>
                </a:cubicBezTo>
                <a:cubicBezTo>
                  <a:pt x="86" y="207"/>
                  <a:pt x="71" y="211"/>
                  <a:pt x="56" y="215"/>
                </a:cubicBezTo>
                <a:cubicBezTo>
                  <a:pt x="43" y="219"/>
                  <a:pt x="32" y="222"/>
                  <a:pt x="24" y="225"/>
                </a:cubicBezTo>
                <a:cubicBezTo>
                  <a:pt x="12" y="229"/>
                  <a:pt x="0" y="233"/>
                  <a:pt x="0" y="244"/>
                </a:cubicBezTo>
                <a:cubicBezTo>
                  <a:pt x="0" y="244"/>
                  <a:pt x="0" y="245"/>
                  <a:pt x="0" y="245"/>
                </a:cubicBezTo>
                <a:cubicBezTo>
                  <a:pt x="1" y="257"/>
                  <a:pt x="12" y="259"/>
                  <a:pt x="26" y="262"/>
                </a:cubicBezTo>
                <a:cubicBezTo>
                  <a:pt x="34" y="264"/>
                  <a:pt x="45" y="266"/>
                  <a:pt x="59" y="269"/>
                </a:cubicBezTo>
                <a:cubicBezTo>
                  <a:pt x="74" y="271"/>
                  <a:pt x="89" y="274"/>
                  <a:pt x="98" y="275"/>
                </a:cubicBezTo>
                <a:cubicBezTo>
                  <a:pt x="102" y="287"/>
                  <a:pt x="108" y="299"/>
                  <a:pt x="115" y="309"/>
                </a:cubicBezTo>
                <a:cubicBezTo>
                  <a:pt x="107" y="320"/>
                  <a:pt x="93" y="340"/>
                  <a:pt x="80" y="361"/>
                </a:cubicBezTo>
                <a:cubicBezTo>
                  <a:pt x="68" y="378"/>
                  <a:pt x="59" y="392"/>
                  <a:pt x="52" y="402"/>
                </a:cubicBezTo>
                <a:cubicBezTo>
                  <a:pt x="48" y="408"/>
                  <a:pt x="45" y="413"/>
                  <a:pt x="43" y="417"/>
                </a:cubicBezTo>
                <a:cubicBezTo>
                  <a:pt x="42" y="420"/>
                  <a:pt x="39" y="424"/>
                  <a:pt x="39" y="429"/>
                </a:cubicBezTo>
                <a:cubicBezTo>
                  <a:pt x="39" y="432"/>
                  <a:pt x="40" y="436"/>
                  <a:pt x="43" y="439"/>
                </a:cubicBezTo>
                <a:cubicBezTo>
                  <a:pt x="51" y="447"/>
                  <a:pt x="61" y="440"/>
                  <a:pt x="66" y="437"/>
                </a:cubicBezTo>
                <a:cubicBezTo>
                  <a:pt x="69" y="435"/>
                  <a:pt x="74" y="432"/>
                  <a:pt x="80" y="427"/>
                </a:cubicBezTo>
                <a:cubicBezTo>
                  <a:pt x="90" y="420"/>
                  <a:pt x="103" y="410"/>
                  <a:pt x="120" y="396"/>
                </a:cubicBezTo>
                <a:cubicBezTo>
                  <a:pt x="140" y="380"/>
                  <a:pt x="161" y="364"/>
                  <a:pt x="171" y="356"/>
                </a:cubicBezTo>
                <a:cubicBezTo>
                  <a:pt x="181" y="361"/>
                  <a:pt x="193" y="364"/>
                  <a:pt x="204" y="366"/>
                </a:cubicBezTo>
                <a:cubicBezTo>
                  <a:pt x="207" y="375"/>
                  <a:pt x="211" y="390"/>
                  <a:pt x="215" y="404"/>
                </a:cubicBezTo>
                <a:cubicBezTo>
                  <a:pt x="219" y="418"/>
                  <a:pt x="222" y="429"/>
                  <a:pt x="225" y="437"/>
                </a:cubicBezTo>
                <a:cubicBezTo>
                  <a:pt x="229" y="449"/>
                  <a:pt x="233" y="461"/>
                  <a:pt x="245" y="461"/>
                </a:cubicBezTo>
                <a:cubicBezTo>
                  <a:pt x="257" y="460"/>
                  <a:pt x="259" y="449"/>
                  <a:pt x="262" y="435"/>
                </a:cubicBezTo>
                <a:cubicBezTo>
                  <a:pt x="264" y="427"/>
                  <a:pt x="266" y="416"/>
                  <a:pt x="269" y="401"/>
                </a:cubicBezTo>
                <a:cubicBezTo>
                  <a:pt x="272" y="386"/>
                  <a:pt x="274" y="371"/>
                  <a:pt x="276" y="362"/>
                </a:cubicBezTo>
                <a:cubicBezTo>
                  <a:pt x="288" y="358"/>
                  <a:pt x="299" y="353"/>
                  <a:pt x="309" y="346"/>
                </a:cubicBezTo>
                <a:cubicBezTo>
                  <a:pt x="320" y="353"/>
                  <a:pt x="340" y="367"/>
                  <a:pt x="361" y="381"/>
                </a:cubicBezTo>
                <a:cubicBezTo>
                  <a:pt x="378" y="393"/>
                  <a:pt x="392" y="402"/>
                  <a:pt x="402" y="408"/>
                </a:cubicBezTo>
                <a:cubicBezTo>
                  <a:pt x="408" y="412"/>
                  <a:pt x="413" y="415"/>
                  <a:pt x="417" y="417"/>
                </a:cubicBezTo>
                <a:cubicBezTo>
                  <a:pt x="422" y="420"/>
                  <a:pt x="431" y="425"/>
                  <a:pt x="439" y="418"/>
                </a:cubicBezTo>
                <a:cubicBezTo>
                  <a:pt x="447" y="409"/>
                  <a:pt x="440" y="400"/>
                  <a:pt x="437" y="395"/>
                </a:cubicBezTo>
                <a:cubicBezTo>
                  <a:pt x="435" y="392"/>
                  <a:pt x="432" y="387"/>
                  <a:pt x="427" y="381"/>
                </a:cubicBezTo>
                <a:cubicBezTo>
                  <a:pt x="420" y="371"/>
                  <a:pt x="410" y="357"/>
                  <a:pt x="396" y="341"/>
                </a:cubicBezTo>
                <a:cubicBezTo>
                  <a:pt x="374" y="312"/>
                  <a:pt x="351" y="284"/>
                  <a:pt x="351" y="283"/>
                </a:cubicBezTo>
                <a:cubicBezTo>
                  <a:pt x="346" y="278"/>
                  <a:pt x="338" y="277"/>
                  <a:pt x="332" y="281"/>
                </a:cubicBezTo>
                <a:cubicBezTo>
                  <a:pt x="329" y="284"/>
                  <a:pt x="327" y="288"/>
                  <a:pt x="327" y="292"/>
                </a:cubicBezTo>
                <a:cubicBezTo>
                  <a:pt x="327" y="295"/>
                  <a:pt x="328" y="298"/>
                  <a:pt x="330" y="300"/>
                </a:cubicBezTo>
                <a:cubicBezTo>
                  <a:pt x="347" y="321"/>
                  <a:pt x="364" y="342"/>
                  <a:pt x="378" y="361"/>
                </a:cubicBezTo>
                <a:cubicBezTo>
                  <a:pt x="359" y="348"/>
                  <a:pt x="337" y="333"/>
                  <a:pt x="317" y="319"/>
                </a:cubicBezTo>
                <a:cubicBezTo>
                  <a:pt x="312" y="315"/>
                  <a:pt x="305" y="315"/>
                  <a:pt x="301" y="319"/>
                </a:cubicBezTo>
                <a:cubicBezTo>
                  <a:pt x="290" y="328"/>
                  <a:pt x="275" y="335"/>
                  <a:pt x="261" y="338"/>
                </a:cubicBezTo>
                <a:cubicBezTo>
                  <a:pt x="256" y="339"/>
                  <a:pt x="252" y="343"/>
                  <a:pt x="251" y="349"/>
                </a:cubicBezTo>
                <a:cubicBezTo>
                  <a:pt x="248" y="367"/>
                  <a:pt x="245" y="385"/>
                  <a:pt x="242" y="401"/>
                </a:cubicBezTo>
                <a:cubicBezTo>
                  <a:pt x="237" y="386"/>
                  <a:pt x="232" y="367"/>
                  <a:pt x="228" y="351"/>
                </a:cubicBezTo>
                <a:cubicBezTo>
                  <a:pt x="226" y="345"/>
                  <a:pt x="222" y="341"/>
                  <a:pt x="216" y="341"/>
                </a:cubicBezTo>
                <a:cubicBezTo>
                  <a:pt x="201" y="339"/>
                  <a:pt x="188" y="335"/>
                  <a:pt x="175" y="329"/>
                </a:cubicBezTo>
                <a:cubicBezTo>
                  <a:pt x="170" y="326"/>
                  <a:pt x="165" y="327"/>
                  <a:pt x="161" y="330"/>
                </a:cubicBezTo>
                <a:cubicBezTo>
                  <a:pt x="140" y="346"/>
                  <a:pt x="119" y="364"/>
                  <a:pt x="100" y="378"/>
                </a:cubicBezTo>
                <a:cubicBezTo>
                  <a:pt x="113" y="359"/>
                  <a:pt x="128" y="337"/>
                  <a:pt x="142" y="317"/>
                </a:cubicBezTo>
                <a:cubicBezTo>
                  <a:pt x="144" y="314"/>
                  <a:pt x="144" y="312"/>
                  <a:pt x="144" y="309"/>
                </a:cubicBezTo>
                <a:cubicBezTo>
                  <a:pt x="144" y="306"/>
                  <a:pt x="143" y="303"/>
                  <a:pt x="141" y="301"/>
                </a:cubicBezTo>
                <a:cubicBezTo>
                  <a:pt x="132" y="289"/>
                  <a:pt x="125" y="274"/>
                  <a:pt x="122" y="261"/>
                </a:cubicBezTo>
                <a:cubicBezTo>
                  <a:pt x="121" y="255"/>
                  <a:pt x="117" y="251"/>
                  <a:pt x="111" y="250"/>
                </a:cubicBezTo>
                <a:cubicBezTo>
                  <a:pt x="94" y="248"/>
                  <a:pt x="75" y="245"/>
                  <a:pt x="60" y="242"/>
                </a:cubicBezTo>
                <a:cubicBezTo>
                  <a:pt x="75" y="237"/>
                  <a:pt x="93" y="232"/>
                  <a:pt x="110" y="228"/>
                </a:cubicBezTo>
                <a:cubicBezTo>
                  <a:pt x="115" y="227"/>
                  <a:pt x="119" y="222"/>
                  <a:pt x="120" y="216"/>
                </a:cubicBezTo>
                <a:cubicBezTo>
                  <a:pt x="121" y="201"/>
                  <a:pt x="126" y="188"/>
                  <a:pt x="132" y="175"/>
                </a:cubicBezTo>
                <a:cubicBezTo>
                  <a:pt x="133" y="173"/>
                  <a:pt x="134" y="171"/>
                  <a:pt x="134" y="169"/>
                </a:cubicBezTo>
                <a:cubicBezTo>
                  <a:pt x="134" y="166"/>
                  <a:pt x="133" y="163"/>
                  <a:pt x="131" y="161"/>
                </a:cubicBezTo>
                <a:cubicBezTo>
                  <a:pt x="114" y="140"/>
                  <a:pt x="97" y="119"/>
                  <a:pt x="82" y="100"/>
                </a:cubicBezTo>
                <a:cubicBezTo>
                  <a:pt x="101" y="113"/>
                  <a:pt x="123" y="128"/>
                  <a:pt x="144" y="142"/>
                </a:cubicBezTo>
                <a:cubicBezTo>
                  <a:pt x="149" y="146"/>
                  <a:pt x="155" y="145"/>
                  <a:pt x="160" y="141"/>
                </a:cubicBezTo>
                <a:cubicBezTo>
                  <a:pt x="171" y="133"/>
                  <a:pt x="186" y="126"/>
                  <a:pt x="200" y="123"/>
                </a:cubicBezTo>
                <a:cubicBezTo>
                  <a:pt x="205" y="122"/>
                  <a:pt x="209" y="117"/>
                  <a:pt x="210" y="112"/>
                </a:cubicBezTo>
                <a:cubicBezTo>
                  <a:pt x="213" y="94"/>
                  <a:pt x="216" y="75"/>
                  <a:pt x="219" y="59"/>
                </a:cubicBezTo>
                <a:cubicBezTo>
                  <a:pt x="223" y="75"/>
                  <a:pt x="228" y="93"/>
                  <a:pt x="233" y="110"/>
                </a:cubicBezTo>
                <a:cubicBezTo>
                  <a:pt x="234" y="115"/>
                  <a:pt x="239" y="119"/>
                  <a:pt x="244" y="120"/>
                </a:cubicBezTo>
                <a:cubicBezTo>
                  <a:pt x="259" y="121"/>
                  <a:pt x="273" y="126"/>
                  <a:pt x="285" y="132"/>
                </a:cubicBezTo>
                <a:cubicBezTo>
                  <a:pt x="290" y="135"/>
                  <a:pt x="296" y="134"/>
                  <a:pt x="300" y="131"/>
                </a:cubicBezTo>
                <a:cubicBezTo>
                  <a:pt x="320" y="114"/>
                  <a:pt x="342" y="97"/>
                  <a:pt x="361" y="82"/>
                </a:cubicBezTo>
                <a:cubicBezTo>
                  <a:pt x="348" y="102"/>
                  <a:pt x="333" y="123"/>
                  <a:pt x="319" y="144"/>
                </a:cubicBezTo>
                <a:cubicBezTo>
                  <a:pt x="317" y="146"/>
                  <a:pt x="316" y="149"/>
                  <a:pt x="316" y="152"/>
                </a:cubicBezTo>
                <a:cubicBezTo>
                  <a:pt x="316" y="155"/>
                  <a:pt x="317" y="158"/>
                  <a:pt x="319" y="160"/>
                </a:cubicBezTo>
                <a:cubicBezTo>
                  <a:pt x="328" y="171"/>
                  <a:pt x="335" y="186"/>
                  <a:pt x="338" y="200"/>
                </a:cubicBezTo>
                <a:cubicBezTo>
                  <a:pt x="339" y="205"/>
                  <a:pt x="343" y="209"/>
                  <a:pt x="349" y="210"/>
                </a:cubicBezTo>
                <a:cubicBezTo>
                  <a:pt x="367" y="213"/>
                  <a:pt x="385" y="216"/>
                  <a:pt x="401" y="219"/>
                </a:cubicBezTo>
                <a:cubicBezTo>
                  <a:pt x="386" y="223"/>
                  <a:pt x="367" y="228"/>
                  <a:pt x="351" y="233"/>
                </a:cubicBezTo>
                <a:cubicBezTo>
                  <a:pt x="345" y="234"/>
                  <a:pt x="341" y="240"/>
                  <a:pt x="341" y="246"/>
                </a:cubicBezTo>
                <a:cubicBezTo>
                  <a:pt x="341" y="247"/>
                  <a:pt x="341" y="248"/>
                  <a:pt x="341" y="249"/>
                </a:cubicBezTo>
                <a:cubicBezTo>
                  <a:pt x="343" y="256"/>
                  <a:pt x="350" y="260"/>
                  <a:pt x="357" y="259"/>
                </a:cubicBezTo>
                <a:cubicBezTo>
                  <a:pt x="358" y="259"/>
                  <a:pt x="381" y="252"/>
                  <a:pt x="404" y="246"/>
                </a:cubicBezTo>
                <a:cubicBezTo>
                  <a:pt x="418" y="242"/>
                  <a:pt x="429" y="239"/>
                  <a:pt x="437" y="236"/>
                </a:cubicBezTo>
                <a:cubicBezTo>
                  <a:pt x="449" y="232"/>
                  <a:pt x="461" y="228"/>
                  <a:pt x="461" y="217"/>
                </a:cubicBezTo>
                <a:cubicBezTo>
                  <a:pt x="461" y="216"/>
                  <a:pt x="461" y="216"/>
                  <a:pt x="461" y="216"/>
                </a:cubicBezTo>
                <a:cubicBezTo>
                  <a:pt x="460" y="204"/>
                  <a:pt x="449" y="202"/>
                  <a:pt x="435" y="199"/>
                </a:cubicBezTo>
                <a:cubicBezTo>
                  <a:pt x="427" y="197"/>
                  <a:pt x="416" y="194"/>
                  <a:pt x="401" y="192"/>
                </a:cubicBezTo>
                <a:cubicBezTo>
                  <a:pt x="386" y="189"/>
                  <a:pt x="371" y="187"/>
                  <a:pt x="362" y="185"/>
                </a:cubicBezTo>
                <a:cubicBezTo>
                  <a:pt x="358" y="173"/>
                  <a:pt x="353" y="162"/>
                  <a:pt x="346" y="151"/>
                </a:cubicBezTo>
                <a:cubicBezTo>
                  <a:pt x="353" y="141"/>
                  <a:pt x="367" y="120"/>
                  <a:pt x="381" y="100"/>
                </a:cubicBezTo>
                <a:cubicBezTo>
                  <a:pt x="393" y="83"/>
                  <a:pt x="402" y="69"/>
                  <a:pt x="408" y="59"/>
                </a:cubicBezTo>
                <a:cubicBezTo>
                  <a:pt x="412" y="52"/>
                  <a:pt x="415" y="48"/>
                  <a:pt x="417" y="44"/>
                </a:cubicBezTo>
                <a:cubicBezTo>
                  <a:pt x="419" y="41"/>
                  <a:pt x="422" y="36"/>
                  <a:pt x="422" y="31"/>
                </a:cubicBezTo>
                <a:cubicBezTo>
                  <a:pt x="422" y="28"/>
                  <a:pt x="421" y="25"/>
                  <a:pt x="418" y="22"/>
                </a:cubicBezTo>
                <a:cubicBezTo>
                  <a:pt x="409" y="14"/>
                  <a:pt x="400" y="20"/>
                  <a:pt x="395" y="23"/>
                </a:cubicBezTo>
                <a:cubicBezTo>
                  <a:pt x="392" y="26"/>
                  <a:pt x="387" y="29"/>
                  <a:pt x="381" y="33"/>
                </a:cubicBezTo>
                <a:cubicBezTo>
                  <a:pt x="371" y="41"/>
                  <a:pt x="357" y="51"/>
                  <a:pt x="341" y="64"/>
                </a:cubicBezTo>
                <a:cubicBezTo>
                  <a:pt x="320" y="81"/>
                  <a:pt x="300" y="97"/>
                  <a:pt x="290" y="105"/>
                </a:cubicBezTo>
                <a:cubicBezTo>
                  <a:pt x="279" y="100"/>
                  <a:pt x="268" y="97"/>
                  <a:pt x="256" y="95"/>
                </a:cubicBezTo>
                <a:cubicBezTo>
                  <a:pt x="254" y="86"/>
                  <a:pt x="250" y="71"/>
                  <a:pt x="246" y="56"/>
                </a:cubicBezTo>
                <a:cubicBezTo>
                  <a:pt x="242" y="43"/>
                  <a:pt x="239" y="32"/>
                  <a:pt x="236" y="24"/>
                </a:cubicBezTo>
                <a:cubicBezTo>
                  <a:pt x="232" y="11"/>
                  <a:pt x="228" y="0"/>
                  <a:pt x="216" y="0"/>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5" name="Freeform 172"/>
          <p:cNvSpPr>
            <a:spLocks noChangeAspect="1"/>
          </p:cNvSpPr>
          <p:nvPr userDrawn="1"/>
        </p:nvSpPr>
        <p:spPr bwMode="auto">
          <a:xfrm>
            <a:off x="11340336" y="3836721"/>
            <a:ext cx="395565" cy="393192"/>
          </a:xfrm>
          <a:custGeom>
            <a:avLst/>
            <a:gdLst/>
            <a:ahLst/>
            <a:cxnLst>
              <a:cxn ang="0">
                <a:pos x="428" y="13"/>
              </a:cxn>
              <a:cxn ang="0">
                <a:pos x="428" y="250"/>
              </a:cxn>
              <a:cxn ang="0">
                <a:pos x="346" y="251"/>
              </a:cxn>
              <a:cxn ang="0">
                <a:pos x="298" y="167"/>
              </a:cxn>
              <a:cxn ang="0">
                <a:pos x="337" y="159"/>
              </a:cxn>
              <a:cxn ang="0">
                <a:pos x="347" y="146"/>
              </a:cxn>
              <a:cxn ang="0">
                <a:pos x="347" y="144"/>
              </a:cxn>
              <a:cxn ang="0">
                <a:pos x="328" y="31"/>
              </a:cxn>
              <a:cxn ang="0">
                <a:pos x="323" y="22"/>
              </a:cxn>
              <a:cxn ang="0">
                <a:pos x="313" y="20"/>
              </a:cxn>
              <a:cxn ang="0">
                <a:pos x="11" y="73"/>
              </a:cxn>
              <a:cxn ang="0">
                <a:pos x="1" y="81"/>
              </a:cxn>
              <a:cxn ang="0">
                <a:pos x="3" y="93"/>
              </a:cxn>
              <a:cxn ang="0">
                <a:pos x="33" y="140"/>
              </a:cxn>
              <a:cxn ang="0">
                <a:pos x="47" y="145"/>
              </a:cxn>
              <a:cxn ang="0">
                <a:pos x="68" y="142"/>
              </a:cxn>
              <a:cxn ang="0">
                <a:pos x="75" y="182"/>
              </a:cxn>
              <a:cxn ang="0">
                <a:pos x="91" y="192"/>
              </a:cxn>
              <a:cxn ang="0">
                <a:pos x="203" y="173"/>
              </a:cxn>
              <a:cxn ang="0">
                <a:pos x="295" y="318"/>
              </a:cxn>
              <a:cxn ang="0">
                <a:pos x="306" y="324"/>
              </a:cxn>
              <a:cxn ang="0">
                <a:pos x="428" y="324"/>
              </a:cxn>
              <a:cxn ang="0">
                <a:pos x="428" y="438"/>
              </a:cxn>
              <a:cxn ang="0">
                <a:pos x="441" y="451"/>
              </a:cxn>
              <a:cxn ang="0">
                <a:pos x="454" y="438"/>
              </a:cxn>
              <a:cxn ang="0">
                <a:pos x="454" y="311"/>
              </a:cxn>
              <a:cxn ang="0">
                <a:pos x="441" y="297"/>
              </a:cxn>
              <a:cxn ang="0">
                <a:pos x="314" y="297"/>
              </a:cxn>
              <a:cxn ang="0">
                <a:pos x="221" y="151"/>
              </a:cxn>
              <a:cxn ang="0">
                <a:pos x="207" y="145"/>
              </a:cxn>
              <a:cxn ang="0">
                <a:pos x="99" y="164"/>
              </a:cxn>
              <a:cxn ang="0">
                <a:pos x="92" y="124"/>
              </a:cxn>
              <a:cxn ang="0">
                <a:pos x="77" y="113"/>
              </a:cxn>
              <a:cxn ang="0">
                <a:pos x="51" y="118"/>
              </a:cxn>
              <a:cxn ang="0">
                <a:pos x="36" y="96"/>
              </a:cxn>
              <a:cxn ang="0">
                <a:pos x="304" y="48"/>
              </a:cxn>
              <a:cxn ang="0">
                <a:pos x="319" y="136"/>
              </a:cxn>
              <a:cxn ang="0">
                <a:pos x="274" y="145"/>
              </a:cxn>
              <a:cxn ang="0">
                <a:pos x="265" y="152"/>
              </a:cxn>
              <a:cxn ang="0">
                <a:pos x="264" y="158"/>
              </a:cxn>
              <a:cxn ang="0">
                <a:pos x="265" y="165"/>
              </a:cxn>
              <a:cxn ang="0">
                <a:pos x="327" y="271"/>
              </a:cxn>
              <a:cxn ang="0">
                <a:pos x="338" y="278"/>
              </a:cxn>
              <a:cxn ang="0">
                <a:pos x="441" y="277"/>
              </a:cxn>
              <a:cxn ang="0">
                <a:pos x="454" y="264"/>
              </a:cxn>
              <a:cxn ang="0">
                <a:pos x="454" y="13"/>
              </a:cxn>
              <a:cxn ang="0">
                <a:pos x="441" y="0"/>
              </a:cxn>
              <a:cxn ang="0">
                <a:pos x="428" y="13"/>
              </a:cxn>
            </a:cxnLst>
            <a:rect l="0" t="0" r="r" b="b"/>
            <a:pathLst>
              <a:path w="454" h="451">
                <a:moveTo>
                  <a:pt x="428" y="13"/>
                </a:moveTo>
                <a:cubicBezTo>
                  <a:pt x="428" y="13"/>
                  <a:pt x="428" y="227"/>
                  <a:pt x="428" y="250"/>
                </a:cubicBezTo>
                <a:cubicBezTo>
                  <a:pt x="409" y="251"/>
                  <a:pt x="357" y="251"/>
                  <a:pt x="346" y="251"/>
                </a:cubicBezTo>
                <a:cubicBezTo>
                  <a:pt x="340" y="241"/>
                  <a:pt x="310" y="189"/>
                  <a:pt x="298" y="167"/>
                </a:cubicBezTo>
                <a:cubicBezTo>
                  <a:pt x="314" y="164"/>
                  <a:pt x="337" y="159"/>
                  <a:pt x="337" y="159"/>
                </a:cubicBezTo>
                <a:cubicBezTo>
                  <a:pt x="343" y="158"/>
                  <a:pt x="347" y="152"/>
                  <a:pt x="347" y="146"/>
                </a:cubicBezTo>
                <a:cubicBezTo>
                  <a:pt x="347" y="145"/>
                  <a:pt x="347" y="145"/>
                  <a:pt x="347" y="144"/>
                </a:cubicBezTo>
                <a:cubicBezTo>
                  <a:pt x="328" y="31"/>
                  <a:pt x="328" y="31"/>
                  <a:pt x="328" y="31"/>
                </a:cubicBezTo>
                <a:cubicBezTo>
                  <a:pt x="328" y="27"/>
                  <a:pt x="326" y="24"/>
                  <a:pt x="323" y="22"/>
                </a:cubicBezTo>
                <a:cubicBezTo>
                  <a:pt x="320" y="20"/>
                  <a:pt x="316" y="19"/>
                  <a:pt x="313" y="20"/>
                </a:cubicBezTo>
                <a:cubicBezTo>
                  <a:pt x="11" y="73"/>
                  <a:pt x="11" y="73"/>
                  <a:pt x="11" y="73"/>
                </a:cubicBezTo>
                <a:cubicBezTo>
                  <a:pt x="7" y="74"/>
                  <a:pt x="3" y="77"/>
                  <a:pt x="1" y="81"/>
                </a:cubicBezTo>
                <a:cubicBezTo>
                  <a:pt x="0" y="85"/>
                  <a:pt x="0" y="90"/>
                  <a:pt x="3" y="93"/>
                </a:cubicBezTo>
                <a:cubicBezTo>
                  <a:pt x="33" y="140"/>
                  <a:pt x="33" y="140"/>
                  <a:pt x="33" y="140"/>
                </a:cubicBezTo>
                <a:cubicBezTo>
                  <a:pt x="36" y="144"/>
                  <a:pt x="41" y="146"/>
                  <a:pt x="47" y="145"/>
                </a:cubicBezTo>
                <a:cubicBezTo>
                  <a:pt x="47" y="145"/>
                  <a:pt x="58" y="143"/>
                  <a:pt x="68" y="142"/>
                </a:cubicBezTo>
                <a:cubicBezTo>
                  <a:pt x="71" y="156"/>
                  <a:pt x="75" y="182"/>
                  <a:pt x="75" y="182"/>
                </a:cubicBezTo>
                <a:cubicBezTo>
                  <a:pt x="76" y="189"/>
                  <a:pt x="83" y="194"/>
                  <a:pt x="91" y="192"/>
                </a:cubicBezTo>
                <a:cubicBezTo>
                  <a:pt x="91" y="192"/>
                  <a:pt x="188" y="175"/>
                  <a:pt x="203" y="173"/>
                </a:cubicBezTo>
                <a:cubicBezTo>
                  <a:pt x="212" y="186"/>
                  <a:pt x="295" y="318"/>
                  <a:pt x="295" y="318"/>
                </a:cubicBezTo>
                <a:cubicBezTo>
                  <a:pt x="297" y="322"/>
                  <a:pt x="302" y="324"/>
                  <a:pt x="306" y="324"/>
                </a:cubicBezTo>
                <a:cubicBezTo>
                  <a:pt x="306" y="324"/>
                  <a:pt x="406" y="324"/>
                  <a:pt x="428" y="324"/>
                </a:cubicBezTo>
                <a:cubicBezTo>
                  <a:pt x="428" y="345"/>
                  <a:pt x="428" y="438"/>
                  <a:pt x="428" y="438"/>
                </a:cubicBezTo>
                <a:cubicBezTo>
                  <a:pt x="428" y="445"/>
                  <a:pt x="434" y="451"/>
                  <a:pt x="441" y="451"/>
                </a:cubicBezTo>
                <a:cubicBezTo>
                  <a:pt x="448" y="451"/>
                  <a:pt x="454" y="445"/>
                  <a:pt x="454" y="438"/>
                </a:cubicBezTo>
                <a:cubicBezTo>
                  <a:pt x="454" y="311"/>
                  <a:pt x="454" y="311"/>
                  <a:pt x="454" y="311"/>
                </a:cubicBezTo>
                <a:cubicBezTo>
                  <a:pt x="454" y="303"/>
                  <a:pt x="448" y="297"/>
                  <a:pt x="441" y="297"/>
                </a:cubicBezTo>
                <a:cubicBezTo>
                  <a:pt x="441" y="297"/>
                  <a:pt x="327" y="297"/>
                  <a:pt x="314" y="297"/>
                </a:cubicBezTo>
                <a:cubicBezTo>
                  <a:pt x="306" y="286"/>
                  <a:pt x="221" y="151"/>
                  <a:pt x="221" y="151"/>
                </a:cubicBezTo>
                <a:cubicBezTo>
                  <a:pt x="218" y="146"/>
                  <a:pt x="213" y="144"/>
                  <a:pt x="207" y="145"/>
                </a:cubicBezTo>
                <a:cubicBezTo>
                  <a:pt x="207" y="145"/>
                  <a:pt x="120" y="160"/>
                  <a:pt x="99" y="164"/>
                </a:cubicBezTo>
                <a:cubicBezTo>
                  <a:pt x="96" y="149"/>
                  <a:pt x="92" y="124"/>
                  <a:pt x="92" y="124"/>
                </a:cubicBezTo>
                <a:cubicBezTo>
                  <a:pt x="91" y="117"/>
                  <a:pt x="84" y="112"/>
                  <a:pt x="77" y="113"/>
                </a:cubicBezTo>
                <a:cubicBezTo>
                  <a:pt x="77" y="113"/>
                  <a:pt x="60" y="116"/>
                  <a:pt x="51" y="118"/>
                </a:cubicBezTo>
                <a:cubicBezTo>
                  <a:pt x="47" y="112"/>
                  <a:pt x="43" y="106"/>
                  <a:pt x="36" y="96"/>
                </a:cubicBezTo>
                <a:cubicBezTo>
                  <a:pt x="69" y="90"/>
                  <a:pt x="282" y="52"/>
                  <a:pt x="304" y="48"/>
                </a:cubicBezTo>
                <a:cubicBezTo>
                  <a:pt x="307" y="66"/>
                  <a:pt x="316" y="118"/>
                  <a:pt x="319" y="136"/>
                </a:cubicBezTo>
                <a:cubicBezTo>
                  <a:pt x="303" y="139"/>
                  <a:pt x="274" y="145"/>
                  <a:pt x="274" y="145"/>
                </a:cubicBezTo>
                <a:cubicBezTo>
                  <a:pt x="270" y="146"/>
                  <a:pt x="266" y="149"/>
                  <a:pt x="265" y="152"/>
                </a:cubicBezTo>
                <a:cubicBezTo>
                  <a:pt x="264" y="154"/>
                  <a:pt x="264" y="156"/>
                  <a:pt x="264" y="158"/>
                </a:cubicBezTo>
                <a:cubicBezTo>
                  <a:pt x="264" y="160"/>
                  <a:pt x="264" y="162"/>
                  <a:pt x="265" y="165"/>
                </a:cubicBezTo>
                <a:cubicBezTo>
                  <a:pt x="327" y="271"/>
                  <a:pt x="327" y="271"/>
                  <a:pt x="327" y="271"/>
                </a:cubicBezTo>
                <a:cubicBezTo>
                  <a:pt x="329" y="275"/>
                  <a:pt x="333" y="278"/>
                  <a:pt x="338" y="278"/>
                </a:cubicBezTo>
                <a:cubicBezTo>
                  <a:pt x="441" y="277"/>
                  <a:pt x="441" y="277"/>
                  <a:pt x="441" y="277"/>
                </a:cubicBezTo>
                <a:cubicBezTo>
                  <a:pt x="448" y="277"/>
                  <a:pt x="454" y="271"/>
                  <a:pt x="454" y="264"/>
                </a:cubicBezTo>
                <a:cubicBezTo>
                  <a:pt x="454" y="13"/>
                  <a:pt x="454" y="13"/>
                  <a:pt x="454" y="13"/>
                </a:cubicBezTo>
                <a:cubicBezTo>
                  <a:pt x="454" y="6"/>
                  <a:pt x="448" y="0"/>
                  <a:pt x="441" y="0"/>
                </a:cubicBezTo>
                <a:cubicBezTo>
                  <a:pt x="434" y="0"/>
                  <a:pt x="428" y="6"/>
                  <a:pt x="428" y="13"/>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6" name="Freeform 48"/>
          <p:cNvSpPr>
            <a:spLocks noChangeAspect="1"/>
          </p:cNvSpPr>
          <p:nvPr userDrawn="1"/>
        </p:nvSpPr>
        <p:spPr bwMode="auto">
          <a:xfrm>
            <a:off x="3424347" y="1185552"/>
            <a:ext cx="276964" cy="393192"/>
          </a:xfrm>
          <a:custGeom>
            <a:avLst/>
            <a:gdLst/>
            <a:ahLst/>
            <a:cxnLst>
              <a:cxn ang="0">
                <a:pos x="245" y="8"/>
              </a:cxn>
              <a:cxn ang="0">
                <a:pos x="208" y="64"/>
              </a:cxn>
              <a:cxn ang="0">
                <a:pos x="107" y="64"/>
              </a:cxn>
              <a:cxn ang="0">
                <a:pos x="70" y="8"/>
              </a:cxn>
              <a:cxn ang="0">
                <a:pos x="54" y="2"/>
              </a:cxn>
              <a:cxn ang="0">
                <a:pos x="45" y="15"/>
              </a:cxn>
              <a:cxn ang="0">
                <a:pos x="45" y="17"/>
              </a:cxn>
              <a:cxn ang="0">
                <a:pos x="52" y="71"/>
              </a:cxn>
              <a:cxn ang="0">
                <a:pos x="8" y="90"/>
              </a:cxn>
              <a:cxn ang="0">
                <a:pos x="0" y="102"/>
              </a:cxn>
              <a:cxn ang="0">
                <a:pos x="0" y="105"/>
              </a:cxn>
              <a:cxn ang="0">
                <a:pos x="13" y="116"/>
              </a:cxn>
              <a:cxn ang="0">
                <a:pos x="65" y="116"/>
              </a:cxn>
              <a:cxn ang="0">
                <a:pos x="99" y="215"/>
              </a:cxn>
              <a:cxn ang="0">
                <a:pos x="44" y="430"/>
              </a:cxn>
              <a:cxn ang="0">
                <a:pos x="44" y="434"/>
              </a:cxn>
              <a:cxn ang="0">
                <a:pos x="51" y="445"/>
              </a:cxn>
              <a:cxn ang="0">
                <a:pos x="67" y="443"/>
              </a:cxn>
              <a:cxn ang="0">
                <a:pos x="169" y="340"/>
              </a:cxn>
              <a:cxn ang="0">
                <a:pos x="169" y="321"/>
              </a:cxn>
              <a:cxn ang="0">
                <a:pos x="150" y="321"/>
              </a:cxn>
              <a:cxn ang="0">
                <a:pos x="82" y="390"/>
              </a:cxn>
              <a:cxn ang="0">
                <a:pos x="126" y="217"/>
              </a:cxn>
              <a:cxn ang="0">
                <a:pos x="126" y="214"/>
              </a:cxn>
              <a:cxn ang="0">
                <a:pos x="126" y="210"/>
              </a:cxn>
              <a:cxn ang="0">
                <a:pos x="87" y="99"/>
              </a:cxn>
              <a:cxn ang="0">
                <a:pos x="74" y="90"/>
              </a:cxn>
              <a:cxn ang="0">
                <a:pos x="80" y="79"/>
              </a:cxn>
              <a:cxn ang="0">
                <a:pos x="80" y="78"/>
              </a:cxn>
              <a:cxn ang="0">
                <a:pos x="78" y="69"/>
              </a:cxn>
              <a:cxn ang="0">
                <a:pos x="89" y="85"/>
              </a:cxn>
              <a:cxn ang="0">
                <a:pos x="100" y="91"/>
              </a:cxn>
              <a:cxn ang="0">
                <a:pos x="215" y="91"/>
              </a:cxn>
              <a:cxn ang="0">
                <a:pos x="226" y="85"/>
              </a:cxn>
              <a:cxn ang="0">
                <a:pos x="236" y="69"/>
              </a:cxn>
              <a:cxn ang="0">
                <a:pos x="235" y="78"/>
              </a:cxn>
              <a:cxn ang="0">
                <a:pos x="235" y="79"/>
              </a:cxn>
              <a:cxn ang="0">
                <a:pos x="240" y="90"/>
              </a:cxn>
              <a:cxn ang="0">
                <a:pos x="228" y="99"/>
              </a:cxn>
              <a:cxn ang="0">
                <a:pos x="189" y="210"/>
              </a:cxn>
              <a:cxn ang="0">
                <a:pos x="188" y="214"/>
              </a:cxn>
              <a:cxn ang="0">
                <a:pos x="189" y="217"/>
              </a:cxn>
              <a:cxn ang="0">
                <a:pos x="245" y="437"/>
              </a:cxn>
              <a:cxn ang="0">
                <a:pos x="261" y="447"/>
              </a:cxn>
              <a:cxn ang="0">
                <a:pos x="271" y="434"/>
              </a:cxn>
              <a:cxn ang="0">
                <a:pos x="270" y="430"/>
              </a:cxn>
              <a:cxn ang="0">
                <a:pos x="216" y="215"/>
              </a:cxn>
              <a:cxn ang="0">
                <a:pos x="250" y="116"/>
              </a:cxn>
              <a:cxn ang="0">
                <a:pos x="302" y="116"/>
              </a:cxn>
              <a:cxn ang="0">
                <a:pos x="315" y="105"/>
              </a:cxn>
              <a:cxn ang="0">
                <a:pos x="315" y="102"/>
              </a:cxn>
              <a:cxn ang="0">
                <a:pos x="307" y="90"/>
              </a:cxn>
              <a:cxn ang="0">
                <a:pos x="263" y="71"/>
              </a:cxn>
              <a:cxn ang="0">
                <a:pos x="269" y="17"/>
              </a:cxn>
              <a:cxn ang="0">
                <a:pos x="270" y="15"/>
              </a:cxn>
              <a:cxn ang="0">
                <a:pos x="261" y="2"/>
              </a:cxn>
              <a:cxn ang="0">
                <a:pos x="245" y="8"/>
              </a:cxn>
            </a:cxnLst>
            <a:rect l="0" t="0" r="r" b="b"/>
            <a:pathLst>
              <a:path w="315" h="448">
                <a:moveTo>
                  <a:pt x="245" y="8"/>
                </a:moveTo>
                <a:cubicBezTo>
                  <a:pt x="245" y="8"/>
                  <a:pt x="214" y="54"/>
                  <a:pt x="208" y="64"/>
                </a:cubicBezTo>
                <a:cubicBezTo>
                  <a:pt x="196" y="64"/>
                  <a:pt x="119" y="64"/>
                  <a:pt x="107" y="64"/>
                </a:cubicBezTo>
                <a:cubicBezTo>
                  <a:pt x="101" y="54"/>
                  <a:pt x="70" y="8"/>
                  <a:pt x="70" y="8"/>
                </a:cubicBezTo>
                <a:cubicBezTo>
                  <a:pt x="66" y="2"/>
                  <a:pt x="60" y="0"/>
                  <a:pt x="54" y="2"/>
                </a:cubicBezTo>
                <a:cubicBezTo>
                  <a:pt x="49" y="4"/>
                  <a:pt x="45" y="9"/>
                  <a:pt x="45" y="15"/>
                </a:cubicBezTo>
                <a:cubicBezTo>
                  <a:pt x="45" y="16"/>
                  <a:pt x="45" y="16"/>
                  <a:pt x="45" y="17"/>
                </a:cubicBezTo>
                <a:cubicBezTo>
                  <a:pt x="45" y="17"/>
                  <a:pt x="50" y="57"/>
                  <a:pt x="52" y="71"/>
                </a:cubicBezTo>
                <a:cubicBezTo>
                  <a:pt x="39" y="76"/>
                  <a:pt x="8" y="90"/>
                  <a:pt x="8" y="90"/>
                </a:cubicBezTo>
                <a:cubicBezTo>
                  <a:pt x="3" y="92"/>
                  <a:pt x="0" y="97"/>
                  <a:pt x="0" y="102"/>
                </a:cubicBezTo>
                <a:cubicBezTo>
                  <a:pt x="0" y="103"/>
                  <a:pt x="0" y="104"/>
                  <a:pt x="0" y="105"/>
                </a:cubicBezTo>
                <a:cubicBezTo>
                  <a:pt x="1" y="111"/>
                  <a:pt x="7" y="116"/>
                  <a:pt x="13" y="116"/>
                </a:cubicBezTo>
                <a:cubicBezTo>
                  <a:pt x="13" y="116"/>
                  <a:pt x="51" y="116"/>
                  <a:pt x="65" y="116"/>
                </a:cubicBezTo>
                <a:cubicBezTo>
                  <a:pt x="70" y="131"/>
                  <a:pt x="97" y="208"/>
                  <a:pt x="99" y="215"/>
                </a:cubicBezTo>
                <a:cubicBezTo>
                  <a:pt x="97" y="222"/>
                  <a:pt x="44" y="430"/>
                  <a:pt x="44" y="430"/>
                </a:cubicBezTo>
                <a:cubicBezTo>
                  <a:pt x="44" y="431"/>
                  <a:pt x="44" y="433"/>
                  <a:pt x="44" y="434"/>
                </a:cubicBezTo>
                <a:cubicBezTo>
                  <a:pt x="44" y="438"/>
                  <a:pt x="46" y="443"/>
                  <a:pt x="51" y="445"/>
                </a:cubicBezTo>
                <a:cubicBezTo>
                  <a:pt x="56" y="448"/>
                  <a:pt x="62" y="447"/>
                  <a:pt x="67" y="443"/>
                </a:cubicBezTo>
                <a:cubicBezTo>
                  <a:pt x="169" y="340"/>
                  <a:pt x="169" y="340"/>
                  <a:pt x="169" y="340"/>
                </a:cubicBezTo>
                <a:cubicBezTo>
                  <a:pt x="174" y="335"/>
                  <a:pt x="174" y="326"/>
                  <a:pt x="169" y="321"/>
                </a:cubicBezTo>
                <a:cubicBezTo>
                  <a:pt x="164" y="316"/>
                  <a:pt x="155" y="316"/>
                  <a:pt x="150" y="321"/>
                </a:cubicBezTo>
                <a:cubicBezTo>
                  <a:pt x="150" y="321"/>
                  <a:pt x="112" y="359"/>
                  <a:pt x="82" y="390"/>
                </a:cubicBezTo>
                <a:cubicBezTo>
                  <a:pt x="97" y="331"/>
                  <a:pt x="126" y="217"/>
                  <a:pt x="126" y="217"/>
                </a:cubicBezTo>
                <a:cubicBezTo>
                  <a:pt x="126" y="216"/>
                  <a:pt x="126" y="215"/>
                  <a:pt x="126" y="214"/>
                </a:cubicBezTo>
                <a:cubicBezTo>
                  <a:pt x="126" y="212"/>
                  <a:pt x="126" y="211"/>
                  <a:pt x="126" y="210"/>
                </a:cubicBezTo>
                <a:cubicBezTo>
                  <a:pt x="87" y="99"/>
                  <a:pt x="87" y="99"/>
                  <a:pt x="87" y="99"/>
                </a:cubicBezTo>
                <a:cubicBezTo>
                  <a:pt x="85" y="93"/>
                  <a:pt x="80" y="90"/>
                  <a:pt x="74" y="90"/>
                </a:cubicBezTo>
                <a:cubicBezTo>
                  <a:pt x="78" y="87"/>
                  <a:pt x="80" y="83"/>
                  <a:pt x="80" y="79"/>
                </a:cubicBezTo>
                <a:cubicBezTo>
                  <a:pt x="80" y="79"/>
                  <a:pt x="80" y="78"/>
                  <a:pt x="80" y="78"/>
                </a:cubicBezTo>
                <a:cubicBezTo>
                  <a:pt x="80" y="78"/>
                  <a:pt x="79" y="71"/>
                  <a:pt x="78" y="69"/>
                </a:cubicBezTo>
                <a:cubicBezTo>
                  <a:pt x="82" y="75"/>
                  <a:pt x="89" y="85"/>
                  <a:pt x="89" y="85"/>
                </a:cubicBezTo>
                <a:cubicBezTo>
                  <a:pt x="91" y="88"/>
                  <a:pt x="96" y="91"/>
                  <a:pt x="100" y="91"/>
                </a:cubicBezTo>
                <a:cubicBezTo>
                  <a:pt x="215" y="91"/>
                  <a:pt x="215" y="91"/>
                  <a:pt x="215" y="91"/>
                </a:cubicBezTo>
                <a:cubicBezTo>
                  <a:pt x="219" y="91"/>
                  <a:pt x="223" y="88"/>
                  <a:pt x="226" y="85"/>
                </a:cubicBezTo>
                <a:cubicBezTo>
                  <a:pt x="226" y="85"/>
                  <a:pt x="232" y="75"/>
                  <a:pt x="236" y="69"/>
                </a:cubicBezTo>
                <a:cubicBezTo>
                  <a:pt x="236" y="71"/>
                  <a:pt x="235" y="78"/>
                  <a:pt x="235" y="78"/>
                </a:cubicBezTo>
                <a:cubicBezTo>
                  <a:pt x="235" y="78"/>
                  <a:pt x="235" y="79"/>
                  <a:pt x="235" y="79"/>
                </a:cubicBezTo>
                <a:cubicBezTo>
                  <a:pt x="235" y="83"/>
                  <a:pt x="237" y="87"/>
                  <a:pt x="240" y="90"/>
                </a:cubicBezTo>
                <a:cubicBezTo>
                  <a:pt x="235" y="90"/>
                  <a:pt x="230" y="93"/>
                  <a:pt x="228" y="99"/>
                </a:cubicBezTo>
                <a:cubicBezTo>
                  <a:pt x="189" y="210"/>
                  <a:pt x="189" y="210"/>
                  <a:pt x="189" y="210"/>
                </a:cubicBezTo>
                <a:cubicBezTo>
                  <a:pt x="189" y="211"/>
                  <a:pt x="188" y="212"/>
                  <a:pt x="188" y="214"/>
                </a:cubicBezTo>
                <a:cubicBezTo>
                  <a:pt x="188" y="215"/>
                  <a:pt x="189" y="216"/>
                  <a:pt x="189" y="217"/>
                </a:cubicBezTo>
                <a:cubicBezTo>
                  <a:pt x="245" y="437"/>
                  <a:pt x="245" y="437"/>
                  <a:pt x="245" y="437"/>
                </a:cubicBezTo>
                <a:cubicBezTo>
                  <a:pt x="246" y="444"/>
                  <a:pt x="254" y="448"/>
                  <a:pt x="261" y="447"/>
                </a:cubicBezTo>
                <a:cubicBezTo>
                  <a:pt x="267" y="445"/>
                  <a:pt x="271" y="440"/>
                  <a:pt x="271" y="434"/>
                </a:cubicBezTo>
                <a:cubicBezTo>
                  <a:pt x="271" y="433"/>
                  <a:pt x="271" y="431"/>
                  <a:pt x="270" y="430"/>
                </a:cubicBezTo>
                <a:cubicBezTo>
                  <a:pt x="270" y="430"/>
                  <a:pt x="218" y="222"/>
                  <a:pt x="216" y="215"/>
                </a:cubicBezTo>
                <a:cubicBezTo>
                  <a:pt x="218" y="208"/>
                  <a:pt x="245" y="131"/>
                  <a:pt x="250" y="116"/>
                </a:cubicBezTo>
                <a:cubicBezTo>
                  <a:pt x="263" y="116"/>
                  <a:pt x="302" y="116"/>
                  <a:pt x="302" y="116"/>
                </a:cubicBezTo>
                <a:cubicBezTo>
                  <a:pt x="308" y="116"/>
                  <a:pt x="313" y="111"/>
                  <a:pt x="315" y="105"/>
                </a:cubicBezTo>
                <a:cubicBezTo>
                  <a:pt x="315" y="104"/>
                  <a:pt x="315" y="103"/>
                  <a:pt x="315" y="102"/>
                </a:cubicBezTo>
                <a:cubicBezTo>
                  <a:pt x="315" y="97"/>
                  <a:pt x="312" y="92"/>
                  <a:pt x="307" y="90"/>
                </a:cubicBezTo>
                <a:cubicBezTo>
                  <a:pt x="307" y="90"/>
                  <a:pt x="275" y="76"/>
                  <a:pt x="263" y="71"/>
                </a:cubicBezTo>
                <a:cubicBezTo>
                  <a:pt x="265" y="57"/>
                  <a:pt x="269" y="17"/>
                  <a:pt x="269" y="17"/>
                </a:cubicBezTo>
                <a:cubicBezTo>
                  <a:pt x="269" y="16"/>
                  <a:pt x="270" y="16"/>
                  <a:pt x="270" y="15"/>
                </a:cubicBezTo>
                <a:cubicBezTo>
                  <a:pt x="270" y="9"/>
                  <a:pt x="266" y="4"/>
                  <a:pt x="261" y="2"/>
                </a:cubicBezTo>
                <a:cubicBezTo>
                  <a:pt x="255" y="0"/>
                  <a:pt x="248" y="2"/>
                  <a:pt x="245" y="8"/>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7" name="TextBox 276"/>
          <p:cNvSpPr txBox="1"/>
          <p:nvPr userDrawn="1"/>
        </p:nvSpPr>
        <p:spPr>
          <a:xfrm>
            <a:off x="3143304" y="1669181"/>
            <a:ext cx="810056" cy="24622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Energy &amp;</a:t>
            </a:r>
            <a:br>
              <a:rPr lang="en-US" sz="800" b="1" dirty="0">
                <a:solidFill>
                  <a:prstClr val="white"/>
                </a:solidFill>
                <a:cs typeface="Arial" pitchFamily="34" charset="0"/>
              </a:rPr>
            </a:br>
            <a:r>
              <a:rPr lang="en-US" sz="800" b="1" dirty="0">
                <a:solidFill>
                  <a:prstClr val="white"/>
                </a:solidFill>
                <a:cs typeface="Arial" pitchFamily="34" charset="0"/>
              </a:rPr>
              <a:t>infrastructure</a:t>
            </a:r>
          </a:p>
        </p:txBody>
      </p:sp>
      <p:sp>
        <p:nvSpPr>
          <p:cNvPr id="278" name="Freeform 52"/>
          <p:cNvSpPr>
            <a:spLocks noChangeAspect="1"/>
          </p:cNvSpPr>
          <p:nvPr userDrawn="1"/>
        </p:nvSpPr>
        <p:spPr bwMode="auto">
          <a:xfrm>
            <a:off x="4303859" y="1185552"/>
            <a:ext cx="380589" cy="393192"/>
          </a:xfrm>
          <a:custGeom>
            <a:avLst/>
            <a:gdLst/>
            <a:ahLst/>
            <a:cxnLst>
              <a:cxn ang="0">
                <a:pos x="348" y="0"/>
              </a:cxn>
              <a:cxn ang="0">
                <a:pos x="335" y="12"/>
              </a:cxn>
              <a:cxn ang="0">
                <a:pos x="317" y="204"/>
              </a:cxn>
              <a:cxn ang="0">
                <a:pos x="233" y="119"/>
              </a:cxn>
              <a:cxn ang="0">
                <a:pos x="218" y="116"/>
              </a:cxn>
              <a:cxn ang="0">
                <a:pos x="210" y="128"/>
              </a:cxn>
              <a:cxn ang="0">
                <a:pos x="210" y="202"/>
              </a:cxn>
              <a:cxn ang="0">
                <a:pos x="128" y="119"/>
              </a:cxn>
              <a:cxn ang="0">
                <a:pos x="113" y="116"/>
              </a:cxn>
              <a:cxn ang="0">
                <a:pos x="105" y="128"/>
              </a:cxn>
              <a:cxn ang="0">
                <a:pos x="105" y="201"/>
              </a:cxn>
              <a:cxn ang="0">
                <a:pos x="23" y="119"/>
              </a:cxn>
              <a:cxn ang="0">
                <a:pos x="9" y="116"/>
              </a:cxn>
              <a:cxn ang="0">
                <a:pos x="0" y="128"/>
              </a:cxn>
              <a:cxn ang="0">
                <a:pos x="0" y="426"/>
              </a:cxn>
              <a:cxn ang="0">
                <a:pos x="14" y="439"/>
              </a:cxn>
              <a:cxn ang="0">
                <a:pos x="275" y="439"/>
              </a:cxn>
              <a:cxn ang="0">
                <a:pos x="288" y="426"/>
              </a:cxn>
              <a:cxn ang="0">
                <a:pos x="275" y="412"/>
              </a:cxn>
              <a:cxn ang="0">
                <a:pos x="27" y="412"/>
              </a:cxn>
              <a:cxn ang="0">
                <a:pos x="27" y="161"/>
              </a:cxn>
              <a:cxn ang="0">
                <a:pos x="109" y="243"/>
              </a:cxn>
              <a:cxn ang="0">
                <a:pos x="123" y="246"/>
              </a:cxn>
              <a:cxn ang="0">
                <a:pos x="132" y="234"/>
              </a:cxn>
              <a:cxn ang="0">
                <a:pos x="132" y="161"/>
              </a:cxn>
              <a:cxn ang="0">
                <a:pos x="214" y="243"/>
              </a:cxn>
              <a:cxn ang="0">
                <a:pos x="229" y="246"/>
              </a:cxn>
              <a:cxn ang="0">
                <a:pos x="237" y="234"/>
              </a:cxn>
              <a:cxn ang="0">
                <a:pos x="237" y="161"/>
              </a:cxn>
              <a:cxn ang="0">
                <a:pos x="318" y="243"/>
              </a:cxn>
              <a:cxn ang="0">
                <a:pos x="332" y="246"/>
              </a:cxn>
              <a:cxn ang="0">
                <a:pos x="341" y="235"/>
              </a:cxn>
              <a:cxn ang="0">
                <a:pos x="360" y="26"/>
              </a:cxn>
              <a:cxn ang="0">
                <a:pos x="375" y="26"/>
              </a:cxn>
              <a:cxn ang="0">
                <a:pos x="398" y="426"/>
              </a:cxn>
              <a:cxn ang="0">
                <a:pos x="412" y="439"/>
              </a:cxn>
              <a:cxn ang="0">
                <a:pos x="424" y="425"/>
              </a:cxn>
              <a:cxn ang="0">
                <a:pos x="401" y="12"/>
              </a:cxn>
              <a:cxn ang="0">
                <a:pos x="388" y="0"/>
              </a:cxn>
              <a:cxn ang="0">
                <a:pos x="348" y="0"/>
              </a:cxn>
            </a:cxnLst>
            <a:rect l="0" t="0" r="r" b="b"/>
            <a:pathLst>
              <a:path w="425" h="439">
                <a:moveTo>
                  <a:pt x="348" y="0"/>
                </a:moveTo>
                <a:cubicBezTo>
                  <a:pt x="341" y="0"/>
                  <a:pt x="336" y="5"/>
                  <a:pt x="335" y="12"/>
                </a:cubicBezTo>
                <a:cubicBezTo>
                  <a:pt x="335" y="12"/>
                  <a:pt x="321" y="161"/>
                  <a:pt x="317" y="204"/>
                </a:cubicBezTo>
                <a:cubicBezTo>
                  <a:pt x="291" y="178"/>
                  <a:pt x="233" y="119"/>
                  <a:pt x="233" y="119"/>
                </a:cubicBezTo>
                <a:cubicBezTo>
                  <a:pt x="229" y="115"/>
                  <a:pt x="223" y="114"/>
                  <a:pt x="218" y="116"/>
                </a:cubicBezTo>
                <a:cubicBezTo>
                  <a:pt x="213" y="118"/>
                  <a:pt x="210" y="123"/>
                  <a:pt x="210" y="128"/>
                </a:cubicBezTo>
                <a:cubicBezTo>
                  <a:pt x="210" y="128"/>
                  <a:pt x="210" y="171"/>
                  <a:pt x="210" y="202"/>
                </a:cubicBezTo>
                <a:cubicBezTo>
                  <a:pt x="182" y="174"/>
                  <a:pt x="128" y="119"/>
                  <a:pt x="128" y="119"/>
                </a:cubicBezTo>
                <a:cubicBezTo>
                  <a:pt x="124" y="115"/>
                  <a:pt x="118" y="114"/>
                  <a:pt x="113" y="116"/>
                </a:cubicBezTo>
                <a:cubicBezTo>
                  <a:pt x="108" y="118"/>
                  <a:pt x="105" y="123"/>
                  <a:pt x="105" y="128"/>
                </a:cubicBezTo>
                <a:cubicBezTo>
                  <a:pt x="105" y="128"/>
                  <a:pt x="105" y="170"/>
                  <a:pt x="105" y="201"/>
                </a:cubicBezTo>
                <a:cubicBezTo>
                  <a:pt x="77" y="173"/>
                  <a:pt x="23" y="119"/>
                  <a:pt x="23" y="119"/>
                </a:cubicBezTo>
                <a:cubicBezTo>
                  <a:pt x="19" y="115"/>
                  <a:pt x="14" y="114"/>
                  <a:pt x="9" y="116"/>
                </a:cubicBezTo>
                <a:cubicBezTo>
                  <a:pt x="4" y="118"/>
                  <a:pt x="0" y="123"/>
                  <a:pt x="0" y="128"/>
                </a:cubicBezTo>
                <a:cubicBezTo>
                  <a:pt x="0" y="426"/>
                  <a:pt x="0" y="426"/>
                  <a:pt x="0" y="426"/>
                </a:cubicBezTo>
                <a:cubicBezTo>
                  <a:pt x="0" y="433"/>
                  <a:pt x="6" y="439"/>
                  <a:pt x="14" y="439"/>
                </a:cubicBezTo>
                <a:cubicBezTo>
                  <a:pt x="275" y="439"/>
                  <a:pt x="275" y="439"/>
                  <a:pt x="275" y="439"/>
                </a:cubicBezTo>
                <a:cubicBezTo>
                  <a:pt x="282" y="439"/>
                  <a:pt x="288" y="433"/>
                  <a:pt x="288" y="426"/>
                </a:cubicBezTo>
                <a:cubicBezTo>
                  <a:pt x="288" y="418"/>
                  <a:pt x="282" y="412"/>
                  <a:pt x="275" y="412"/>
                </a:cubicBezTo>
                <a:cubicBezTo>
                  <a:pt x="275" y="412"/>
                  <a:pt x="51" y="412"/>
                  <a:pt x="27" y="412"/>
                </a:cubicBezTo>
                <a:cubicBezTo>
                  <a:pt x="27" y="391"/>
                  <a:pt x="27" y="210"/>
                  <a:pt x="27" y="161"/>
                </a:cubicBezTo>
                <a:cubicBezTo>
                  <a:pt x="55" y="189"/>
                  <a:pt x="109" y="243"/>
                  <a:pt x="109" y="243"/>
                </a:cubicBezTo>
                <a:cubicBezTo>
                  <a:pt x="113" y="247"/>
                  <a:pt x="118" y="248"/>
                  <a:pt x="123" y="246"/>
                </a:cubicBezTo>
                <a:cubicBezTo>
                  <a:pt x="128" y="244"/>
                  <a:pt x="132" y="239"/>
                  <a:pt x="132" y="234"/>
                </a:cubicBezTo>
                <a:cubicBezTo>
                  <a:pt x="132" y="234"/>
                  <a:pt x="132" y="192"/>
                  <a:pt x="132" y="161"/>
                </a:cubicBezTo>
                <a:cubicBezTo>
                  <a:pt x="159" y="189"/>
                  <a:pt x="214" y="243"/>
                  <a:pt x="214" y="243"/>
                </a:cubicBezTo>
                <a:cubicBezTo>
                  <a:pt x="218" y="247"/>
                  <a:pt x="224" y="248"/>
                  <a:pt x="229" y="246"/>
                </a:cubicBezTo>
                <a:cubicBezTo>
                  <a:pt x="234" y="244"/>
                  <a:pt x="237" y="239"/>
                  <a:pt x="237" y="234"/>
                </a:cubicBezTo>
                <a:cubicBezTo>
                  <a:pt x="237" y="234"/>
                  <a:pt x="237" y="192"/>
                  <a:pt x="237" y="161"/>
                </a:cubicBezTo>
                <a:cubicBezTo>
                  <a:pt x="265" y="189"/>
                  <a:pt x="318" y="243"/>
                  <a:pt x="318" y="243"/>
                </a:cubicBezTo>
                <a:cubicBezTo>
                  <a:pt x="322" y="247"/>
                  <a:pt x="327" y="248"/>
                  <a:pt x="332" y="246"/>
                </a:cubicBezTo>
                <a:cubicBezTo>
                  <a:pt x="337" y="245"/>
                  <a:pt x="340" y="240"/>
                  <a:pt x="341" y="235"/>
                </a:cubicBezTo>
                <a:cubicBezTo>
                  <a:pt x="341" y="235"/>
                  <a:pt x="358" y="48"/>
                  <a:pt x="360" y="26"/>
                </a:cubicBezTo>
                <a:cubicBezTo>
                  <a:pt x="367" y="26"/>
                  <a:pt x="369" y="26"/>
                  <a:pt x="375" y="26"/>
                </a:cubicBezTo>
                <a:cubicBezTo>
                  <a:pt x="376" y="50"/>
                  <a:pt x="398" y="426"/>
                  <a:pt x="398" y="426"/>
                </a:cubicBezTo>
                <a:cubicBezTo>
                  <a:pt x="398" y="434"/>
                  <a:pt x="404" y="439"/>
                  <a:pt x="412" y="439"/>
                </a:cubicBezTo>
                <a:cubicBezTo>
                  <a:pt x="419" y="439"/>
                  <a:pt x="425" y="432"/>
                  <a:pt x="424" y="425"/>
                </a:cubicBezTo>
                <a:cubicBezTo>
                  <a:pt x="401" y="12"/>
                  <a:pt x="401" y="12"/>
                  <a:pt x="401" y="12"/>
                </a:cubicBezTo>
                <a:cubicBezTo>
                  <a:pt x="400" y="5"/>
                  <a:pt x="395" y="0"/>
                  <a:pt x="388" y="0"/>
                </a:cubicBezTo>
                <a:lnTo>
                  <a:pt x="348" y="0"/>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79" name="TextBox 278"/>
          <p:cNvSpPr txBox="1"/>
          <p:nvPr userDrawn="1"/>
        </p:nvSpPr>
        <p:spPr>
          <a:xfrm>
            <a:off x="4196931" y="1669183"/>
            <a:ext cx="590228" cy="123111"/>
          </a:xfrm>
          <a:prstGeom prst="rect">
            <a:avLst/>
          </a:prstGeom>
          <a:noFill/>
        </p:spPr>
        <p:txBody>
          <a:bodyPr wrap="square" lIns="0" tIns="0" rIns="0" bIns="0" rtlCol="0" anchor="t" anchorCtr="0">
            <a:spAutoFit/>
          </a:bodyPr>
          <a:lstStyle/>
          <a:p>
            <a:pPr algn="ctr"/>
            <a:r>
              <a:rPr lang="en-US" sz="800" b="1" dirty="0">
                <a:solidFill>
                  <a:prstClr val="white"/>
                </a:solidFill>
                <a:cs typeface="Arial" pitchFamily="34" charset="0"/>
              </a:rPr>
              <a:t>Industry</a:t>
            </a:r>
          </a:p>
        </p:txBody>
      </p:sp>
      <p:sp>
        <p:nvSpPr>
          <p:cNvPr id="280" name="Freeform 68"/>
          <p:cNvSpPr>
            <a:spLocks noChangeAspect="1"/>
          </p:cNvSpPr>
          <p:nvPr userDrawn="1"/>
        </p:nvSpPr>
        <p:spPr bwMode="auto">
          <a:xfrm>
            <a:off x="1438333" y="1185552"/>
            <a:ext cx="448619" cy="393192"/>
          </a:xfrm>
          <a:custGeom>
            <a:avLst/>
            <a:gdLst/>
            <a:ahLst/>
            <a:cxnLst>
              <a:cxn ang="0">
                <a:pos x="99" y="0"/>
              </a:cxn>
              <a:cxn ang="0">
                <a:pos x="86" y="14"/>
              </a:cxn>
              <a:cxn ang="0">
                <a:pos x="86" y="117"/>
              </a:cxn>
              <a:cxn ang="0">
                <a:pos x="68" y="117"/>
              </a:cxn>
              <a:cxn ang="0">
                <a:pos x="55" y="130"/>
              </a:cxn>
              <a:cxn ang="0">
                <a:pos x="55" y="293"/>
              </a:cxn>
              <a:cxn ang="0">
                <a:pos x="13" y="293"/>
              </a:cxn>
              <a:cxn ang="0">
                <a:pos x="0" y="306"/>
              </a:cxn>
              <a:cxn ang="0">
                <a:pos x="13" y="320"/>
              </a:cxn>
              <a:cxn ang="0">
                <a:pos x="68" y="320"/>
              </a:cxn>
              <a:cxn ang="0">
                <a:pos x="81" y="306"/>
              </a:cxn>
              <a:cxn ang="0">
                <a:pos x="81" y="143"/>
              </a:cxn>
              <a:cxn ang="0">
                <a:pos x="99" y="143"/>
              </a:cxn>
              <a:cxn ang="0">
                <a:pos x="112" y="130"/>
              </a:cxn>
              <a:cxn ang="0">
                <a:pos x="112" y="27"/>
              </a:cxn>
              <a:cxn ang="0">
                <a:pos x="184" y="27"/>
              </a:cxn>
              <a:cxn ang="0">
                <a:pos x="184" y="207"/>
              </a:cxn>
              <a:cxn ang="0">
                <a:pos x="198" y="220"/>
              </a:cxn>
              <a:cxn ang="0">
                <a:pos x="231" y="220"/>
              </a:cxn>
              <a:cxn ang="0">
                <a:pos x="231" y="270"/>
              </a:cxn>
              <a:cxn ang="0">
                <a:pos x="244" y="284"/>
              </a:cxn>
              <a:cxn ang="0">
                <a:pos x="298" y="284"/>
              </a:cxn>
              <a:cxn ang="0">
                <a:pos x="311" y="270"/>
              </a:cxn>
              <a:cxn ang="0">
                <a:pos x="311" y="83"/>
              </a:cxn>
              <a:cxn ang="0">
                <a:pos x="340" y="83"/>
              </a:cxn>
              <a:cxn ang="0">
                <a:pos x="340" y="307"/>
              </a:cxn>
              <a:cxn ang="0">
                <a:pos x="353" y="320"/>
              </a:cxn>
              <a:cxn ang="0">
                <a:pos x="366" y="307"/>
              </a:cxn>
              <a:cxn ang="0">
                <a:pos x="366" y="70"/>
              </a:cxn>
              <a:cxn ang="0">
                <a:pos x="353" y="57"/>
              </a:cxn>
              <a:cxn ang="0">
                <a:pos x="298" y="57"/>
              </a:cxn>
              <a:cxn ang="0">
                <a:pos x="285" y="70"/>
              </a:cxn>
              <a:cxn ang="0">
                <a:pos x="285" y="257"/>
              </a:cxn>
              <a:cxn ang="0">
                <a:pos x="257" y="257"/>
              </a:cxn>
              <a:cxn ang="0">
                <a:pos x="257" y="207"/>
              </a:cxn>
              <a:cxn ang="0">
                <a:pos x="244" y="193"/>
              </a:cxn>
              <a:cxn ang="0">
                <a:pos x="211" y="193"/>
              </a:cxn>
              <a:cxn ang="0">
                <a:pos x="211" y="14"/>
              </a:cxn>
              <a:cxn ang="0">
                <a:pos x="198" y="0"/>
              </a:cxn>
              <a:cxn ang="0">
                <a:pos x="99" y="0"/>
              </a:cxn>
            </a:cxnLst>
            <a:rect l="0" t="0" r="r" b="b"/>
            <a:pathLst>
              <a:path w="366" h="320">
                <a:moveTo>
                  <a:pt x="99" y="0"/>
                </a:moveTo>
                <a:cubicBezTo>
                  <a:pt x="92" y="0"/>
                  <a:pt x="86" y="6"/>
                  <a:pt x="86" y="14"/>
                </a:cubicBezTo>
                <a:cubicBezTo>
                  <a:pt x="86" y="14"/>
                  <a:pt x="86" y="96"/>
                  <a:pt x="86" y="117"/>
                </a:cubicBezTo>
                <a:cubicBezTo>
                  <a:pt x="77" y="117"/>
                  <a:pt x="68" y="117"/>
                  <a:pt x="68" y="117"/>
                </a:cubicBezTo>
                <a:cubicBezTo>
                  <a:pt x="61" y="117"/>
                  <a:pt x="55" y="123"/>
                  <a:pt x="55" y="130"/>
                </a:cubicBezTo>
                <a:cubicBezTo>
                  <a:pt x="55" y="130"/>
                  <a:pt x="55" y="271"/>
                  <a:pt x="55" y="293"/>
                </a:cubicBezTo>
                <a:cubicBezTo>
                  <a:pt x="40" y="293"/>
                  <a:pt x="13" y="293"/>
                  <a:pt x="13" y="293"/>
                </a:cubicBezTo>
                <a:cubicBezTo>
                  <a:pt x="6" y="293"/>
                  <a:pt x="0" y="299"/>
                  <a:pt x="0" y="306"/>
                </a:cubicBezTo>
                <a:cubicBezTo>
                  <a:pt x="0" y="314"/>
                  <a:pt x="6" y="320"/>
                  <a:pt x="13" y="320"/>
                </a:cubicBezTo>
                <a:cubicBezTo>
                  <a:pt x="68" y="320"/>
                  <a:pt x="68" y="320"/>
                  <a:pt x="68" y="320"/>
                </a:cubicBezTo>
                <a:cubicBezTo>
                  <a:pt x="75" y="320"/>
                  <a:pt x="81" y="314"/>
                  <a:pt x="81" y="306"/>
                </a:cubicBezTo>
                <a:cubicBezTo>
                  <a:pt x="81" y="306"/>
                  <a:pt x="81" y="165"/>
                  <a:pt x="81" y="143"/>
                </a:cubicBezTo>
                <a:cubicBezTo>
                  <a:pt x="90" y="143"/>
                  <a:pt x="99" y="143"/>
                  <a:pt x="99" y="143"/>
                </a:cubicBezTo>
                <a:cubicBezTo>
                  <a:pt x="106" y="143"/>
                  <a:pt x="112" y="137"/>
                  <a:pt x="112" y="130"/>
                </a:cubicBezTo>
                <a:cubicBezTo>
                  <a:pt x="112" y="130"/>
                  <a:pt x="112" y="47"/>
                  <a:pt x="112" y="27"/>
                </a:cubicBezTo>
                <a:cubicBezTo>
                  <a:pt x="129" y="27"/>
                  <a:pt x="168" y="27"/>
                  <a:pt x="184" y="27"/>
                </a:cubicBezTo>
                <a:cubicBezTo>
                  <a:pt x="184" y="49"/>
                  <a:pt x="184" y="207"/>
                  <a:pt x="184" y="207"/>
                </a:cubicBezTo>
                <a:cubicBezTo>
                  <a:pt x="184" y="214"/>
                  <a:pt x="190" y="220"/>
                  <a:pt x="198" y="220"/>
                </a:cubicBezTo>
                <a:cubicBezTo>
                  <a:pt x="198" y="220"/>
                  <a:pt x="217" y="220"/>
                  <a:pt x="231" y="220"/>
                </a:cubicBezTo>
                <a:cubicBezTo>
                  <a:pt x="231" y="236"/>
                  <a:pt x="231" y="270"/>
                  <a:pt x="231" y="270"/>
                </a:cubicBezTo>
                <a:cubicBezTo>
                  <a:pt x="231" y="278"/>
                  <a:pt x="237" y="284"/>
                  <a:pt x="244" y="284"/>
                </a:cubicBezTo>
                <a:cubicBezTo>
                  <a:pt x="298" y="284"/>
                  <a:pt x="298" y="284"/>
                  <a:pt x="298" y="284"/>
                </a:cubicBezTo>
                <a:cubicBezTo>
                  <a:pt x="305" y="284"/>
                  <a:pt x="311" y="278"/>
                  <a:pt x="311" y="270"/>
                </a:cubicBezTo>
                <a:cubicBezTo>
                  <a:pt x="311" y="270"/>
                  <a:pt x="311" y="106"/>
                  <a:pt x="311" y="83"/>
                </a:cubicBezTo>
                <a:cubicBezTo>
                  <a:pt x="322" y="83"/>
                  <a:pt x="330" y="83"/>
                  <a:pt x="340" y="83"/>
                </a:cubicBezTo>
                <a:cubicBezTo>
                  <a:pt x="340" y="107"/>
                  <a:pt x="340" y="307"/>
                  <a:pt x="340" y="307"/>
                </a:cubicBezTo>
                <a:cubicBezTo>
                  <a:pt x="340" y="314"/>
                  <a:pt x="346" y="320"/>
                  <a:pt x="353" y="320"/>
                </a:cubicBezTo>
                <a:cubicBezTo>
                  <a:pt x="361" y="320"/>
                  <a:pt x="366" y="314"/>
                  <a:pt x="366" y="307"/>
                </a:cubicBezTo>
                <a:cubicBezTo>
                  <a:pt x="366" y="70"/>
                  <a:pt x="366" y="70"/>
                  <a:pt x="366" y="70"/>
                </a:cubicBezTo>
                <a:cubicBezTo>
                  <a:pt x="366" y="63"/>
                  <a:pt x="361" y="57"/>
                  <a:pt x="353" y="57"/>
                </a:cubicBezTo>
                <a:cubicBezTo>
                  <a:pt x="298" y="57"/>
                  <a:pt x="298" y="57"/>
                  <a:pt x="298" y="57"/>
                </a:cubicBezTo>
                <a:cubicBezTo>
                  <a:pt x="291" y="57"/>
                  <a:pt x="285" y="63"/>
                  <a:pt x="285" y="70"/>
                </a:cubicBezTo>
                <a:cubicBezTo>
                  <a:pt x="285" y="70"/>
                  <a:pt x="285" y="234"/>
                  <a:pt x="285" y="257"/>
                </a:cubicBezTo>
                <a:cubicBezTo>
                  <a:pt x="275" y="257"/>
                  <a:pt x="267" y="257"/>
                  <a:pt x="257" y="257"/>
                </a:cubicBezTo>
                <a:cubicBezTo>
                  <a:pt x="257" y="241"/>
                  <a:pt x="257" y="207"/>
                  <a:pt x="257" y="207"/>
                </a:cubicBezTo>
                <a:cubicBezTo>
                  <a:pt x="257" y="199"/>
                  <a:pt x="251" y="193"/>
                  <a:pt x="244" y="193"/>
                </a:cubicBezTo>
                <a:cubicBezTo>
                  <a:pt x="244" y="193"/>
                  <a:pt x="224" y="193"/>
                  <a:pt x="211" y="193"/>
                </a:cubicBezTo>
                <a:cubicBezTo>
                  <a:pt x="211" y="171"/>
                  <a:pt x="211" y="14"/>
                  <a:pt x="211" y="14"/>
                </a:cubicBezTo>
                <a:cubicBezTo>
                  <a:pt x="211" y="6"/>
                  <a:pt x="205" y="0"/>
                  <a:pt x="198" y="0"/>
                </a:cubicBezTo>
                <a:lnTo>
                  <a:pt x="99" y="0"/>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81" name="TextBox 280"/>
          <p:cNvSpPr txBox="1"/>
          <p:nvPr userDrawn="1"/>
        </p:nvSpPr>
        <p:spPr>
          <a:xfrm>
            <a:off x="1342306" y="1669183"/>
            <a:ext cx="652743" cy="12311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Buildings</a:t>
            </a:r>
          </a:p>
        </p:txBody>
      </p:sp>
      <p:sp>
        <p:nvSpPr>
          <p:cNvPr id="282" name="Freeform 60"/>
          <p:cNvSpPr>
            <a:spLocks noChangeAspect="1"/>
          </p:cNvSpPr>
          <p:nvPr userDrawn="1"/>
        </p:nvSpPr>
        <p:spPr bwMode="auto">
          <a:xfrm>
            <a:off x="2317355" y="1222075"/>
            <a:ext cx="493975" cy="353487"/>
          </a:xfrm>
          <a:custGeom>
            <a:avLst/>
            <a:gdLst/>
            <a:ahLst/>
            <a:cxnLst>
              <a:cxn ang="0">
                <a:pos x="318" y="316"/>
              </a:cxn>
              <a:cxn ang="0">
                <a:pos x="117" y="97"/>
              </a:cxn>
              <a:cxn ang="0">
                <a:pos x="148" y="254"/>
              </a:cxn>
              <a:cxn ang="0">
                <a:pos x="153" y="130"/>
              </a:cxn>
              <a:cxn ang="0">
                <a:pos x="214" y="140"/>
              </a:cxn>
              <a:cxn ang="0">
                <a:pos x="224" y="278"/>
              </a:cxn>
              <a:cxn ang="0">
                <a:pos x="255" y="164"/>
              </a:cxn>
              <a:cxn ang="0">
                <a:pos x="281" y="164"/>
              </a:cxn>
              <a:cxn ang="0">
                <a:pos x="276" y="315"/>
              </a:cxn>
              <a:cxn ang="0">
                <a:pos x="208" y="300"/>
              </a:cxn>
              <a:cxn ang="0">
                <a:pos x="198" y="163"/>
              </a:cxn>
              <a:cxn ang="0">
                <a:pos x="174" y="271"/>
              </a:cxn>
              <a:cxn ang="0">
                <a:pos x="157" y="283"/>
              </a:cxn>
              <a:cxn ang="0">
                <a:pos x="91" y="257"/>
              </a:cxn>
              <a:cxn ang="0">
                <a:pos x="96" y="71"/>
              </a:cxn>
              <a:cxn ang="0">
                <a:pos x="333" y="120"/>
              </a:cxn>
              <a:cxn ang="0">
                <a:pos x="343" y="290"/>
              </a:cxn>
              <a:cxn ang="0">
                <a:pos x="435" y="51"/>
              </a:cxn>
              <a:cxn ang="0">
                <a:pos x="222" y="33"/>
              </a:cxn>
              <a:cxn ang="0">
                <a:pos x="217" y="56"/>
              </a:cxn>
              <a:cxn ang="0">
                <a:pos x="160" y="52"/>
              </a:cxn>
              <a:cxn ang="0">
                <a:pos x="75" y="244"/>
              </a:cxn>
              <a:cxn ang="0">
                <a:pos x="62" y="257"/>
              </a:cxn>
              <a:cxn ang="0">
                <a:pos x="0" y="244"/>
              </a:cxn>
              <a:cxn ang="0">
                <a:pos x="49" y="232"/>
              </a:cxn>
              <a:cxn ang="0">
                <a:pos x="60" y="39"/>
              </a:cxn>
              <a:cxn ang="0">
                <a:pos x="163" y="26"/>
              </a:cxn>
              <a:cxn ang="0">
                <a:pos x="196" y="22"/>
              </a:cxn>
              <a:cxn ang="0">
                <a:pos x="299" y="0"/>
              </a:cxn>
              <a:cxn ang="0">
                <a:pos x="450" y="27"/>
              </a:cxn>
              <a:cxn ang="0">
                <a:pos x="461" y="228"/>
              </a:cxn>
              <a:cxn ang="0">
                <a:pos x="338" y="326"/>
              </a:cxn>
              <a:cxn ang="0">
                <a:pos x="325" y="328"/>
              </a:cxn>
            </a:cxnLst>
            <a:rect l="0" t="0" r="r" b="b"/>
            <a:pathLst>
              <a:path w="461" h="329">
                <a:moveTo>
                  <a:pt x="325" y="328"/>
                </a:moveTo>
                <a:cubicBezTo>
                  <a:pt x="320" y="325"/>
                  <a:pt x="318" y="321"/>
                  <a:pt x="318" y="316"/>
                </a:cubicBezTo>
                <a:cubicBezTo>
                  <a:pt x="318" y="143"/>
                  <a:pt x="318" y="143"/>
                  <a:pt x="318" y="143"/>
                </a:cubicBezTo>
                <a:cubicBezTo>
                  <a:pt x="117" y="97"/>
                  <a:pt x="117" y="97"/>
                  <a:pt x="117" y="97"/>
                </a:cubicBezTo>
                <a:cubicBezTo>
                  <a:pt x="117" y="246"/>
                  <a:pt x="117" y="246"/>
                  <a:pt x="117" y="246"/>
                </a:cubicBezTo>
                <a:cubicBezTo>
                  <a:pt x="148" y="254"/>
                  <a:pt x="148" y="254"/>
                  <a:pt x="148" y="254"/>
                </a:cubicBezTo>
                <a:cubicBezTo>
                  <a:pt x="148" y="141"/>
                  <a:pt x="148" y="141"/>
                  <a:pt x="148" y="141"/>
                </a:cubicBezTo>
                <a:cubicBezTo>
                  <a:pt x="148" y="137"/>
                  <a:pt x="149" y="133"/>
                  <a:pt x="153" y="130"/>
                </a:cubicBezTo>
                <a:cubicBezTo>
                  <a:pt x="156" y="128"/>
                  <a:pt x="160" y="127"/>
                  <a:pt x="164" y="128"/>
                </a:cubicBezTo>
                <a:cubicBezTo>
                  <a:pt x="214" y="140"/>
                  <a:pt x="214" y="140"/>
                  <a:pt x="214" y="140"/>
                </a:cubicBezTo>
                <a:cubicBezTo>
                  <a:pt x="220" y="141"/>
                  <a:pt x="224" y="147"/>
                  <a:pt x="224" y="153"/>
                </a:cubicBezTo>
                <a:cubicBezTo>
                  <a:pt x="224" y="278"/>
                  <a:pt x="224" y="278"/>
                  <a:pt x="224" y="278"/>
                </a:cubicBezTo>
                <a:cubicBezTo>
                  <a:pt x="255" y="287"/>
                  <a:pt x="255" y="287"/>
                  <a:pt x="255" y="287"/>
                </a:cubicBezTo>
                <a:cubicBezTo>
                  <a:pt x="255" y="164"/>
                  <a:pt x="255" y="164"/>
                  <a:pt x="255" y="164"/>
                </a:cubicBezTo>
                <a:cubicBezTo>
                  <a:pt x="255" y="157"/>
                  <a:pt x="261" y="151"/>
                  <a:pt x="268" y="151"/>
                </a:cubicBezTo>
                <a:cubicBezTo>
                  <a:pt x="275" y="151"/>
                  <a:pt x="281" y="157"/>
                  <a:pt x="281" y="164"/>
                </a:cubicBezTo>
                <a:cubicBezTo>
                  <a:pt x="281" y="304"/>
                  <a:pt x="281" y="304"/>
                  <a:pt x="281" y="304"/>
                </a:cubicBezTo>
                <a:cubicBezTo>
                  <a:pt x="281" y="308"/>
                  <a:pt x="280" y="312"/>
                  <a:pt x="276" y="315"/>
                </a:cubicBezTo>
                <a:cubicBezTo>
                  <a:pt x="273" y="317"/>
                  <a:pt x="269" y="318"/>
                  <a:pt x="265" y="317"/>
                </a:cubicBezTo>
                <a:cubicBezTo>
                  <a:pt x="208" y="300"/>
                  <a:pt x="208" y="300"/>
                  <a:pt x="208" y="300"/>
                </a:cubicBezTo>
                <a:cubicBezTo>
                  <a:pt x="202" y="298"/>
                  <a:pt x="198" y="293"/>
                  <a:pt x="198" y="287"/>
                </a:cubicBezTo>
                <a:cubicBezTo>
                  <a:pt x="198" y="163"/>
                  <a:pt x="198" y="163"/>
                  <a:pt x="198" y="163"/>
                </a:cubicBezTo>
                <a:cubicBezTo>
                  <a:pt x="174" y="157"/>
                  <a:pt x="174" y="157"/>
                  <a:pt x="174" y="157"/>
                </a:cubicBezTo>
                <a:cubicBezTo>
                  <a:pt x="174" y="271"/>
                  <a:pt x="174" y="271"/>
                  <a:pt x="174" y="271"/>
                </a:cubicBezTo>
                <a:cubicBezTo>
                  <a:pt x="174" y="275"/>
                  <a:pt x="172" y="278"/>
                  <a:pt x="169" y="281"/>
                </a:cubicBezTo>
                <a:cubicBezTo>
                  <a:pt x="165" y="283"/>
                  <a:pt x="161" y="284"/>
                  <a:pt x="157" y="283"/>
                </a:cubicBezTo>
                <a:cubicBezTo>
                  <a:pt x="101" y="269"/>
                  <a:pt x="101" y="269"/>
                  <a:pt x="101" y="269"/>
                </a:cubicBezTo>
                <a:cubicBezTo>
                  <a:pt x="95" y="268"/>
                  <a:pt x="91" y="262"/>
                  <a:pt x="91" y="257"/>
                </a:cubicBezTo>
                <a:cubicBezTo>
                  <a:pt x="91" y="81"/>
                  <a:pt x="91" y="81"/>
                  <a:pt x="91" y="81"/>
                </a:cubicBezTo>
                <a:cubicBezTo>
                  <a:pt x="91" y="77"/>
                  <a:pt x="93" y="73"/>
                  <a:pt x="96" y="71"/>
                </a:cubicBezTo>
                <a:cubicBezTo>
                  <a:pt x="99" y="68"/>
                  <a:pt x="103" y="68"/>
                  <a:pt x="107" y="68"/>
                </a:cubicBezTo>
                <a:cubicBezTo>
                  <a:pt x="333" y="120"/>
                  <a:pt x="333" y="120"/>
                  <a:pt x="333" y="120"/>
                </a:cubicBezTo>
                <a:cubicBezTo>
                  <a:pt x="339" y="121"/>
                  <a:pt x="343" y="126"/>
                  <a:pt x="343" y="132"/>
                </a:cubicBezTo>
                <a:cubicBezTo>
                  <a:pt x="343" y="290"/>
                  <a:pt x="343" y="290"/>
                  <a:pt x="343" y="290"/>
                </a:cubicBezTo>
                <a:cubicBezTo>
                  <a:pt x="435" y="221"/>
                  <a:pt x="435" y="221"/>
                  <a:pt x="435" y="221"/>
                </a:cubicBezTo>
                <a:cubicBezTo>
                  <a:pt x="435" y="51"/>
                  <a:pt x="435" y="51"/>
                  <a:pt x="435" y="51"/>
                </a:cubicBezTo>
                <a:cubicBezTo>
                  <a:pt x="300" y="26"/>
                  <a:pt x="300" y="26"/>
                  <a:pt x="300" y="26"/>
                </a:cubicBezTo>
                <a:cubicBezTo>
                  <a:pt x="222" y="33"/>
                  <a:pt x="222" y="33"/>
                  <a:pt x="222" y="33"/>
                </a:cubicBezTo>
                <a:cubicBezTo>
                  <a:pt x="222" y="47"/>
                  <a:pt x="222" y="47"/>
                  <a:pt x="222" y="47"/>
                </a:cubicBezTo>
                <a:cubicBezTo>
                  <a:pt x="222" y="50"/>
                  <a:pt x="220" y="54"/>
                  <a:pt x="217" y="56"/>
                </a:cubicBezTo>
                <a:cubicBezTo>
                  <a:pt x="214" y="59"/>
                  <a:pt x="211" y="60"/>
                  <a:pt x="207" y="59"/>
                </a:cubicBezTo>
                <a:cubicBezTo>
                  <a:pt x="160" y="52"/>
                  <a:pt x="160" y="52"/>
                  <a:pt x="160" y="52"/>
                </a:cubicBezTo>
                <a:cubicBezTo>
                  <a:pt x="75" y="64"/>
                  <a:pt x="75" y="64"/>
                  <a:pt x="75" y="64"/>
                </a:cubicBezTo>
                <a:cubicBezTo>
                  <a:pt x="75" y="244"/>
                  <a:pt x="75" y="244"/>
                  <a:pt x="75" y="244"/>
                </a:cubicBezTo>
                <a:cubicBezTo>
                  <a:pt x="75" y="248"/>
                  <a:pt x="73" y="251"/>
                  <a:pt x="71" y="254"/>
                </a:cubicBezTo>
                <a:cubicBezTo>
                  <a:pt x="68" y="256"/>
                  <a:pt x="65" y="257"/>
                  <a:pt x="62" y="257"/>
                </a:cubicBezTo>
                <a:cubicBezTo>
                  <a:pt x="13" y="257"/>
                  <a:pt x="13" y="257"/>
                  <a:pt x="13" y="257"/>
                </a:cubicBezTo>
                <a:cubicBezTo>
                  <a:pt x="5" y="257"/>
                  <a:pt x="0" y="252"/>
                  <a:pt x="0" y="244"/>
                </a:cubicBezTo>
                <a:cubicBezTo>
                  <a:pt x="0" y="237"/>
                  <a:pt x="5" y="232"/>
                  <a:pt x="13" y="232"/>
                </a:cubicBezTo>
                <a:cubicBezTo>
                  <a:pt x="49" y="232"/>
                  <a:pt x="49" y="232"/>
                  <a:pt x="49" y="232"/>
                </a:cubicBezTo>
                <a:cubicBezTo>
                  <a:pt x="49" y="52"/>
                  <a:pt x="49" y="52"/>
                  <a:pt x="49" y="52"/>
                </a:cubicBezTo>
                <a:cubicBezTo>
                  <a:pt x="49" y="46"/>
                  <a:pt x="53" y="40"/>
                  <a:pt x="60" y="39"/>
                </a:cubicBezTo>
                <a:cubicBezTo>
                  <a:pt x="159" y="26"/>
                  <a:pt x="159" y="26"/>
                  <a:pt x="159" y="26"/>
                </a:cubicBezTo>
                <a:cubicBezTo>
                  <a:pt x="160" y="26"/>
                  <a:pt x="161" y="26"/>
                  <a:pt x="163" y="26"/>
                </a:cubicBezTo>
                <a:cubicBezTo>
                  <a:pt x="196" y="32"/>
                  <a:pt x="196" y="32"/>
                  <a:pt x="196" y="32"/>
                </a:cubicBezTo>
                <a:cubicBezTo>
                  <a:pt x="196" y="22"/>
                  <a:pt x="196" y="22"/>
                  <a:pt x="196" y="22"/>
                </a:cubicBezTo>
                <a:cubicBezTo>
                  <a:pt x="196" y="15"/>
                  <a:pt x="201" y="9"/>
                  <a:pt x="208" y="9"/>
                </a:cubicBezTo>
                <a:cubicBezTo>
                  <a:pt x="299" y="0"/>
                  <a:pt x="299" y="0"/>
                  <a:pt x="299" y="0"/>
                </a:cubicBezTo>
                <a:cubicBezTo>
                  <a:pt x="300" y="0"/>
                  <a:pt x="302" y="0"/>
                  <a:pt x="303" y="0"/>
                </a:cubicBezTo>
                <a:cubicBezTo>
                  <a:pt x="450" y="27"/>
                  <a:pt x="450" y="27"/>
                  <a:pt x="450" y="27"/>
                </a:cubicBezTo>
                <a:cubicBezTo>
                  <a:pt x="457" y="28"/>
                  <a:pt x="461" y="34"/>
                  <a:pt x="461" y="40"/>
                </a:cubicBezTo>
                <a:cubicBezTo>
                  <a:pt x="461" y="228"/>
                  <a:pt x="461" y="228"/>
                  <a:pt x="461" y="228"/>
                </a:cubicBezTo>
                <a:cubicBezTo>
                  <a:pt x="461" y="232"/>
                  <a:pt x="459" y="236"/>
                  <a:pt x="456" y="238"/>
                </a:cubicBezTo>
                <a:cubicBezTo>
                  <a:pt x="338" y="326"/>
                  <a:pt x="338" y="326"/>
                  <a:pt x="338" y="326"/>
                </a:cubicBezTo>
                <a:cubicBezTo>
                  <a:pt x="336" y="328"/>
                  <a:pt x="333" y="329"/>
                  <a:pt x="330" y="329"/>
                </a:cubicBezTo>
                <a:cubicBezTo>
                  <a:pt x="328" y="329"/>
                  <a:pt x="327" y="329"/>
                  <a:pt x="325" y="328"/>
                </a:cubicBezTo>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83" name="TextBox 282"/>
          <p:cNvSpPr txBox="1"/>
          <p:nvPr userDrawn="1"/>
        </p:nvSpPr>
        <p:spPr>
          <a:xfrm>
            <a:off x="2286375" y="1669188"/>
            <a:ext cx="647613" cy="24622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Data </a:t>
            </a:r>
            <a:r>
              <a:rPr lang="en-US" sz="800" b="1" dirty="0" err="1">
                <a:solidFill>
                  <a:prstClr val="white"/>
                </a:solidFill>
                <a:cs typeface="Arial" pitchFamily="34" charset="0"/>
              </a:rPr>
              <a:t>centres</a:t>
            </a:r>
            <a:r>
              <a:rPr lang="en-US" sz="800" b="1" dirty="0">
                <a:solidFill>
                  <a:prstClr val="white"/>
                </a:solidFill>
                <a:cs typeface="Arial" pitchFamily="34" charset="0"/>
              </a:rPr>
              <a:t> </a:t>
            </a:r>
            <a:br>
              <a:rPr lang="en-US" sz="800" b="1" dirty="0">
                <a:solidFill>
                  <a:prstClr val="white"/>
                </a:solidFill>
                <a:cs typeface="Arial" pitchFamily="34" charset="0"/>
              </a:rPr>
            </a:br>
            <a:r>
              <a:rPr lang="en-US" sz="800" b="1" dirty="0">
                <a:solidFill>
                  <a:prstClr val="white"/>
                </a:solidFill>
                <a:cs typeface="Arial" pitchFamily="34" charset="0"/>
              </a:rPr>
              <a:t>&amp; networks</a:t>
            </a:r>
          </a:p>
        </p:txBody>
      </p:sp>
      <p:sp>
        <p:nvSpPr>
          <p:cNvPr id="284" name="Freeform 64"/>
          <p:cNvSpPr>
            <a:spLocks noChangeAspect="1"/>
          </p:cNvSpPr>
          <p:nvPr userDrawn="1"/>
        </p:nvSpPr>
        <p:spPr bwMode="auto">
          <a:xfrm>
            <a:off x="5258279" y="1185552"/>
            <a:ext cx="358929" cy="393192"/>
          </a:xfrm>
          <a:custGeom>
            <a:avLst/>
            <a:gdLst/>
            <a:ahLst/>
            <a:cxnLst>
              <a:cxn ang="0">
                <a:pos x="146" y="5"/>
              </a:cxn>
              <a:cxn ang="0">
                <a:pos x="6" y="132"/>
              </a:cxn>
              <a:cxn ang="0">
                <a:pos x="5" y="151"/>
              </a:cxn>
              <a:cxn ang="0">
                <a:pos x="23" y="152"/>
              </a:cxn>
              <a:cxn ang="0">
                <a:pos x="155" y="33"/>
              </a:cxn>
              <a:cxn ang="0">
                <a:pos x="283" y="149"/>
              </a:cxn>
              <a:cxn ang="0">
                <a:pos x="283" y="313"/>
              </a:cxn>
              <a:cxn ang="0">
                <a:pos x="45" y="313"/>
              </a:cxn>
              <a:cxn ang="0">
                <a:pos x="45" y="228"/>
              </a:cxn>
              <a:cxn ang="0">
                <a:pos x="56" y="202"/>
              </a:cxn>
              <a:cxn ang="0">
                <a:pos x="100" y="187"/>
              </a:cxn>
              <a:cxn ang="0">
                <a:pos x="152" y="229"/>
              </a:cxn>
              <a:cxn ang="0">
                <a:pos x="152" y="272"/>
              </a:cxn>
              <a:cxn ang="0">
                <a:pos x="165" y="285"/>
              </a:cxn>
              <a:cxn ang="0">
                <a:pos x="178" y="272"/>
              </a:cxn>
              <a:cxn ang="0">
                <a:pos x="178" y="229"/>
              </a:cxn>
              <a:cxn ang="0">
                <a:pos x="159" y="182"/>
              </a:cxn>
              <a:cxn ang="0">
                <a:pos x="100" y="161"/>
              </a:cxn>
              <a:cxn ang="0">
                <a:pos x="36" y="184"/>
              </a:cxn>
              <a:cxn ang="0">
                <a:pos x="18" y="229"/>
              </a:cxn>
              <a:cxn ang="0">
                <a:pos x="18" y="229"/>
              </a:cxn>
              <a:cxn ang="0">
                <a:pos x="18" y="326"/>
              </a:cxn>
              <a:cxn ang="0">
                <a:pos x="22" y="335"/>
              </a:cxn>
              <a:cxn ang="0">
                <a:pos x="32" y="339"/>
              </a:cxn>
              <a:cxn ang="0">
                <a:pos x="296" y="339"/>
              </a:cxn>
              <a:cxn ang="0">
                <a:pos x="309" y="326"/>
              </a:cxn>
              <a:cxn ang="0">
                <a:pos x="309" y="143"/>
              </a:cxn>
              <a:cxn ang="0">
                <a:pos x="305" y="133"/>
              </a:cxn>
              <a:cxn ang="0">
                <a:pos x="164" y="5"/>
              </a:cxn>
              <a:cxn ang="0">
                <a:pos x="146" y="5"/>
              </a:cxn>
            </a:cxnLst>
            <a:rect l="0" t="0" r="r" b="b"/>
            <a:pathLst>
              <a:path w="309" h="339">
                <a:moveTo>
                  <a:pt x="146" y="5"/>
                </a:moveTo>
                <a:cubicBezTo>
                  <a:pt x="6" y="132"/>
                  <a:pt x="6" y="132"/>
                  <a:pt x="6" y="132"/>
                </a:cubicBezTo>
                <a:cubicBezTo>
                  <a:pt x="0" y="137"/>
                  <a:pt x="0" y="146"/>
                  <a:pt x="5" y="151"/>
                </a:cubicBezTo>
                <a:cubicBezTo>
                  <a:pt x="10" y="156"/>
                  <a:pt x="18" y="157"/>
                  <a:pt x="23" y="152"/>
                </a:cubicBezTo>
                <a:cubicBezTo>
                  <a:pt x="23" y="152"/>
                  <a:pt x="139" y="47"/>
                  <a:pt x="155" y="33"/>
                </a:cubicBezTo>
                <a:cubicBezTo>
                  <a:pt x="170" y="46"/>
                  <a:pt x="275" y="142"/>
                  <a:pt x="283" y="149"/>
                </a:cubicBezTo>
                <a:cubicBezTo>
                  <a:pt x="283" y="159"/>
                  <a:pt x="283" y="291"/>
                  <a:pt x="283" y="313"/>
                </a:cubicBezTo>
                <a:cubicBezTo>
                  <a:pt x="260" y="313"/>
                  <a:pt x="68" y="313"/>
                  <a:pt x="45" y="313"/>
                </a:cubicBezTo>
                <a:cubicBezTo>
                  <a:pt x="45" y="293"/>
                  <a:pt x="45" y="229"/>
                  <a:pt x="45" y="228"/>
                </a:cubicBezTo>
                <a:cubicBezTo>
                  <a:pt x="45" y="226"/>
                  <a:pt x="45" y="212"/>
                  <a:pt x="56" y="202"/>
                </a:cubicBezTo>
                <a:cubicBezTo>
                  <a:pt x="65" y="192"/>
                  <a:pt x="80" y="187"/>
                  <a:pt x="100" y="187"/>
                </a:cubicBezTo>
                <a:cubicBezTo>
                  <a:pt x="150" y="187"/>
                  <a:pt x="152" y="224"/>
                  <a:pt x="152" y="229"/>
                </a:cubicBezTo>
                <a:cubicBezTo>
                  <a:pt x="152" y="272"/>
                  <a:pt x="152" y="272"/>
                  <a:pt x="152" y="272"/>
                </a:cubicBezTo>
                <a:cubicBezTo>
                  <a:pt x="152" y="279"/>
                  <a:pt x="158" y="285"/>
                  <a:pt x="165" y="285"/>
                </a:cubicBezTo>
                <a:cubicBezTo>
                  <a:pt x="172" y="285"/>
                  <a:pt x="178" y="279"/>
                  <a:pt x="178" y="272"/>
                </a:cubicBezTo>
                <a:cubicBezTo>
                  <a:pt x="178" y="229"/>
                  <a:pt x="178" y="229"/>
                  <a:pt x="178" y="229"/>
                </a:cubicBezTo>
                <a:cubicBezTo>
                  <a:pt x="178" y="228"/>
                  <a:pt x="178" y="202"/>
                  <a:pt x="159" y="182"/>
                </a:cubicBezTo>
                <a:cubicBezTo>
                  <a:pt x="145" y="168"/>
                  <a:pt x="125" y="161"/>
                  <a:pt x="100" y="161"/>
                </a:cubicBezTo>
                <a:cubicBezTo>
                  <a:pt x="72" y="161"/>
                  <a:pt x="51" y="169"/>
                  <a:pt x="36" y="184"/>
                </a:cubicBezTo>
                <a:cubicBezTo>
                  <a:pt x="18" y="203"/>
                  <a:pt x="18" y="228"/>
                  <a:pt x="18" y="229"/>
                </a:cubicBezTo>
                <a:cubicBezTo>
                  <a:pt x="18" y="229"/>
                  <a:pt x="18" y="229"/>
                  <a:pt x="18" y="229"/>
                </a:cubicBezTo>
                <a:cubicBezTo>
                  <a:pt x="18" y="326"/>
                  <a:pt x="18" y="326"/>
                  <a:pt x="18" y="326"/>
                </a:cubicBezTo>
                <a:cubicBezTo>
                  <a:pt x="18" y="329"/>
                  <a:pt x="20" y="333"/>
                  <a:pt x="22" y="335"/>
                </a:cubicBezTo>
                <a:cubicBezTo>
                  <a:pt x="25" y="338"/>
                  <a:pt x="28" y="339"/>
                  <a:pt x="32" y="339"/>
                </a:cubicBezTo>
                <a:cubicBezTo>
                  <a:pt x="296" y="339"/>
                  <a:pt x="296" y="339"/>
                  <a:pt x="296" y="339"/>
                </a:cubicBezTo>
                <a:cubicBezTo>
                  <a:pt x="304" y="339"/>
                  <a:pt x="309" y="333"/>
                  <a:pt x="309" y="326"/>
                </a:cubicBezTo>
                <a:cubicBezTo>
                  <a:pt x="309" y="143"/>
                  <a:pt x="309" y="143"/>
                  <a:pt x="309" y="143"/>
                </a:cubicBezTo>
                <a:cubicBezTo>
                  <a:pt x="309" y="139"/>
                  <a:pt x="308" y="135"/>
                  <a:pt x="305" y="133"/>
                </a:cubicBezTo>
                <a:cubicBezTo>
                  <a:pt x="164" y="5"/>
                  <a:pt x="164" y="5"/>
                  <a:pt x="164" y="5"/>
                </a:cubicBezTo>
                <a:cubicBezTo>
                  <a:pt x="159" y="0"/>
                  <a:pt x="151" y="0"/>
                  <a:pt x="146" y="5"/>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85" name="TextBox 284"/>
          <p:cNvSpPr txBox="1"/>
          <p:nvPr userDrawn="1"/>
        </p:nvSpPr>
        <p:spPr>
          <a:xfrm>
            <a:off x="5158135" y="1669189"/>
            <a:ext cx="549831" cy="12311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Residential</a:t>
            </a:r>
          </a:p>
        </p:txBody>
      </p:sp>
      <p:sp>
        <p:nvSpPr>
          <p:cNvPr id="286" name="Freeform 148"/>
          <p:cNvSpPr>
            <a:spLocks noChangeAspect="1"/>
          </p:cNvSpPr>
          <p:nvPr userDrawn="1"/>
        </p:nvSpPr>
        <p:spPr bwMode="auto">
          <a:xfrm>
            <a:off x="9432244" y="1260845"/>
            <a:ext cx="446842" cy="340107"/>
          </a:xfrm>
          <a:custGeom>
            <a:avLst/>
            <a:gdLst/>
            <a:ahLst/>
            <a:cxnLst>
              <a:cxn ang="0">
                <a:pos x="84" y="0"/>
              </a:cxn>
              <a:cxn ang="0">
                <a:pos x="0" y="91"/>
              </a:cxn>
              <a:cxn ang="0">
                <a:pos x="12" y="103"/>
              </a:cxn>
              <a:cxn ang="0">
                <a:pos x="36" y="127"/>
              </a:cxn>
              <a:cxn ang="0">
                <a:pos x="12" y="151"/>
              </a:cxn>
              <a:cxn ang="0">
                <a:pos x="0" y="163"/>
              </a:cxn>
              <a:cxn ang="0">
                <a:pos x="84" y="255"/>
              </a:cxn>
              <a:cxn ang="0">
                <a:pos x="180" y="255"/>
              </a:cxn>
              <a:cxn ang="0">
                <a:pos x="192" y="243"/>
              </a:cxn>
              <a:cxn ang="0">
                <a:pos x="192" y="209"/>
              </a:cxn>
              <a:cxn ang="0">
                <a:pos x="300" y="209"/>
              </a:cxn>
              <a:cxn ang="0">
                <a:pos x="301" y="209"/>
              </a:cxn>
              <a:cxn ang="0">
                <a:pos x="335" y="175"/>
              </a:cxn>
              <a:cxn ang="0">
                <a:pos x="302" y="142"/>
              </a:cxn>
              <a:cxn ang="0">
                <a:pos x="300" y="142"/>
              </a:cxn>
              <a:cxn ang="0">
                <a:pos x="184" y="142"/>
              </a:cxn>
              <a:cxn ang="0">
                <a:pos x="172" y="154"/>
              </a:cxn>
              <a:cxn ang="0">
                <a:pos x="184" y="166"/>
              </a:cxn>
              <a:cxn ang="0">
                <a:pos x="300" y="166"/>
              </a:cxn>
              <a:cxn ang="0">
                <a:pos x="301" y="166"/>
              </a:cxn>
              <a:cxn ang="0">
                <a:pos x="311" y="175"/>
              </a:cxn>
              <a:cxn ang="0">
                <a:pos x="302" y="184"/>
              </a:cxn>
              <a:cxn ang="0">
                <a:pos x="300" y="184"/>
              </a:cxn>
              <a:cxn ang="0">
                <a:pos x="180" y="184"/>
              </a:cxn>
              <a:cxn ang="0">
                <a:pos x="167" y="196"/>
              </a:cxn>
              <a:cxn ang="0">
                <a:pos x="167" y="230"/>
              </a:cxn>
              <a:cxn ang="0">
                <a:pos x="84" y="230"/>
              </a:cxn>
              <a:cxn ang="0">
                <a:pos x="25" y="174"/>
              </a:cxn>
              <a:cxn ang="0">
                <a:pos x="60" y="127"/>
              </a:cxn>
              <a:cxn ang="0">
                <a:pos x="25" y="81"/>
              </a:cxn>
              <a:cxn ang="0">
                <a:pos x="84" y="24"/>
              </a:cxn>
              <a:cxn ang="0">
                <a:pos x="167" y="24"/>
              </a:cxn>
              <a:cxn ang="0">
                <a:pos x="167" y="58"/>
              </a:cxn>
              <a:cxn ang="0">
                <a:pos x="180" y="71"/>
              </a:cxn>
              <a:cxn ang="0">
                <a:pos x="300" y="71"/>
              </a:cxn>
              <a:cxn ang="0">
                <a:pos x="302" y="71"/>
              </a:cxn>
              <a:cxn ang="0">
                <a:pos x="311" y="79"/>
              </a:cxn>
              <a:cxn ang="0">
                <a:pos x="302" y="88"/>
              </a:cxn>
              <a:cxn ang="0">
                <a:pos x="300" y="88"/>
              </a:cxn>
              <a:cxn ang="0">
                <a:pos x="184" y="88"/>
              </a:cxn>
              <a:cxn ang="0">
                <a:pos x="172" y="101"/>
              </a:cxn>
              <a:cxn ang="0">
                <a:pos x="184" y="113"/>
              </a:cxn>
              <a:cxn ang="0">
                <a:pos x="300" y="113"/>
              </a:cxn>
              <a:cxn ang="0">
                <a:pos x="302" y="113"/>
              </a:cxn>
              <a:cxn ang="0">
                <a:pos x="335" y="79"/>
              </a:cxn>
              <a:cxn ang="0">
                <a:pos x="302" y="46"/>
              </a:cxn>
              <a:cxn ang="0">
                <a:pos x="300" y="46"/>
              </a:cxn>
              <a:cxn ang="0">
                <a:pos x="192" y="46"/>
              </a:cxn>
              <a:cxn ang="0">
                <a:pos x="192" y="12"/>
              </a:cxn>
              <a:cxn ang="0">
                <a:pos x="180" y="0"/>
              </a:cxn>
              <a:cxn ang="0">
                <a:pos x="84" y="0"/>
              </a:cxn>
            </a:cxnLst>
            <a:rect l="0" t="0" r="r" b="b"/>
            <a:pathLst>
              <a:path w="335" h="255">
                <a:moveTo>
                  <a:pt x="84" y="0"/>
                </a:moveTo>
                <a:cubicBezTo>
                  <a:pt x="31" y="0"/>
                  <a:pt x="0" y="34"/>
                  <a:pt x="0" y="91"/>
                </a:cubicBezTo>
                <a:cubicBezTo>
                  <a:pt x="0" y="98"/>
                  <a:pt x="5" y="103"/>
                  <a:pt x="12" y="103"/>
                </a:cubicBezTo>
                <a:cubicBezTo>
                  <a:pt x="25" y="103"/>
                  <a:pt x="36" y="114"/>
                  <a:pt x="36" y="127"/>
                </a:cubicBezTo>
                <a:cubicBezTo>
                  <a:pt x="36" y="140"/>
                  <a:pt x="25" y="151"/>
                  <a:pt x="12" y="151"/>
                </a:cubicBezTo>
                <a:cubicBezTo>
                  <a:pt x="5" y="151"/>
                  <a:pt x="0" y="157"/>
                  <a:pt x="0" y="163"/>
                </a:cubicBezTo>
                <a:cubicBezTo>
                  <a:pt x="0" y="221"/>
                  <a:pt x="31" y="255"/>
                  <a:pt x="84" y="255"/>
                </a:cubicBezTo>
                <a:cubicBezTo>
                  <a:pt x="180" y="255"/>
                  <a:pt x="180" y="255"/>
                  <a:pt x="180" y="255"/>
                </a:cubicBezTo>
                <a:cubicBezTo>
                  <a:pt x="186" y="255"/>
                  <a:pt x="192" y="249"/>
                  <a:pt x="192" y="243"/>
                </a:cubicBezTo>
                <a:cubicBezTo>
                  <a:pt x="192" y="243"/>
                  <a:pt x="192" y="222"/>
                  <a:pt x="192" y="209"/>
                </a:cubicBezTo>
                <a:cubicBezTo>
                  <a:pt x="212" y="209"/>
                  <a:pt x="300" y="209"/>
                  <a:pt x="300" y="209"/>
                </a:cubicBezTo>
                <a:cubicBezTo>
                  <a:pt x="300" y="209"/>
                  <a:pt x="301" y="209"/>
                  <a:pt x="301" y="209"/>
                </a:cubicBezTo>
                <a:cubicBezTo>
                  <a:pt x="320" y="209"/>
                  <a:pt x="335" y="194"/>
                  <a:pt x="335" y="175"/>
                </a:cubicBezTo>
                <a:cubicBezTo>
                  <a:pt x="335" y="157"/>
                  <a:pt x="320" y="142"/>
                  <a:pt x="302" y="142"/>
                </a:cubicBezTo>
                <a:cubicBezTo>
                  <a:pt x="302" y="142"/>
                  <a:pt x="300" y="142"/>
                  <a:pt x="300" y="142"/>
                </a:cubicBezTo>
                <a:cubicBezTo>
                  <a:pt x="184" y="142"/>
                  <a:pt x="184" y="142"/>
                  <a:pt x="184" y="142"/>
                </a:cubicBezTo>
                <a:cubicBezTo>
                  <a:pt x="177" y="142"/>
                  <a:pt x="172" y="147"/>
                  <a:pt x="172" y="154"/>
                </a:cubicBezTo>
                <a:cubicBezTo>
                  <a:pt x="172" y="161"/>
                  <a:pt x="177" y="166"/>
                  <a:pt x="184" y="166"/>
                </a:cubicBezTo>
                <a:cubicBezTo>
                  <a:pt x="184" y="166"/>
                  <a:pt x="300" y="166"/>
                  <a:pt x="300" y="166"/>
                </a:cubicBezTo>
                <a:cubicBezTo>
                  <a:pt x="301" y="166"/>
                  <a:pt x="301" y="166"/>
                  <a:pt x="301" y="166"/>
                </a:cubicBezTo>
                <a:cubicBezTo>
                  <a:pt x="307" y="166"/>
                  <a:pt x="311" y="170"/>
                  <a:pt x="311" y="175"/>
                </a:cubicBezTo>
                <a:cubicBezTo>
                  <a:pt x="311" y="180"/>
                  <a:pt x="307" y="184"/>
                  <a:pt x="302" y="184"/>
                </a:cubicBezTo>
                <a:cubicBezTo>
                  <a:pt x="302" y="184"/>
                  <a:pt x="300" y="184"/>
                  <a:pt x="300" y="184"/>
                </a:cubicBezTo>
                <a:cubicBezTo>
                  <a:pt x="180" y="184"/>
                  <a:pt x="180" y="184"/>
                  <a:pt x="180" y="184"/>
                </a:cubicBezTo>
                <a:cubicBezTo>
                  <a:pt x="173" y="184"/>
                  <a:pt x="167" y="190"/>
                  <a:pt x="167" y="196"/>
                </a:cubicBezTo>
                <a:cubicBezTo>
                  <a:pt x="167" y="196"/>
                  <a:pt x="167" y="217"/>
                  <a:pt x="167" y="230"/>
                </a:cubicBezTo>
                <a:cubicBezTo>
                  <a:pt x="149" y="230"/>
                  <a:pt x="84" y="230"/>
                  <a:pt x="84" y="230"/>
                </a:cubicBezTo>
                <a:cubicBezTo>
                  <a:pt x="40" y="230"/>
                  <a:pt x="27" y="202"/>
                  <a:pt x="25" y="174"/>
                </a:cubicBezTo>
                <a:cubicBezTo>
                  <a:pt x="45" y="168"/>
                  <a:pt x="60" y="150"/>
                  <a:pt x="60" y="127"/>
                </a:cubicBezTo>
                <a:cubicBezTo>
                  <a:pt x="60" y="105"/>
                  <a:pt x="45" y="86"/>
                  <a:pt x="25" y="81"/>
                </a:cubicBezTo>
                <a:cubicBezTo>
                  <a:pt x="27" y="53"/>
                  <a:pt x="40" y="24"/>
                  <a:pt x="84" y="24"/>
                </a:cubicBezTo>
                <a:cubicBezTo>
                  <a:pt x="84" y="24"/>
                  <a:pt x="149" y="24"/>
                  <a:pt x="167" y="24"/>
                </a:cubicBezTo>
                <a:cubicBezTo>
                  <a:pt x="167" y="38"/>
                  <a:pt x="167" y="58"/>
                  <a:pt x="167" y="58"/>
                </a:cubicBezTo>
                <a:cubicBezTo>
                  <a:pt x="167" y="65"/>
                  <a:pt x="173" y="71"/>
                  <a:pt x="180" y="71"/>
                </a:cubicBezTo>
                <a:cubicBezTo>
                  <a:pt x="300" y="71"/>
                  <a:pt x="300" y="71"/>
                  <a:pt x="300" y="71"/>
                </a:cubicBezTo>
                <a:cubicBezTo>
                  <a:pt x="300" y="71"/>
                  <a:pt x="302" y="71"/>
                  <a:pt x="302" y="71"/>
                </a:cubicBezTo>
                <a:cubicBezTo>
                  <a:pt x="307" y="71"/>
                  <a:pt x="311" y="75"/>
                  <a:pt x="311" y="79"/>
                </a:cubicBezTo>
                <a:cubicBezTo>
                  <a:pt x="311" y="84"/>
                  <a:pt x="307" y="88"/>
                  <a:pt x="302" y="88"/>
                </a:cubicBezTo>
                <a:cubicBezTo>
                  <a:pt x="301" y="88"/>
                  <a:pt x="300" y="88"/>
                  <a:pt x="300" y="88"/>
                </a:cubicBezTo>
                <a:cubicBezTo>
                  <a:pt x="184" y="88"/>
                  <a:pt x="184" y="88"/>
                  <a:pt x="184" y="88"/>
                </a:cubicBezTo>
                <a:cubicBezTo>
                  <a:pt x="177" y="88"/>
                  <a:pt x="172" y="94"/>
                  <a:pt x="172" y="101"/>
                </a:cubicBezTo>
                <a:cubicBezTo>
                  <a:pt x="172" y="107"/>
                  <a:pt x="177" y="113"/>
                  <a:pt x="184" y="113"/>
                </a:cubicBezTo>
                <a:cubicBezTo>
                  <a:pt x="300" y="113"/>
                  <a:pt x="300" y="113"/>
                  <a:pt x="300" y="113"/>
                </a:cubicBezTo>
                <a:cubicBezTo>
                  <a:pt x="300" y="113"/>
                  <a:pt x="302" y="113"/>
                  <a:pt x="302" y="113"/>
                </a:cubicBezTo>
                <a:cubicBezTo>
                  <a:pt x="320" y="113"/>
                  <a:pt x="335" y="98"/>
                  <a:pt x="335" y="79"/>
                </a:cubicBezTo>
                <a:cubicBezTo>
                  <a:pt x="335" y="61"/>
                  <a:pt x="320" y="46"/>
                  <a:pt x="302" y="46"/>
                </a:cubicBezTo>
                <a:cubicBezTo>
                  <a:pt x="301" y="46"/>
                  <a:pt x="300" y="46"/>
                  <a:pt x="300" y="46"/>
                </a:cubicBezTo>
                <a:cubicBezTo>
                  <a:pt x="300" y="46"/>
                  <a:pt x="212" y="46"/>
                  <a:pt x="192" y="46"/>
                </a:cubicBezTo>
                <a:cubicBezTo>
                  <a:pt x="192" y="33"/>
                  <a:pt x="192" y="12"/>
                  <a:pt x="192" y="12"/>
                </a:cubicBezTo>
                <a:cubicBezTo>
                  <a:pt x="192" y="5"/>
                  <a:pt x="186" y="0"/>
                  <a:pt x="180" y="0"/>
                </a:cubicBezTo>
                <a:lnTo>
                  <a:pt x="84" y="0"/>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87" name="TextBox 286"/>
          <p:cNvSpPr txBox="1"/>
          <p:nvPr userDrawn="1"/>
        </p:nvSpPr>
        <p:spPr>
          <a:xfrm>
            <a:off x="9229950" y="1669181"/>
            <a:ext cx="851437" cy="24622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Power management</a:t>
            </a:r>
          </a:p>
        </p:txBody>
      </p:sp>
      <p:sp>
        <p:nvSpPr>
          <p:cNvPr id="288" name="Freeform 184"/>
          <p:cNvSpPr>
            <a:spLocks noChangeAspect="1"/>
          </p:cNvSpPr>
          <p:nvPr userDrawn="1"/>
        </p:nvSpPr>
        <p:spPr bwMode="auto">
          <a:xfrm>
            <a:off x="8409158" y="1207759"/>
            <a:ext cx="489928" cy="393192"/>
          </a:xfrm>
          <a:custGeom>
            <a:avLst/>
            <a:gdLst/>
            <a:ahLst/>
            <a:cxnLst>
              <a:cxn ang="0">
                <a:pos x="69" y="73"/>
              </a:cxn>
              <a:cxn ang="0">
                <a:pos x="95" y="73"/>
              </a:cxn>
              <a:cxn ang="0">
                <a:pos x="95" y="343"/>
              </a:cxn>
              <a:cxn ang="0">
                <a:pos x="0" y="343"/>
              </a:cxn>
              <a:cxn ang="0">
                <a:pos x="0" y="72"/>
              </a:cxn>
              <a:cxn ang="0">
                <a:pos x="31" y="72"/>
              </a:cxn>
              <a:cxn ang="0">
                <a:pos x="31" y="34"/>
              </a:cxn>
              <a:cxn ang="0">
                <a:pos x="82" y="0"/>
              </a:cxn>
              <a:cxn ang="0">
                <a:pos x="127" y="11"/>
              </a:cxn>
              <a:cxn ang="0">
                <a:pos x="139" y="48"/>
              </a:cxn>
              <a:cxn ang="0">
                <a:pos x="139" y="284"/>
              </a:cxn>
              <a:cxn ang="0">
                <a:pos x="207" y="284"/>
              </a:cxn>
              <a:cxn ang="0">
                <a:pos x="207" y="228"/>
              </a:cxn>
              <a:cxn ang="0">
                <a:pos x="181" y="207"/>
              </a:cxn>
              <a:cxn ang="0">
                <a:pos x="181" y="66"/>
              </a:cxn>
              <a:cxn ang="0">
                <a:pos x="278" y="67"/>
              </a:cxn>
              <a:cxn ang="0">
                <a:pos x="278" y="207"/>
              </a:cxn>
              <a:cxn ang="0">
                <a:pos x="254" y="229"/>
              </a:cxn>
              <a:cxn ang="0">
                <a:pos x="254" y="275"/>
              </a:cxn>
              <a:cxn ang="0">
                <a:pos x="254" y="283"/>
              </a:cxn>
              <a:cxn ang="0">
                <a:pos x="352" y="283"/>
              </a:cxn>
              <a:cxn ang="0">
                <a:pos x="316" y="340"/>
              </a:cxn>
              <a:cxn ang="0">
                <a:pos x="428" y="340"/>
              </a:cxn>
              <a:cxn ang="0">
                <a:pos x="385" y="281"/>
              </a:cxn>
              <a:cxn ang="0">
                <a:pos x="428" y="222"/>
              </a:cxn>
              <a:cxn ang="0">
                <a:pos x="316" y="222"/>
              </a:cxn>
              <a:cxn ang="0">
                <a:pos x="336" y="250"/>
              </a:cxn>
            </a:cxnLst>
            <a:rect l="0" t="0" r="r" b="b"/>
            <a:pathLst>
              <a:path w="428" h="343">
                <a:moveTo>
                  <a:pt x="69" y="73"/>
                </a:moveTo>
                <a:cubicBezTo>
                  <a:pt x="95" y="73"/>
                  <a:pt x="95" y="73"/>
                  <a:pt x="95" y="73"/>
                </a:cubicBezTo>
                <a:cubicBezTo>
                  <a:pt x="95" y="343"/>
                  <a:pt x="95" y="343"/>
                  <a:pt x="95" y="343"/>
                </a:cubicBezTo>
                <a:cubicBezTo>
                  <a:pt x="0" y="343"/>
                  <a:pt x="0" y="343"/>
                  <a:pt x="0" y="343"/>
                </a:cubicBezTo>
                <a:cubicBezTo>
                  <a:pt x="0" y="72"/>
                  <a:pt x="0" y="72"/>
                  <a:pt x="0" y="72"/>
                </a:cubicBezTo>
                <a:cubicBezTo>
                  <a:pt x="31" y="72"/>
                  <a:pt x="31" y="72"/>
                  <a:pt x="31" y="72"/>
                </a:cubicBezTo>
                <a:cubicBezTo>
                  <a:pt x="31" y="34"/>
                  <a:pt x="31" y="34"/>
                  <a:pt x="31" y="34"/>
                </a:cubicBezTo>
                <a:cubicBezTo>
                  <a:pt x="31" y="34"/>
                  <a:pt x="33" y="0"/>
                  <a:pt x="82" y="0"/>
                </a:cubicBezTo>
                <a:cubicBezTo>
                  <a:pt x="106" y="0"/>
                  <a:pt x="118" y="4"/>
                  <a:pt x="127" y="11"/>
                </a:cubicBezTo>
                <a:cubicBezTo>
                  <a:pt x="135" y="18"/>
                  <a:pt x="139" y="28"/>
                  <a:pt x="139" y="48"/>
                </a:cubicBezTo>
                <a:cubicBezTo>
                  <a:pt x="139" y="284"/>
                  <a:pt x="139" y="284"/>
                  <a:pt x="139" y="284"/>
                </a:cubicBezTo>
                <a:cubicBezTo>
                  <a:pt x="207" y="284"/>
                  <a:pt x="207" y="284"/>
                  <a:pt x="207" y="284"/>
                </a:cubicBezTo>
                <a:cubicBezTo>
                  <a:pt x="207" y="228"/>
                  <a:pt x="207" y="228"/>
                  <a:pt x="207" y="228"/>
                </a:cubicBezTo>
                <a:cubicBezTo>
                  <a:pt x="181" y="207"/>
                  <a:pt x="181" y="207"/>
                  <a:pt x="181" y="207"/>
                </a:cubicBezTo>
                <a:cubicBezTo>
                  <a:pt x="181" y="66"/>
                  <a:pt x="181" y="66"/>
                  <a:pt x="181" y="66"/>
                </a:cubicBezTo>
                <a:cubicBezTo>
                  <a:pt x="181" y="66"/>
                  <a:pt x="226" y="28"/>
                  <a:pt x="278" y="67"/>
                </a:cubicBezTo>
                <a:cubicBezTo>
                  <a:pt x="278" y="207"/>
                  <a:pt x="278" y="207"/>
                  <a:pt x="278" y="207"/>
                </a:cubicBezTo>
                <a:cubicBezTo>
                  <a:pt x="254" y="229"/>
                  <a:pt x="254" y="229"/>
                  <a:pt x="254" y="229"/>
                </a:cubicBezTo>
                <a:cubicBezTo>
                  <a:pt x="254" y="275"/>
                  <a:pt x="254" y="275"/>
                  <a:pt x="254" y="275"/>
                </a:cubicBezTo>
                <a:cubicBezTo>
                  <a:pt x="254" y="283"/>
                  <a:pt x="254" y="283"/>
                  <a:pt x="254" y="283"/>
                </a:cubicBezTo>
                <a:cubicBezTo>
                  <a:pt x="352" y="283"/>
                  <a:pt x="352" y="283"/>
                  <a:pt x="352" y="283"/>
                </a:cubicBezTo>
                <a:cubicBezTo>
                  <a:pt x="316" y="340"/>
                  <a:pt x="316" y="340"/>
                  <a:pt x="316" y="340"/>
                </a:cubicBezTo>
                <a:cubicBezTo>
                  <a:pt x="428" y="340"/>
                  <a:pt x="428" y="340"/>
                  <a:pt x="428" y="340"/>
                </a:cubicBezTo>
                <a:cubicBezTo>
                  <a:pt x="385" y="281"/>
                  <a:pt x="385" y="281"/>
                  <a:pt x="385" y="281"/>
                </a:cubicBezTo>
                <a:cubicBezTo>
                  <a:pt x="428" y="222"/>
                  <a:pt x="428" y="222"/>
                  <a:pt x="428" y="222"/>
                </a:cubicBezTo>
                <a:cubicBezTo>
                  <a:pt x="316" y="222"/>
                  <a:pt x="316" y="222"/>
                  <a:pt x="316" y="222"/>
                </a:cubicBezTo>
                <a:cubicBezTo>
                  <a:pt x="336" y="250"/>
                  <a:pt x="336" y="250"/>
                  <a:pt x="336" y="250"/>
                </a:cubicBezTo>
              </a:path>
            </a:pathLst>
          </a:custGeom>
          <a:noFill/>
          <a:ln w="30163" cap="rnd">
            <a:solidFill>
              <a:schemeClr val="bg1"/>
            </a:solidFill>
            <a:prstDash val="solid"/>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89" name="TextBox 288"/>
          <p:cNvSpPr txBox="1"/>
          <p:nvPr userDrawn="1"/>
        </p:nvSpPr>
        <p:spPr>
          <a:xfrm>
            <a:off x="7988860" y="1669181"/>
            <a:ext cx="1379553" cy="24622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Process/machine management</a:t>
            </a:r>
          </a:p>
        </p:txBody>
      </p:sp>
      <p:sp>
        <p:nvSpPr>
          <p:cNvPr id="290" name="Freeform 132"/>
          <p:cNvSpPr>
            <a:spLocks noChangeAspect="1"/>
          </p:cNvSpPr>
          <p:nvPr userDrawn="1"/>
        </p:nvSpPr>
        <p:spPr bwMode="auto">
          <a:xfrm>
            <a:off x="7526969" y="1207759"/>
            <a:ext cx="386910" cy="393192"/>
          </a:xfrm>
          <a:custGeom>
            <a:avLst/>
            <a:gdLst/>
            <a:ahLst/>
            <a:cxnLst>
              <a:cxn ang="0">
                <a:pos x="283" y="18"/>
              </a:cxn>
              <a:cxn ang="0">
                <a:pos x="255" y="0"/>
              </a:cxn>
              <a:cxn ang="0">
                <a:pos x="0" y="0"/>
              </a:cxn>
              <a:cxn ang="0">
                <a:pos x="0" y="277"/>
              </a:cxn>
              <a:cxn ang="0">
                <a:pos x="56" y="313"/>
              </a:cxn>
              <a:cxn ang="0">
                <a:pos x="56" y="45"/>
              </a:cxn>
              <a:cxn ang="0">
                <a:pos x="308" y="45"/>
              </a:cxn>
              <a:cxn ang="0">
                <a:pos x="308" y="313"/>
              </a:cxn>
              <a:cxn ang="0">
                <a:pos x="229" y="313"/>
              </a:cxn>
              <a:cxn ang="0">
                <a:pos x="229" y="267"/>
              </a:cxn>
              <a:cxn ang="0">
                <a:pos x="278" y="267"/>
              </a:cxn>
              <a:cxn ang="0">
                <a:pos x="278" y="172"/>
              </a:cxn>
              <a:cxn ang="0">
                <a:pos x="142" y="172"/>
              </a:cxn>
              <a:cxn ang="0">
                <a:pos x="142" y="267"/>
              </a:cxn>
              <a:cxn ang="0">
                <a:pos x="197" y="267"/>
              </a:cxn>
              <a:cxn ang="0">
                <a:pos x="172" y="313"/>
              </a:cxn>
              <a:cxn ang="0">
                <a:pos x="97" y="313"/>
              </a:cxn>
            </a:cxnLst>
            <a:rect l="0" t="0" r="r" b="b"/>
            <a:pathLst>
              <a:path w="308" h="313">
                <a:moveTo>
                  <a:pt x="283" y="18"/>
                </a:moveTo>
                <a:lnTo>
                  <a:pt x="255" y="0"/>
                </a:lnTo>
                <a:lnTo>
                  <a:pt x="0" y="0"/>
                </a:lnTo>
                <a:lnTo>
                  <a:pt x="0" y="277"/>
                </a:lnTo>
                <a:lnTo>
                  <a:pt x="56" y="313"/>
                </a:lnTo>
                <a:lnTo>
                  <a:pt x="56" y="45"/>
                </a:lnTo>
                <a:lnTo>
                  <a:pt x="308" y="45"/>
                </a:lnTo>
                <a:lnTo>
                  <a:pt x="308" y="313"/>
                </a:lnTo>
                <a:lnTo>
                  <a:pt x="229" y="313"/>
                </a:lnTo>
                <a:lnTo>
                  <a:pt x="229" y="267"/>
                </a:lnTo>
                <a:lnTo>
                  <a:pt x="278" y="267"/>
                </a:lnTo>
                <a:lnTo>
                  <a:pt x="278" y="172"/>
                </a:lnTo>
                <a:lnTo>
                  <a:pt x="142" y="172"/>
                </a:lnTo>
                <a:lnTo>
                  <a:pt x="142" y="267"/>
                </a:lnTo>
                <a:lnTo>
                  <a:pt x="197" y="267"/>
                </a:lnTo>
                <a:lnTo>
                  <a:pt x="172" y="313"/>
                </a:lnTo>
                <a:lnTo>
                  <a:pt x="97" y="313"/>
                </a:lnTo>
              </a:path>
            </a:pathLst>
          </a:custGeom>
          <a:noFill/>
          <a:ln w="31750" cap="rnd">
            <a:solidFill>
              <a:schemeClr val="bg1"/>
            </a:solidFill>
            <a:prstDash val="solid"/>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91" name="TextBox 290"/>
          <p:cNvSpPr txBox="1"/>
          <p:nvPr userDrawn="1"/>
        </p:nvSpPr>
        <p:spPr>
          <a:xfrm>
            <a:off x="7191941" y="1669181"/>
            <a:ext cx="1070335" cy="24622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IT room</a:t>
            </a:r>
            <a:br>
              <a:rPr lang="en-US" sz="800" b="1" dirty="0">
                <a:solidFill>
                  <a:prstClr val="white"/>
                </a:solidFill>
                <a:cs typeface="Arial" pitchFamily="34" charset="0"/>
              </a:rPr>
            </a:br>
            <a:r>
              <a:rPr lang="en-US" sz="800" b="1" dirty="0">
                <a:solidFill>
                  <a:prstClr val="white"/>
                </a:solidFill>
                <a:cs typeface="Arial" pitchFamily="34" charset="0"/>
              </a:rPr>
              <a:t>management</a:t>
            </a:r>
          </a:p>
        </p:txBody>
      </p:sp>
      <p:sp>
        <p:nvSpPr>
          <p:cNvPr id="292" name="Freeform 180"/>
          <p:cNvSpPr>
            <a:spLocks noChangeAspect="1"/>
          </p:cNvSpPr>
          <p:nvPr userDrawn="1"/>
        </p:nvSpPr>
        <p:spPr bwMode="auto">
          <a:xfrm>
            <a:off x="10338927" y="1207759"/>
            <a:ext cx="350298" cy="393192"/>
          </a:xfrm>
          <a:custGeom>
            <a:avLst/>
            <a:gdLst/>
            <a:ahLst/>
            <a:cxnLst>
              <a:cxn ang="0">
                <a:pos x="192" y="296"/>
              </a:cxn>
              <a:cxn ang="0">
                <a:pos x="152" y="369"/>
              </a:cxn>
              <a:cxn ang="0">
                <a:pos x="0" y="336"/>
              </a:cxn>
              <a:cxn ang="0">
                <a:pos x="112" y="300"/>
              </a:cxn>
              <a:cxn ang="0">
                <a:pos x="132" y="219"/>
              </a:cxn>
              <a:cxn ang="0">
                <a:pos x="138" y="150"/>
              </a:cxn>
              <a:cxn ang="0">
                <a:pos x="113" y="189"/>
              </a:cxn>
              <a:cxn ang="0">
                <a:pos x="66" y="198"/>
              </a:cxn>
              <a:cxn ang="0">
                <a:pos x="57" y="152"/>
              </a:cxn>
              <a:cxn ang="0">
                <a:pos x="103" y="84"/>
              </a:cxn>
              <a:cxn ang="0">
                <a:pos x="114" y="82"/>
              </a:cxn>
              <a:cxn ang="0">
                <a:pos x="227" y="99"/>
              </a:cxn>
              <a:cxn ang="0">
                <a:pos x="116" y="108"/>
              </a:cxn>
              <a:cxn ang="0">
                <a:pos x="79" y="166"/>
              </a:cxn>
              <a:cxn ang="0">
                <a:pos x="81" y="176"/>
              </a:cxn>
              <a:cxn ang="0">
                <a:pos x="91" y="174"/>
              </a:cxn>
              <a:cxn ang="0">
                <a:pos x="116" y="134"/>
              </a:cxn>
              <a:cxn ang="0">
                <a:pos x="130" y="124"/>
              </a:cxn>
              <a:cxn ang="0">
                <a:pos x="138" y="123"/>
              </a:cxn>
              <a:cxn ang="0">
                <a:pos x="185" y="126"/>
              </a:cxn>
              <a:cxn ang="0">
                <a:pos x="196" y="145"/>
              </a:cxn>
              <a:cxn ang="0">
                <a:pos x="135" y="316"/>
              </a:cxn>
              <a:cxn ang="0">
                <a:pos x="34" y="329"/>
              </a:cxn>
              <a:cxn ang="0">
                <a:pos x="27" y="336"/>
              </a:cxn>
              <a:cxn ang="0">
                <a:pos x="143" y="343"/>
              </a:cxn>
              <a:cxn ang="0">
                <a:pos x="190" y="251"/>
              </a:cxn>
              <a:cxn ang="0">
                <a:pos x="280" y="414"/>
              </a:cxn>
              <a:cxn ang="0">
                <a:pos x="287" y="420"/>
              </a:cxn>
              <a:cxn ang="0">
                <a:pos x="294" y="413"/>
              </a:cxn>
              <a:cxn ang="0">
                <a:pos x="215" y="234"/>
              </a:cxn>
              <a:cxn ang="0">
                <a:pos x="244" y="165"/>
              </a:cxn>
              <a:cxn ang="0">
                <a:pos x="266" y="163"/>
              </a:cxn>
              <a:cxn ang="0">
                <a:pos x="299" y="199"/>
              </a:cxn>
              <a:cxn ang="0">
                <a:pos x="310" y="205"/>
              </a:cxn>
              <a:cxn ang="0">
                <a:pos x="369" y="202"/>
              </a:cxn>
              <a:cxn ang="0">
                <a:pos x="365" y="191"/>
              </a:cxn>
              <a:cxn ang="0">
                <a:pos x="323" y="191"/>
              </a:cxn>
              <a:cxn ang="0">
                <a:pos x="262" y="127"/>
              </a:cxn>
              <a:cxn ang="0">
                <a:pos x="250" y="100"/>
              </a:cxn>
              <a:cxn ang="0">
                <a:pos x="271" y="77"/>
              </a:cxn>
              <a:cxn ang="0">
                <a:pos x="297" y="51"/>
              </a:cxn>
              <a:cxn ang="0">
                <a:pos x="249" y="51"/>
              </a:cxn>
              <a:cxn ang="0">
                <a:pos x="253" y="65"/>
              </a:cxn>
              <a:cxn ang="0">
                <a:pos x="231" y="79"/>
              </a:cxn>
              <a:cxn ang="0">
                <a:pos x="273" y="0"/>
              </a:cxn>
              <a:cxn ang="0">
                <a:pos x="309" y="87"/>
              </a:cxn>
              <a:cxn ang="0">
                <a:pos x="278" y="105"/>
              </a:cxn>
              <a:cxn ang="0">
                <a:pos x="282" y="110"/>
              </a:cxn>
              <a:cxn ang="0">
                <a:pos x="365" y="164"/>
              </a:cxn>
              <a:cxn ang="0">
                <a:pos x="365" y="231"/>
              </a:cxn>
              <a:cxn ang="0">
                <a:pos x="292" y="227"/>
              </a:cxn>
              <a:cxn ang="0">
                <a:pos x="273" y="210"/>
              </a:cxn>
              <a:cxn ang="0">
                <a:pos x="259" y="195"/>
              </a:cxn>
              <a:cxn ang="0">
                <a:pos x="318" y="400"/>
              </a:cxn>
              <a:cxn ang="0">
                <a:pos x="321" y="413"/>
              </a:cxn>
              <a:cxn ang="0">
                <a:pos x="287" y="447"/>
              </a:cxn>
              <a:cxn ang="0">
                <a:pos x="256" y="426"/>
              </a:cxn>
            </a:cxnLst>
            <a:rect l="0" t="0" r="r" b="b"/>
            <a:pathLst>
              <a:path w="398" h="447">
                <a:moveTo>
                  <a:pt x="256" y="426"/>
                </a:moveTo>
                <a:cubicBezTo>
                  <a:pt x="192" y="296"/>
                  <a:pt x="192" y="296"/>
                  <a:pt x="192" y="296"/>
                </a:cubicBezTo>
                <a:cubicBezTo>
                  <a:pt x="164" y="361"/>
                  <a:pt x="164" y="361"/>
                  <a:pt x="164" y="361"/>
                </a:cubicBezTo>
                <a:cubicBezTo>
                  <a:pt x="162" y="366"/>
                  <a:pt x="157" y="369"/>
                  <a:pt x="152" y="369"/>
                </a:cubicBezTo>
                <a:cubicBezTo>
                  <a:pt x="34" y="370"/>
                  <a:pt x="34" y="370"/>
                  <a:pt x="34" y="370"/>
                </a:cubicBezTo>
                <a:cubicBezTo>
                  <a:pt x="15" y="370"/>
                  <a:pt x="0" y="355"/>
                  <a:pt x="0" y="336"/>
                </a:cubicBezTo>
                <a:cubicBezTo>
                  <a:pt x="0" y="318"/>
                  <a:pt x="15" y="303"/>
                  <a:pt x="34" y="303"/>
                </a:cubicBezTo>
                <a:cubicBezTo>
                  <a:pt x="112" y="300"/>
                  <a:pt x="112" y="300"/>
                  <a:pt x="112" y="300"/>
                </a:cubicBezTo>
                <a:cubicBezTo>
                  <a:pt x="131" y="221"/>
                  <a:pt x="131" y="221"/>
                  <a:pt x="131" y="221"/>
                </a:cubicBezTo>
                <a:cubicBezTo>
                  <a:pt x="131" y="220"/>
                  <a:pt x="132" y="220"/>
                  <a:pt x="132" y="219"/>
                </a:cubicBezTo>
                <a:cubicBezTo>
                  <a:pt x="164" y="151"/>
                  <a:pt x="164" y="151"/>
                  <a:pt x="164" y="151"/>
                </a:cubicBezTo>
                <a:cubicBezTo>
                  <a:pt x="138" y="150"/>
                  <a:pt x="138" y="150"/>
                  <a:pt x="138" y="150"/>
                </a:cubicBezTo>
                <a:cubicBezTo>
                  <a:pt x="113" y="189"/>
                  <a:pt x="113" y="189"/>
                  <a:pt x="113" y="189"/>
                </a:cubicBezTo>
                <a:cubicBezTo>
                  <a:pt x="113" y="189"/>
                  <a:pt x="113" y="189"/>
                  <a:pt x="113" y="189"/>
                </a:cubicBezTo>
                <a:cubicBezTo>
                  <a:pt x="106" y="199"/>
                  <a:pt x="96" y="204"/>
                  <a:pt x="85" y="204"/>
                </a:cubicBezTo>
                <a:cubicBezTo>
                  <a:pt x="79" y="204"/>
                  <a:pt x="72" y="202"/>
                  <a:pt x="66" y="198"/>
                </a:cubicBezTo>
                <a:cubicBezTo>
                  <a:pt x="57" y="192"/>
                  <a:pt x="51" y="181"/>
                  <a:pt x="51" y="170"/>
                </a:cubicBezTo>
                <a:cubicBezTo>
                  <a:pt x="51" y="164"/>
                  <a:pt x="53" y="157"/>
                  <a:pt x="57" y="152"/>
                </a:cubicBezTo>
                <a:cubicBezTo>
                  <a:pt x="95" y="92"/>
                  <a:pt x="95" y="92"/>
                  <a:pt x="95" y="92"/>
                </a:cubicBezTo>
                <a:cubicBezTo>
                  <a:pt x="97" y="89"/>
                  <a:pt x="100" y="86"/>
                  <a:pt x="103" y="84"/>
                </a:cubicBezTo>
                <a:cubicBezTo>
                  <a:pt x="106" y="83"/>
                  <a:pt x="110" y="82"/>
                  <a:pt x="113" y="82"/>
                </a:cubicBezTo>
                <a:cubicBezTo>
                  <a:pt x="114" y="82"/>
                  <a:pt x="114" y="82"/>
                  <a:pt x="114" y="82"/>
                </a:cubicBezTo>
                <a:cubicBezTo>
                  <a:pt x="215" y="85"/>
                  <a:pt x="215" y="85"/>
                  <a:pt x="215" y="85"/>
                </a:cubicBezTo>
                <a:cubicBezTo>
                  <a:pt x="222" y="85"/>
                  <a:pt x="228" y="91"/>
                  <a:pt x="227" y="99"/>
                </a:cubicBezTo>
                <a:cubicBezTo>
                  <a:pt x="227" y="106"/>
                  <a:pt x="221" y="112"/>
                  <a:pt x="214" y="112"/>
                </a:cubicBezTo>
                <a:cubicBezTo>
                  <a:pt x="116" y="108"/>
                  <a:pt x="116" y="108"/>
                  <a:pt x="116" y="108"/>
                </a:cubicBezTo>
                <a:cubicBezTo>
                  <a:pt x="79" y="166"/>
                  <a:pt x="79" y="166"/>
                  <a:pt x="79" y="166"/>
                </a:cubicBezTo>
                <a:cubicBezTo>
                  <a:pt x="79" y="166"/>
                  <a:pt x="79" y="166"/>
                  <a:pt x="79" y="166"/>
                </a:cubicBezTo>
                <a:cubicBezTo>
                  <a:pt x="78" y="168"/>
                  <a:pt x="78" y="169"/>
                  <a:pt x="78" y="170"/>
                </a:cubicBezTo>
                <a:cubicBezTo>
                  <a:pt x="78" y="173"/>
                  <a:pt x="79" y="175"/>
                  <a:pt x="81" y="176"/>
                </a:cubicBezTo>
                <a:cubicBezTo>
                  <a:pt x="82" y="177"/>
                  <a:pt x="84" y="177"/>
                  <a:pt x="85" y="177"/>
                </a:cubicBezTo>
                <a:cubicBezTo>
                  <a:pt x="87" y="177"/>
                  <a:pt x="89" y="176"/>
                  <a:pt x="91" y="174"/>
                </a:cubicBezTo>
                <a:cubicBezTo>
                  <a:pt x="116" y="134"/>
                  <a:pt x="116" y="134"/>
                  <a:pt x="116" y="134"/>
                </a:cubicBezTo>
                <a:cubicBezTo>
                  <a:pt x="116" y="134"/>
                  <a:pt x="116" y="134"/>
                  <a:pt x="116" y="134"/>
                </a:cubicBezTo>
                <a:cubicBezTo>
                  <a:pt x="117" y="132"/>
                  <a:pt x="118" y="131"/>
                  <a:pt x="120" y="128"/>
                </a:cubicBezTo>
                <a:cubicBezTo>
                  <a:pt x="123" y="126"/>
                  <a:pt x="126" y="124"/>
                  <a:pt x="130" y="124"/>
                </a:cubicBezTo>
                <a:cubicBezTo>
                  <a:pt x="132" y="123"/>
                  <a:pt x="134" y="123"/>
                  <a:pt x="136" y="123"/>
                </a:cubicBezTo>
                <a:cubicBezTo>
                  <a:pt x="137" y="123"/>
                  <a:pt x="137" y="123"/>
                  <a:pt x="138" y="123"/>
                </a:cubicBezTo>
                <a:cubicBezTo>
                  <a:pt x="138" y="123"/>
                  <a:pt x="138" y="123"/>
                  <a:pt x="138" y="123"/>
                </a:cubicBezTo>
                <a:cubicBezTo>
                  <a:pt x="185" y="126"/>
                  <a:pt x="185" y="126"/>
                  <a:pt x="185" y="126"/>
                </a:cubicBezTo>
                <a:cubicBezTo>
                  <a:pt x="190" y="126"/>
                  <a:pt x="194" y="129"/>
                  <a:pt x="196" y="133"/>
                </a:cubicBezTo>
                <a:cubicBezTo>
                  <a:pt x="198" y="137"/>
                  <a:pt x="198" y="141"/>
                  <a:pt x="196" y="145"/>
                </a:cubicBezTo>
                <a:cubicBezTo>
                  <a:pt x="157" y="229"/>
                  <a:pt x="157" y="229"/>
                  <a:pt x="157" y="229"/>
                </a:cubicBezTo>
                <a:cubicBezTo>
                  <a:pt x="135" y="316"/>
                  <a:pt x="135" y="316"/>
                  <a:pt x="135" y="316"/>
                </a:cubicBezTo>
                <a:cubicBezTo>
                  <a:pt x="134" y="322"/>
                  <a:pt x="129" y="326"/>
                  <a:pt x="123" y="326"/>
                </a:cubicBezTo>
                <a:cubicBezTo>
                  <a:pt x="34" y="329"/>
                  <a:pt x="34" y="329"/>
                  <a:pt x="34" y="329"/>
                </a:cubicBezTo>
                <a:cubicBezTo>
                  <a:pt x="34" y="329"/>
                  <a:pt x="34" y="329"/>
                  <a:pt x="34" y="329"/>
                </a:cubicBezTo>
                <a:cubicBezTo>
                  <a:pt x="30" y="329"/>
                  <a:pt x="27" y="332"/>
                  <a:pt x="27" y="336"/>
                </a:cubicBezTo>
                <a:cubicBezTo>
                  <a:pt x="27" y="340"/>
                  <a:pt x="30" y="343"/>
                  <a:pt x="34" y="343"/>
                </a:cubicBezTo>
                <a:cubicBezTo>
                  <a:pt x="143" y="343"/>
                  <a:pt x="143" y="343"/>
                  <a:pt x="143" y="343"/>
                </a:cubicBezTo>
                <a:cubicBezTo>
                  <a:pt x="178" y="259"/>
                  <a:pt x="178" y="259"/>
                  <a:pt x="178" y="259"/>
                </a:cubicBezTo>
                <a:cubicBezTo>
                  <a:pt x="180" y="255"/>
                  <a:pt x="185" y="251"/>
                  <a:pt x="190" y="251"/>
                </a:cubicBezTo>
                <a:cubicBezTo>
                  <a:pt x="195" y="251"/>
                  <a:pt x="200" y="254"/>
                  <a:pt x="203" y="259"/>
                </a:cubicBezTo>
                <a:cubicBezTo>
                  <a:pt x="280" y="414"/>
                  <a:pt x="280" y="414"/>
                  <a:pt x="280" y="414"/>
                </a:cubicBezTo>
                <a:cubicBezTo>
                  <a:pt x="281" y="416"/>
                  <a:pt x="281" y="416"/>
                  <a:pt x="281" y="416"/>
                </a:cubicBezTo>
                <a:cubicBezTo>
                  <a:pt x="282" y="418"/>
                  <a:pt x="284" y="420"/>
                  <a:pt x="287" y="420"/>
                </a:cubicBezTo>
                <a:cubicBezTo>
                  <a:pt x="288" y="420"/>
                  <a:pt x="289" y="420"/>
                  <a:pt x="290" y="419"/>
                </a:cubicBezTo>
                <a:cubicBezTo>
                  <a:pt x="292" y="418"/>
                  <a:pt x="294" y="416"/>
                  <a:pt x="294" y="413"/>
                </a:cubicBezTo>
                <a:cubicBezTo>
                  <a:pt x="294" y="412"/>
                  <a:pt x="294" y="411"/>
                  <a:pt x="293" y="411"/>
                </a:cubicBezTo>
                <a:cubicBezTo>
                  <a:pt x="215" y="234"/>
                  <a:pt x="215" y="234"/>
                  <a:pt x="215" y="234"/>
                </a:cubicBezTo>
                <a:cubicBezTo>
                  <a:pt x="213" y="230"/>
                  <a:pt x="213" y="226"/>
                  <a:pt x="215" y="222"/>
                </a:cubicBezTo>
                <a:cubicBezTo>
                  <a:pt x="244" y="165"/>
                  <a:pt x="244" y="165"/>
                  <a:pt x="244" y="165"/>
                </a:cubicBezTo>
                <a:cubicBezTo>
                  <a:pt x="246" y="162"/>
                  <a:pt x="250" y="159"/>
                  <a:pt x="254" y="158"/>
                </a:cubicBezTo>
                <a:cubicBezTo>
                  <a:pt x="259" y="158"/>
                  <a:pt x="263" y="159"/>
                  <a:pt x="266" y="163"/>
                </a:cubicBezTo>
                <a:cubicBezTo>
                  <a:pt x="266" y="163"/>
                  <a:pt x="283" y="181"/>
                  <a:pt x="292" y="192"/>
                </a:cubicBezTo>
                <a:cubicBezTo>
                  <a:pt x="296" y="195"/>
                  <a:pt x="298" y="198"/>
                  <a:pt x="299" y="199"/>
                </a:cubicBezTo>
                <a:cubicBezTo>
                  <a:pt x="300" y="200"/>
                  <a:pt x="302" y="202"/>
                  <a:pt x="304" y="203"/>
                </a:cubicBezTo>
                <a:cubicBezTo>
                  <a:pt x="306" y="204"/>
                  <a:pt x="308" y="205"/>
                  <a:pt x="310" y="205"/>
                </a:cubicBezTo>
                <a:cubicBezTo>
                  <a:pt x="365" y="205"/>
                  <a:pt x="365" y="205"/>
                  <a:pt x="365" y="205"/>
                </a:cubicBezTo>
                <a:cubicBezTo>
                  <a:pt x="366" y="205"/>
                  <a:pt x="368" y="204"/>
                  <a:pt x="369" y="202"/>
                </a:cubicBezTo>
                <a:cubicBezTo>
                  <a:pt x="371" y="201"/>
                  <a:pt x="372" y="199"/>
                  <a:pt x="372" y="198"/>
                </a:cubicBezTo>
                <a:cubicBezTo>
                  <a:pt x="372" y="194"/>
                  <a:pt x="368" y="191"/>
                  <a:pt x="365" y="191"/>
                </a:cubicBezTo>
                <a:cubicBezTo>
                  <a:pt x="358" y="191"/>
                  <a:pt x="348" y="191"/>
                  <a:pt x="339" y="191"/>
                </a:cubicBezTo>
                <a:cubicBezTo>
                  <a:pt x="331" y="191"/>
                  <a:pt x="324" y="191"/>
                  <a:pt x="323" y="191"/>
                </a:cubicBezTo>
                <a:cubicBezTo>
                  <a:pt x="320" y="191"/>
                  <a:pt x="316" y="189"/>
                  <a:pt x="313" y="186"/>
                </a:cubicBezTo>
                <a:cubicBezTo>
                  <a:pt x="262" y="127"/>
                  <a:pt x="262" y="127"/>
                  <a:pt x="262" y="127"/>
                </a:cubicBezTo>
                <a:cubicBezTo>
                  <a:pt x="252" y="116"/>
                  <a:pt x="252" y="116"/>
                  <a:pt x="252" y="116"/>
                </a:cubicBezTo>
                <a:cubicBezTo>
                  <a:pt x="248" y="111"/>
                  <a:pt x="247" y="105"/>
                  <a:pt x="250" y="100"/>
                </a:cubicBezTo>
                <a:cubicBezTo>
                  <a:pt x="261" y="83"/>
                  <a:pt x="261" y="83"/>
                  <a:pt x="261" y="83"/>
                </a:cubicBezTo>
                <a:cubicBezTo>
                  <a:pt x="263" y="79"/>
                  <a:pt x="267" y="77"/>
                  <a:pt x="271" y="77"/>
                </a:cubicBezTo>
                <a:cubicBezTo>
                  <a:pt x="278" y="76"/>
                  <a:pt x="285" y="73"/>
                  <a:pt x="290" y="68"/>
                </a:cubicBezTo>
                <a:cubicBezTo>
                  <a:pt x="295" y="63"/>
                  <a:pt x="297" y="58"/>
                  <a:pt x="297" y="51"/>
                </a:cubicBezTo>
                <a:cubicBezTo>
                  <a:pt x="297" y="38"/>
                  <a:pt x="286" y="27"/>
                  <a:pt x="273" y="27"/>
                </a:cubicBezTo>
                <a:cubicBezTo>
                  <a:pt x="260" y="27"/>
                  <a:pt x="249" y="38"/>
                  <a:pt x="249" y="51"/>
                </a:cubicBezTo>
                <a:cubicBezTo>
                  <a:pt x="249" y="56"/>
                  <a:pt x="250" y="61"/>
                  <a:pt x="253" y="65"/>
                </a:cubicBezTo>
                <a:cubicBezTo>
                  <a:pt x="253" y="65"/>
                  <a:pt x="253" y="65"/>
                  <a:pt x="253" y="65"/>
                </a:cubicBezTo>
                <a:cubicBezTo>
                  <a:pt x="257" y="71"/>
                  <a:pt x="255" y="79"/>
                  <a:pt x="249" y="83"/>
                </a:cubicBezTo>
                <a:cubicBezTo>
                  <a:pt x="243" y="87"/>
                  <a:pt x="235" y="86"/>
                  <a:pt x="231" y="79"/>
                </a:cubicBezTo>
                <a:cubicBezTo>
                  <a:pt x="225" y="71"/>
                  <a:pt x="222" y="61"/>
                  <a:pt x="222" y="51"/>
                </a:cubicBezTo>
                <a:cubicBezTo>
                  <a:pt x="222" y="23"/>
                  <a:pt x="245" y="0"/>
                  <a:pt x="273" y="0"/>
                </a:cubicBezTo>
                <a:cubicBezTo>
                  <a:pt x="301" y="0"/>
                  <a:pt x="324" y="23"/>
                  <a:pt x="324" y="51"/>
                </a:cubicBezTo>
                <a:cubicBezTo>
                  <a:pt x="324" y="65"/>
                  <a:pt x="318" y="78"/>
                  <a:pt x="309" y="87"/>
                </a:cubicBezTo>
                <a:cubicBezTo>
                  <a:pt x="301" y="94"/>
                  <a:pt x="291" y="100"/>
                  <a:pt x="280" y="102"/>
                </a:cubicBezTo>
                <a:cubicBezTo>
                  <a:pt x="278" y="105"/>
                  <a:pt x="278" y="105"/>
                  <a:pt x="278" y="105"/>
                </a:cubicBezTo>
                <a:cubicBezTo>
                  <a:pt x="282" y="109"/>
                  <a:pt x="282" y="109"/>
                  <a:pt x="282" y="109"/>
                </a:cubicBezTo>
                <a:cubicBezTo>
                  <a:pt x="282" y="110"/>
                  <a:pt x="282" y="110"/>
                  <a:pt x="282" y="110"/>
                </a:cubicBezTo>
                <a:cubicBezTo>
                  <a:pt x="330" y="164"/>
                  <a:pt x="330" y="164"/>
                  <a:pt x="330" y="164"/>
                </a:cubicBezTo>
                <a:cubicBezTo>
                  <a:pt x="339" y="164"/>
                  <a:pt x="356" y="164"/>
                  <a:pt x="365" y="164"/>
                </a:cubicBezTo>
                <a:cubicBezTo>
                  <a:pt x="383" y="164"/>
                  <a:pt x="398" y="179"/>
                  <a:pt x="398" y="198"/>
                </a:cubicBezTo>
                <a:cubicBezTo>
                  <a:pt x="398" y="216"/>
                  <a:pt x="383" y="231"/>
                  <a:pt x="365" y="231"/>
                </a:cubicBezTo>
                <a:cubicBezTo>
                  <a:pt x="310" y="231"/>
                  <a:pt x="310" y="231"/>
                  <a:pt x="310" y="231"/>
                </a:cubicBezTo>
                <a:cubicBezTo>
                  <a:pt x="303" y="231"/>
                  <a:pt x="297" y="229"/>
                  <a:pt x="292" y="227"/>
                </a:cubicBezTo>
                <a:cubicBezTo>
                  <a:pt x="287" y="224"/>
                  <a:pt x="283" y="221"/>
                  <a:pt x="279" y="217"/>
                </a:cubicBezTo>
                <a:cubicBezTo>
                  <a:pt x="278" y="216"/>
                  <a:pt x="276" y="213"/>
                  <a:pt x="273" y="210"/>
                </a:cubicBezTo>
                <a:cubicBezTo>
                  <a:pt x="269" y="206"/>
                  <a:pt x="265" y="202"/>
                  <a:pt x="261" y="197"/>
                </a:cubicBezTo>
                <a:cubicBezTo>
                  <a:pt x="261" y="197"/>
                  <a:pt x="260" y="196"/>
                  <a:pt x="259" y="195"/>
                </a:cubicBezTo>
                <a:cubicBezTo>
                  <a:pt x="242" y="229"/>
                  <a:pt x="242" y="229"/>
                  <a:pt x="242" y="229"/>
                </a:cubicBezTo>
                <a:cubicBezTo>
                  <a:pt x="318" y="400"/>
                  <a:pt x="318" y="400"/>
                  <a:pt x="318" y="400"/>
                </a:cubicBezTo>
                <a:cubicBezTo>
                  <a:pt x="318" y="401"/>
                  <a:pt x="318" y="401"/>
                  <a:pt x="318" y="401"/>
                </a:cubicBezTo>
                <a:cubicBezTo>
                  <a:pt x="320" y="405"/>
                  <a:pt x="321" y="409"/>
                  <a:pt x="321" y="413"/>
                </a:cubicBezTo>
                <a:cubicBezTo>
                  <a:pt x="321" y="426"/>
                  <a:pt x="313" y="439"/>
                  <a:pt x="299" y="444"/>
                </a:cubicBezTo>
                <a:cubicBezTo>
                  <a:pt x="295" y="446"/>
                  <a:pt x="291" y="447"/>
                  <a:pt x="287" y="447"/>
                </a:cubicBezTo>
                <a:cubicBezTo>
                  <a:pt x="287" y="447"/>
                  <a:pt x="287" y="447"/>
                  <a:pt x="287" y="447"/>
                </a:cubicBezTo>
                <a:cubicBezTo>
                  <a:pt x="274" y="447"/>
                  <a:pt x="261" y="439"/>
                  <a:pt x="256" y="426"/>
                </a:cubicBezTo>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93" name="TextBox 292"/>
          <p:cNvSpPr txBox="1"/>
          <p:nvPr userDrawn="1"/>
        </p:nvSpPr>
        <p:spPr>
          <a:xfrm>
            <a:off x="10094005" y="1669181"/>
            <a:ext cx="923941" cy="24622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Security</a:t>
            </a:r>
            <a:br>
              <a:rPr lang="en-US" sz="800" b="1" dirty="0">
                <a:solidFill>
                  <a:prstClr val="white"/>
                </a:solidFill>
                <a:cs typeface="Arial" pitchFamily="34" charset="0"/>
              </a:rPr>
            </a:br>
            <a:r>
              <a:rPr lang="en-US" sz="800" b="1" dirty="0">
                <a:solidFill>
                  <a:prstClr val="white"/>
                </a:solidFill>
                <a:cs typeface="Arial" pitchFamily="34" charset="0"/>
              </a:rPr>
              <a:t>management</a:t>
            </a:r>
          </a:p>
        </p:txBody>
      </p:sp>
      <p:sp>
        <p:nvSpPr>
          <p:cNvPr id="294" name="Freeform 124"/>
          <p:cNvSpPr>
            <a:spLocks noChangeAspect="1"/>
          </p:cNvSpPr>
          <p:nvPr userDrawn="1"/>
        </p:nvSpPr>
        <p:spPr bwMode="auto">
          <a:xfrm>
            <a:off x="2418237" y="2195360"/>
            <a:ext cx="367063" cy="393192"/>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95" name="TextBox 294"/>
          <p:cNvSpPr txBox="1"/>
          <p:nvPr userDrawn="1"/>
        </p:nvSpPr>
        <p:spPr>
          <a:xfrm>
            <a:off x="2291570" y="2639108"/>
            <a:ext cx="637207" cy="24622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Electric</a:t>
            </a:r>
            <a:br>
              <a:rPr lang="en-US" sz="800" b="1" dirty="0">
                <a:solidFill>
                  <a:prstClr val="white"/>
                </a:solidFill>
                <a:cs typeface="Arial" pitchFamily="34" charset="0"/>
              </a:rPr>
            </a:br>
            <a:r>
              <a:rPr lang="en-US" sz="800" b="1" dirty="0">
                <a:solidFill>
                  <a:prstClr val="white"/>
                </a:solidFill>
                <a:cs typeface="Arial" pitchFamily="34" charset="0"/>
              </a:rPr>
              <a:t>utilities</a:t>
            </a:r>
          </a:p>
        </p:txBody>
      </p:sp>
      <p:sp>
        <p:nvSpPr>
          <p:cNvPr id="296" name="Freeform 116"/>
          <p:cNvSpPr>
            <a:spLocks noChangeAspect="1"/>
          </p:cNvSpPr>
          <p:nvPr userDrawn="1"/>
        </p:nvSpPr>
        <p:spPr bwMode="auto">
          <a:xfrm>
            <a:off x="1494884" y="3831107"/>
            <a:ext cx="385913" cy="393192"/>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97" name="TextBox 296"/>
          <p:cNvSpPr txBox="1"/>
          <p:nvPr userDrawn="1"/>
        </p:nvSpPr>
        <p:spPr>
          <a:xfrm>
            <a:off x="1378741" y="4284677"/>
            <a:ext cx="635869" cy="123111"/>
          </a:xfrm>
          <a:prstGeom prst="rect">
            <a:avLst/>
          </a:prstGeom>
          <a:noFill/>
        </p:spPr>
        <p:txBody>
          <a:bodyPr wrap="square" lIns="0" tIns="0" rIns="0" bIns="0" rtlCol="0" anchor="t" anchorCtr="0">
            <a:spAutoFit/>
          </a:bodyPr>
          <a:lstStyle/>
          <a:p>
            <a:pPr algn="ctr"/>
            <a:r>
              <a:rPr lang="en-US" sz="800" b="1" dirty="0">
                <a:solidFill>
                  <a:prstClr val="white"/>
                </a:solidFill>
                <a:cs typeface="Arial" pitchFamily="34" charset="0"/>
              </a:rPr>
              <a:t>Oil &amp; gas</a:t>
            </a:r>
          </a:p>
        </p:txBody>
      </p:sp>
      <p:sp>
        <p:nvSpPr>
          <p:cNvPr id="298" name="Freeform 88"/>
          <p:cNvSpPr>
            <a:spLocks noChangeAspect="1"/>
          </p:cNvSpPr>
          <p:nvPr userDrawn="1"/>
        </p:nvSpPr>
        <p:spPr bwMode="auto">
          <a:xfrm>
            <a:off x="4230516" y="3060566"/>
            <a:ext cx="516752" cy="337567"/>
          </a:xfrm>
          <a:custGeom>
            <a:avLst/>
            <a:gdLst/>
            <a:ahLst/>
            <a:cxnLst>
              <a:cxn ang="0">
                <a:pos x="224" y="5"/>
              </a:cxn>
              <a:cxn ang="0">
                <a:pos x="221" y="13"/>
              </a:cxn>
              <a:cxn ang="0">
                <a:pos x="221" y="16"/>
              </a:cxn>
              <a:cxn ang="0">
                <a:pos x="227" y="43"/>
              </a:cxn>
              <a:cxn ang="0">
                <a:pos x="225" y="43"/>
              </a:cxn>
              <a:cxn ang="0">
                <a:pos x="216" y="47"/>
              </a:cxn>
              <a:cxn ang="0">
                <a:pos x="212" y="56"/>
              </a:cxn>
              <a:cxn ang="0">
                <a:pos x="212" y="151"/>
              </a:cxn>
              <a:cxn ang="0">
                <a:pos x="173" y="151"/>
              </a:cxn>
              <a:cxn ang="0">
                <a:pos x="107" y="186"/>
              </a:cxn>
              <a:cxn ang="0">
                <a:pos x="106" y="193"/>
              </a:cxn>
              <a:cxn ang="0">
                <a:pos x="112" y="205"/>
              </a:cxn>
              <a:cxn ang="0">
                <a:pos x="130" y="200"/>
              </a:cxn>
              <a:cxn ang="0">
                <a:pos x="173" y="177"/>
              </a:cxn>
              <a:cxn ang="0">
                <a:pos x="226" y="177"/>
              </a:cxn>
              <a:cxn ang="0">
                <a:pos x="235" y="173"/>
              </a:cxn>
              <a:cxn ang="0">
                <a:pos x="239" y="164"/>
              </a:cxn>
              <a:cxn ang="0">
                <a:pos x="239" y="69"/>
              </a:cxn>
              <a:cxn ang="0">
                <a:pos x="244" y="69"/>
              </a:cxn>
              <a:cxn ang="0">
                <a:pos x="254" y="64"/>
              </a:cxn>
              <a:cxn ang="0">
                <a:pos x="257" y="56"/>
              </a:cxn>
              <a:cxn ang="0">
                <a:pos x="257" y="53"/>
              </a:cxn>
              <a:cxn ang="0">
                <a:pos x="251" y="27"/>
              </a:cxn>
              <a:cxn ang="0">
                <a:pos x="264" y="27"/>
              </a:cxn>
              <a:cxn ang="0">
                <a:pos x="275" y="57"/>
              </a:cxn>
              <a:cxn ang="0">
                <a:pos x="287" y="65"/>
              </a:cxn>
              <a:cxn ang="0">
                <a:pos x="298" y="66"/>
              </a:cxn>
              <a:cxn ang="0">
                <a:pos x="353" y="197"/>
              </a:cxn>
              <a:cxn ang="0">
                <a:pos x="365" y="205"/>
              </a:cxn>
              <a:cxn ang="0">
                <a:pos x="421" y="205"/>
              </a:cxn>
              <a:cxn ang="0">
                <a:pos x="390" y="270"/>
              </a:cxn>
              <a:cxn ang="0">
                <a:pos x="49" y="270"/>
              </a:cxn>
              <a:cxn ang="0">
                <a:pos x="29" y="252"/>
              </a:cxn>
              <a:cxn ang="0">
                <a:pos x="28" y="246"/>
              </a:cxn>
              <a:cxn ang="0">
                <a:pos x="28" y="245"/>
              </a:cxn>
              <a:cxn ang="0">
                <a:pos x="252" y="245"/>
              </a:cxn>
              <a:cxn ang="0">
                <a:pos x="323" y="190"/>
              </a:cxn>
              <a:cxn ang="0">
                <a:pos x="310" y="177"/>
              </a:cxn>
              <a:cxn ang="0">
                <a:pos x="297" y="190"/>
              </a:cxn>
              <a:cxn ang="0">
                <a:pos x="252" y="219"/>
              </a:cxn>
              <a:cxn ang="0">
                <a:pos x="18" y="219"/>
              </a:cxn>
              <a:cxn ang="0">
                <a:pos x="5" y="227"/>
              </a:cxn>
              <a:cxn ang="0">
                <a:pos x="4" y="262"/>
              </a:cxn>
              <a:cxn ang="0">
                <a:pos x="41" y="296"/>
              </a:cxn>
              <a:cxn ang="0">
                <a:pos x="46" y="297"/>
              </a:cxn>
              <a:cxn ang="0">
                <a:pos x="398" y="297"/>
              </a:cxn>
              <a:cxn ang="0">
                <a:pos x="410" y="289"/>
              </a:cxn>
              <a:cxn ang="0">
                <a:pos x="454" y="197"/>
              </a:cxn>
              <a:cxn ang="0">
                <a:pos x="453" y="185"/>
              </a:cxn>
              <a:cxn ang="0">
                <a:pos x="442" y="178"/>
              </a:cxn>
              <a:cxn ang="0">
                <a:pos x="374" y="178"/>
              </a:cxn>
              <a:cxn ang="0">
                <a:pos x="319" y="48"/>
              </a:cxn>
              <a:cxn ang="0">
                <a:pos x="308" y="40"/>
              </a:cxn>
              <a:cxn ang="0">
                <a:pos x="297" y="39"/>
              </a:cxn>
              <a:cxn ang="0">
                <a:pos x="286" y="9"/>
              </a:cxn>
              <a:cxn ang="0">
                <a:pos x="274" y="1"/>
              </a:cxn>
              <a:cxn ang="0">
                <a:pos x="234" y="0"/>
              </a:cxn>
              <a:cxn ang="0">
                <a:pos x="224" y="5"/>
              </a:cxn>
            </a:cxnLst>
            <a:rect l="0" t="0" r="r" b="b"/>
            <a:pathLst>
              <a:path w="456" h="297">
                <a:moveTo>
                  <a:pt x="224" y="5"/>
                </a:moveTo>
                <a:cubicBezTo>
                  <a:pt x="222" y="7"/>
                  <a:pt x="221" y="10"/>
                  <a:pt x="221" y="13"/>
                </a:cubicBezTo>
                <a:cubicBezTo>
                  <a:pt x="221" y="14"/>
                  <a:pt x="221" y="15"/>
                  <a:pt x="221" y="16"/>
                </a:cubicBezTo>
                <a:cubicBezTo>
                  <a:pt x="221" y="16"/>
                  <a:pt x="224" y="30"/>
                  <a:pt x="227" y="43"/>
                </a:cubicBezTo>
                <a:cubicBezTo>
                  <a:pt x="227" y="43"/>
                  <a:pt x="225" y="43"/>
                  <a:pt x="225" y="43"/>
                </a:cubicBezTo>
                <a:cubicBezTo>
                  <a:pt x="222" y="43"/>
                  <a:pt x="218" y="44"/>
                  <a:pt x="216" y="47"/>
                </a:cubicBezTo>
                <a:cubicBezTo>
                  <a:pt x="213" y="49"/>
                  <a:pt x="212" y="53"/>
                  <a:pt x="212" y="56"/>
                </a:cubicBezTo>
                <a:cubicBezTo>
                  <a:pt x="212" y="56"/>
                  <a:pt x="212" y="130"/>
                  <a:pt x="212" y="151"/>
                </a:cubicBezTo>
                <a:cubicBezTo>
                  <a:pt x="198" y="151"/>
                  <a:pt x="173" y="151"/>
                  <a:pt x="173" y="151"/>
                </a:cubicBezTo>
                <a:cubicBezTo>
                  <a:pt x="155" y="151"/>
                  <a:pt x="122" y="162"/>
                  <a:pt x="107" y="186"/>
                </a:cubicBezTo>
                <a:cubicBezTo>
                  <a:pt x="106" y="189"/>
                  <a:pt x="106" y="191"/>
                  <a:pt x="106" y="193"/>
                </a:cubicBezTo>
                <a:cubicBezTo>
                  <a:pt x="106" y="198"/>
                  <a:pt x="108" y="202"/>
                  <a:pt x="112" y="205"/>
                </a:cubicBezTo>
                <a:cubicBezTo>
                  <a:pt x="119" y="208"/>
                  <a:pt x="127" y="206"/>
                  <a:pt x="130" y="200"/>
                </a:cubicBezTo>
                <a:cubicBezTo>
                  <a:pt x="138" y="186"/>
                  <a:pt x="161" y="177"/>
                  <a:pt x="173" y="177"/>
                </a:cubicBezTo>
                <a:cubicBezTo>
                  <a:pt x="226" y="177"/>
                  <a:pt x="226" y="177"/>
                  <a:pt x="226" y="177"/>
                </a:cubicBezTo>
                <a:cubicBezTo>
                  <a:pt x="229" y="177"/>
                  <a:pt x="233" y="176"/>
                  <a:pt x="235" y="173"/>
                </a:cubicBezTo>
                <a:cubicBezTo>
                  <a:pt x="238" y="171"/>
                  <a:pt x="239" y="168"/>
                  <a:pt x="239" y="164"/>
                </a:cubicBezTo>
                <a:cubicBezTo>
                  <a:pt x="239" y="164"/>
                  <a:pt x="239" y="90"/>
                  <a:pt x="239" y="69"/>
                </a:cubicBezTo>
                <a:cubicBezTo>
                  <a:pt x="241" y="69"/>
                  <a:pt x="244" y="69"/>
                  <a:pt x="244" y="69"/>
                </a:cubicBezTo>
                <a:cubicBezTo>
                  <a:pt x="248" y="69"/>
                  <a:pt x="252" y="67"/>
                  <a:pt x="254" y="64"/>
                </a:cubicBezTo>
                <a:cubicBezTo>
                  <a:pt x="256" y="62"/>
                  <a:pt x="257" y="59"/>
                  <a:pt x="257" y="56"/>
                </a:cubicBezTo>
                <a:cubicBezTo>
                  <a:pt x="257" y="55"/>
                  <a:pt x="257" y="54"/>
                  <a:pt x="257" y="53"/>
                </a:cubicBezTo>
                <a:cubicBezTo>
                  <a:pt x="257" y="53"/>
                  <a:pt x="253" y="39"/>
                  <a:pt x="251" y="27"/>
                </a:cubicBezTo>
                <a:cubicBezTo>
                  <a:pt x="257" y="27"/>
                  <a:pt x="260" y="27"/>
                  <a:pt x="264" y="27"/>
                </a:cubicBezTo>
                <a:cubicBezTo>
                  <a:pt x="268" y="37"/>
                  <a:pt x="275" y="57"/>
                  <a:pt x="275" y="57"/>
                </a:cubicBezTo>
                <a:cubicBezTo>
                  <a:pt x="277" y="62"/>
                  <a:pt x="281" y="65"/>
                  <a:pt x="287" y="65"/>
                </a:cubicBezTo>
                <a:cubicBezTo>
                  <a:pt x="287" y="65"/>
                  <a:pt x="293" y="66"/>
                  <a:pt x="298" y="66"/>
                </a:cubicBezTo>
                <a:cubicBezTo>
                  <a:pt x="304" y="80"/>
                  <a:pt x="353" y="197"/>
                  <a:pt x="353" y="197"/>
                </a:cubicBezTo>
                <a:cubicBezTo>
                  <a:pt x="355" y="202"/>
                  <a:pt x="360" y="205"/>
                  <a:pt x="365" y="205"/>
                </a:cubicBezTo>
                <a:cubicBezTo>
                  <a:pt x="365" y="205"/>
                  <a:pt x="399" y="205"/>
                  <a:pt x="421" y="205"/>
                </a:cubicBezTo>
                <a:cubicBezTo>
                  <a:pt x="411" y="226"/>
                  <a:pt x="395" y="260"/>
                  <a:pt x="390" y="270"/>
                </a:cubicBezTo>
                <a:cubicBezTo>
                  <a:pt x="374" y="270"/>
                  <a:pt x="55" y="270"/>
                  <a:pt x="49" y="270"/>
                </a:cubicBezTo>
                <a:cubicBezTo>
                  <a:pt x="43" y="267"/>
                  <a:pt x="33" y="261"/>
                  <a:pt x="29" y="252"/>
                </a:cubicBezTo>
                <a:cubicBezTo>
                  <a:pt x="28" y="250"/>
                  <a:pt x="28" y="248"/>
                  <a:pt x="28" y="246"/>
                </a:cubicBezTo>
                <a:cubicBezTo>
                  <a:pt x="28" y="245"/>
                  <a:pt x="28" y="245"/>
                  <a:pt x="28" y="245"/>
                </a:cubicBezTo>
                <a:cubicBezTo>
                  <a:pt x="47" y="245"/>
                  <a:pt x="252" y="245"/>
                  <a:pt x="252" y="245"/>
                </a:cubicBezTo>
                <a:cubicBezTo>
                  <a:pt x="286" y="245"/>
                  <a:pt x="323" y="226"/>
                  <a:pt x="323" y="190"/>
                </a:cubicBezTo>
                <a:cubicBezTo>
                  <a:pt x="323" y="183"/>
                  <a:pt x="317" y="177"/>
                  <a:pt x="310" y="177"/>
                </a:cubicBezTo>
                <a:cubicBezTo>
                  <a:pt x="303" y="177"/>
                  <a:pt x="297" y="183"/>
                  <a:pt x="297" y="190"/>
                </a:cubicBezTo>
                <a:cubicBezTo>
                  <a:pt x="297" y="210"/>
                  <a:pt x="270" y="219"/>
                  <a:pt x="252" y="219"/>
                </a:cubicBezTo>
                <a:cubicBezTo>
                  <a:pt x="18" y="219"/>
                  <a:pt x="18" y="219"/>
                  <a:pt x="18" y="219"/>
                </a:cubicBezTo>
                <a:cubicBezTo>
                  <a:pt x="12" y="219"/>
                  <a:pt x="8" y="222"/>
                  <a:pt x="5" y="227"/>
                </a:cubicBezTo>
                <a:cubicBezTo>
                  <a:pt x="0" y="238"/>
                  <a:pt x="0" y="251"/>
                  <a:pt x="4" y="262"/>
                </a:cubicBezTo>
                <a:cubicBezTo>
                  <a:pt x="13" y="284"/>
                  <a:pt x="38" y="294"/>
                  <a:pt x="41" y="296"/>
                </a:cubicBezTo>
                <a:cubicBezTo>
                  <a:pt x="43" y="296"/>
                  <a:pt x="44" y="297"/>
                  <a:pt x="46" y="297"/>
                </a:cubicBezTo>
                <a:cubicBezTo>
                  <a:pt x="398" y="297"/>
                  <a:pt x="398" y="297"/>
                  <a:pt x="398" y="297"/>
                </a:cubicBezTo>
                <a:cubicBezTo>
                  <a:pt x="403" y="297"/>
                  <a:pt x="408" y="294"/>
                  <a:pt x="410" y="289"/>
                </a:cubicBezTo>
                <a:cubicBezTo>
                  <a:pt x="454" y="197"/>
                  <a:pt x="454" y="197"/>
                  <a:pt x="454" y="197"/>
                </a:cubicBezTo>
                <a:cubicBezTo>
                  <a:pt x="456" y="193"/>
                  <a:pt x="456" y="188"/>
                  <a:pt x="453" y="185"/>
                </a:cubicBezTo>
                <a:cubicBezTo>
                  <a:pt x="451" y="181"/>
                  <a:pt x="447" y="178"/>
                  <a:pt x="442" y="178"/>
                </a:cubicBezTo>
                <a:cubicBezTo>
                  <a:pt x="442" y="178"/>
                  <a:pt x="388" y="178"/>
                  <a:pt x="374" y="178"/>
                </a:cubicBezTo>
                <a:cubicBezTo>
                  <a:pt x="368" y="164"/>
                  <a:pt x="319" y="48"/>
                  <a:pt x="319" y="48"/>
                </a:cubicBezTo>
                <a:cubicBezTo>
                  <a:pt x="317" y="44"/>
                  <a:pt x="313" y="41"/>
                  <a:pt x="308" y="40"/>
                </a:cubicBezTo>
                <a:cubicBezTo>
                  <a:pt x="308" y="40"/>
                  <a:pt x="303" y="40"/>
                  <a:pt x="297" y="39"/>
                </a:cubicBezTo>
                <a:cubicBezTo>
                  <a:pt x="293" y="29"/>
                  <a:pt x="286" y="9"/>
                  <a:pt x="286" y="9"/>
                </a:cubicBezTo>
                <a:cubicBezTo>
                  <a:pt x="284" y="4"/>
                  <a:pt x="279" y="1"/>
                  <a:pt x="274" y="1"/>
                </a:cubicBezTo>
                <a:cubicBezTo>
                  <a:pt x="234" y="0"/>
                  <a:pt x="234" y="0"/>
                  <a:pt x="234" y="0"/>
                </a:cubicBezTo>
                <a:cubicBezTo>
                  <a:pt x="230" y="0"/>
                  <a:pt x="226" y="2"/>
                  <a:pt x="224" y="5"/>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299" name="TextBox 298"/>
          <p:cNvSpPr txBox="1"/>
          <p:nvPr userDrawn="1"/>
        </p:nvSpPr>
        <p:spPr>
          <a:xfrm>
            <a:off x="4174110" y="3463580"/>
            <a:ext cx="635869" cy="123111"/>
          </a:xfrm>
          <a:prstGeom prst="rect">
            <a:avLst/>
          </a:prstGeom>
          <a:noFill/>
        </p:spPr>
        <p:txBody>
          <a:bodyPr wrap="square" lIns="0" tIns="0" rIns="0" bIns="0" rtlCol="0" anchor="t" anchorCtr="0">
            <a:spAutoFit/>
          </a:bodyPr>
          <a:lstStyle/>
          <a:p>
            <a:pPr algn="ctr"/>
            <a:r>
              <a:rPr lang="en-US" sz="800" b="1" dirty="0">
                <a:solidFill>
                  <a:prstClr val="white"/>
                </a:solidFill>
                <a:cs typeface="Arial" pitchFamily="34" charset="0"/>
              </a:rPr>
              <a:t>Marine</a:t>
            </a:r>
          </a:p>
        </p:txBody>
      </p:sp>
      <p:sp>
        <p:nvSpPr>
          <p:cNvPr id="300" name="Freeform 220"/>
          <p:cNvSpPr>
            <a:spLocks noChangeAspect="1"/>
          </p:cNvSpPr>
          <p:nvPr userDrawn="1"/>
        </p:nvSpPr>
        <p:spPr bwMode="auto">
          <a:xfrm>
            <a:off x="3270799" y="3900220"/>
            <a:ext cx="586434" cy="324077"/>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01" name="TextBox 300"/>
          <p:cNvSpPr txBox="1"/>
          <p:nvPr userDrawn="1"/>
        </p:nvSpPr>
        <p:spPr>
          <a:xfrm>
            <a:off x="2985176" y="4284677"/>
            <a:ext cx="1126320" cy="12311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Transportation</a:t>
            </a:r>
          </a:p>
        </p:txBody>
      </p:sp>
      <p:sp>
        <p:nvSpPr>
          <p:cNvPr id="302" name="Freeform 76"/>
          <p:cNvSpPr>
            <a:spLocks noChangeAspect="1"/>
          </p:cNvSpPr>
          <p:nvPr userDrawn="1"/>
        </p:nvSpPr>
        <p:spPr bwMode="auto">
          <a:xfrm>
            <a:off x="4268395" y="3831107"/>
            <a:ext cx="427715" cy="393192"/>
          </a:xfrm>
          <a:custGeom>
            <a:avLst/>
            <a:gdLst/>
            <a:ahLst/>
            <a:cxnLst>
              <a:cxn ang="0">
                <a:pos x="34" y="40"/>
              </a:cxn>
              <a:cxn ang="0">
                <a:pos x="74" y="80"/>
              </a:cxn>
              <a:cxn ang="0">
                <a:pos x="101" y="80"/>
              </a:cxn>
              <a:cxn ang="0">
                <a:pos x="101" y="129"/>
              </a:cxn>
              <a:cxn ang="0">
                <a:pos x="12" y="129"/>
              </a:cxn>
              <a:cxn ang="0">
                <a:pos x="0" y="141"/>
              </a:cxn>
              <a:cxn ang="0">
                <a:pos x="12" y="154"/>
              </a:cxn>
              <a:cxn ang="0">
                <a:pos x="113" y="154"/>
              </a:cxn>
              <a:cxn ang="0">
                <a:pos x="125" y="141"/>
              </a:cxn>
              <a:cxn ang="0">
                <a:pos x="125" y="68"/>
              </a:cxn>
              <a:cxn ang="0">
                <a:pos x="121" y="59"/>
              </a:cxn>
              <a:cxn ang="0">
                <a:pos x="113" y="55"/>
              </a:cxn>
              <a:cxn ang="0">
                <a:pos x="74" y="56"/>
              </a:cxn>
              <a:cxn ang="0">
                <a:pos x="59" y="40"/>
              </a:cxn>
              <a:cxn ang="0">
                <a:pos x="74" y="25"/>
              </a:cxn>
              <a:cxn ang="0">
                <a:pos x="192" y="25"/>
              </a:cxn>
              <a:cxn ang="0">
                <a:pos x="207" y="40"/>
              </a:cxn>
              <a:cxn ang="0">
                <a:pos x="192" y="56"/>
              </a:cxn>
              <a:cxn ang="0">
                <a:pos x="153" y="56"/>
              </a:cxn>
              <a:cxn ang="0">
                <a:pos x="144" y="59"/>
              </a:cxn>
              <a:cxn ang="0">
                <a:pos x="141" y="68"/>
              </a:cxn>
              <a:cxn ang="0">
                <a:pos x="141" y="140"/>
              </a:cxn>
              <a:cxn ang="0">
                <a:pos x="153" y="153"/>
              </a:cxn>
              <a:cxn ang="0">
                <a:pos x="198" y="153"/>
              </a:cxn>
              <a:cxn ang="0">
                <a:pos x="288" y="243"/>
              </a:cxn>
              <a:cxn ang="0">
                <a:pos x="288" y="264"/>
              </a:cxn>
              <a:cxn ang="0">
                <a:pos x="234" y="264"/>
              </a:cxn>
              <a:cxn ang="0">
                <a:pos x="234" y="243"/>
              </a:cxn>
              <a:cxn ang="0">
                <a:pos x="198" y="207"/>
              </a:cxn>
              <a:cxn ang="0">
                <a:pos x="12" y="207"/>
              </a:cxn>
              <a:cxn ang="0">
                <a:pos x="0" y="220"/>
              </a:cxn>
              <a:cxn ang="0">
                <a:pos x="12" y="232"/>
              </a:cxn>
              <a:cxn ang="0">
                <a:pos x="198" y="232"/>
              </a:cxn>
              <a:cxn ang="0">
                <a:pos x="209" y="243"/>
              </a:cxn>
              <a:cxn ang="0">
                <a:pos x="209" y="276"/>
              </a:cxn>
              <a:cxn ang="0">
                <a:pos x="221" y="288"/>
              </a:cxn>
              <a:cxn ang="0">
                <a:pos x="301" y="288"/>
              </a:cxn>
              <a:cxn ang="0">
                <a:pos x="313" y="276"/>
              </a:cxn>
              <a:cxn ang="0">
                <a:pos x="313" y="243"/>
              </a:cxn>
              <a:cxn ang="0">
                <a:pos x="198" y="128"/>
              </a:cxn>
              <a:cxn ang="0">
                <a:pos x="165" y="128"/>
              </a:cxn>
              <a:cxn ang="0">
                <a:pos x="165" y="80"/>
              </a:cxn>
              <a:cxn ang="0">
                <a:pos x="192" y="80"/>
              </a:cxn>
              <a:cxn ang="0">
                <a:pos x="232" y="40"/>
              </a:cxn>
              <a:cxn ang="0">
                <a:pos x="192" y="0"/>
              </a:cxn>
              <a:cxn ang="0">
                <a:pos x="74" y="0"/>
              </a:cxn>
              <a:cxn ang="0">
                <a:pos x="34" y="40"/>
              </a:cxn>
            </a:cxnLst>
            <a:rect l="0" t="0" r="r" b="b"/>
            <a:pathLst>
              <a:path w="313" h="288">
                <a:moveTo>
                  <a:pt x="34" y="40"/>
                </a:moveTo>
                <a:cubicBezTo>
                  <a:pt x="34" y="62"/>
                  <a:pt x="52" y="80"/>
                  <a:pt x="74" y="80"/>
                </a:cubicBezTo>
                <a:cubicBezTo>
                  <a:pt x="74" y="80"/>
                  <a:pt x="89" y="80"/>
                  <a:pt x="101" y="80"/>
                </a:cubicBezTo>
                <a:cubicBezTo>
                  <a:pt x="101" y="94"/>
                  <a:pt x="101" y="115"/>
                  <a:pt x="101" y="129"/>
                </a:cubicBezTo>
                <a:cubicBezTo>
                  <a:pt x="82" y="129"/>
                  <a:pt x="12" y="129"/>
                  <a:pt x="12" y="129"/>
                </a:cubicBezTo>
                <a:cubicBezTo>
                  <a:pt x="5" y="129"/>
                  <a:pt x="0" y="135"/>
                  <a:pt x="0" y="141"/>
                </a:cubicBezTo>
                <a:cubicBezTo>
                  <a:pt x="0" y="148"/>
                  <a:pt x="5" y="154"/>
                  <a:pt x="12" y="154"/>
                </a:cubicBezTo>
                <a:cubicBezTo>
                  <a:pt x="113" y="154"/>
                  <a:pt x="113" y="154"/>
                  <a:pt x="113" y="154"/>
                </a:cubicBezTo>
                <a:cubicBezTo>
                  <a:pt x="120" y="154"/>
                  <a:pt x="125" y="148"/>
                  <a:pt x="125" y="141"/>
                </a:cubicBezTo>
                <a:cubicBezTo>
                  <a:pt x="125" y="68"/>
                  <a:pt x="125" y="68"/>
                  <a:pt x="125" y="68"/>
                </a:cubicBezTo>
                <a:cubicBezTo>
                  <a:pt x="125" y="64"/>
                  <a:pt x="124" y="61"/>
                  <a:pt x="121" y="59"/>
                </a:cubicBezTo>
                <a:cubicBezTo>
                  <a:pt x="119" y="57"/>
                  <a:pt x="116" y="55"/>
                  <a:pt x="113" y="55"/>
                </a:cubicBezTo>
                <a:cubicBezTo>
                  <a:pt x="74" y="56"/>
                  <a:pt x="74" y="56"/>
                  <a:pt x="74" y="56"/>
                </a:cubicBezTo>
                <a:cubicBezTo>
                  <a:pt x="66" y="56"/>
                  <a:pt x="59" y="49"/>
                  <a:pt x="59" y="40"/>
                </a:cubicBezTo>
                <a:cubicBezTo>
                  <a:pt x="59" y="32"/>
                  <a:pt x="66" y="25"/>
                  <a:pt x="74" y="25"/>
                </a:cubicBezTo>
                <a:cubicBezTo>
                  <a:pt x="192" y="25"/>
                  <a:pt x="192" y="25"/>
                  <a:pt x="192" y="25"/>
                </a:cubicBezTo>
                <a:cubicBezTo>
                  <a:pt x="200" y="25"/>
                  <a:pt x="207" y="32"/>
                  <a:pt x="207" y="40"/>
                </a:cubicBezTo>
                <a:cubicBezTo>
                  <a:pt x="207" y="49"/>
                  <a:pt x="200" y="56"/>
                  <a:pt x="192" y="56"/>
                </a:cubicBezTo>
                <a:cubicBezTo>
                  <a:pt x="192" y="56"/>
                  <a:pt x="153" y="56"/>
                  <a:pt x="153" y="56"/>
                </a:cubicBezTo>
                <a:cubicBezTo>
                  <a:pt x="150" y="56"/>
                  <a:pt x="147" y="57"/>
                  <a:pt x="144" y="59"/>
                </a:cubicBezTo>
                <a:cubicBezTo>
                  <a:pt x="142" y="62"/>
                  <a:pt x="141" y="65"/>
                  <a:pt x="141" y="68"/>
                </a:cubicBezTo>
                <a:cubicBezTo>
                  <a:pt x="141" y="140"/>
                  <a:pt x="141" y="140"/>
                  <a:pt x="141" y="140"/>
                </a:cubicBezTo>
                <a:cubicBezTo>
                  <a:pt x="141" y="147"/>
                  <a:pt x="146" y="153"/>
                  <a:pt x="153" y="153"/>
                </a:cubicBezTo>
                <a:cubicBezTo>
                  <a:pt x="198" y="153"/>
                  <a:pt x="198" y="153"/>
                  <a:pt x="198" y="153"/>
                </a:cubicBezTo>
                <a:cubicBezTo>
                  <a:pt x="248" y="153"/>
                  <a:pt x="288" y="193"/>
                  <a:pt x="288" y="243"/>
                </a:cubicBezTo>
                <a:cubicBezTo>
                  <a:pt x="288" y="243"/>
                  <a:pt x="288" y="254"/>
                  <a:pt x="288" y="264"/>
                </a:cubicBezTo>
                <a:cubicBezTo>
                  <a:pt x="274" y="264"/>
                  <a:pt x="248" y="264"/>
                  <a:pt x="234" y="264"/>
                </a:cubicBezTo>
                <a:cubicBezTo>
                  <a:pt x="234" y="254"/>
                  <a:pt x="234" y="243"/>
                  <a:pt x="234" y="243"/>
                </a:cubicBezTo>
                <a:cubicBezTo>
                  <a:pt x="234" y="223"/>
                  <a:pt x="218" y="207"/>
                  <a:pt x="198" y="207"/>
                </a:cubicBezTo>
                <a:cubicBezTo>
                  <a:pt x="12" y="207"/>
                  <a:pt x="12" y="207"/>
                  <a:pt x="12" y="207"/>
                </a:cubicBezTo>
                <a:cubicBezTo>
                  <a:pt x="5" y="207"/>
                  <a:pt x="0" y="213"/>
                  <a:pt x="0" y="220"/>
                </a:cubicBezTo>
                <a:cubicBezTo>
                  <a:pt x="0" y="227"/>
                  <a:pt x="5" y="232"/>
                  <a:pt x="12" y="232"/>
                </a:cubicBezTo>
                <a:cubicBezTo>
                  <a:pt x="198" y="232"/>
                  <a:pt x="198" y="232"/>
                  <a:pt x="198" y="232"/>
                </a:cubicBezTo>
                <a:cubicBezTo>
                  <a:pt x="204" y="232"/>
                  <a:pt x="209" y="237"/>
                  <a:pt x="209" y="243"/>
                </a:cubicBezTo>
                <a:cubicBezTo>
                  <a:pt x="209" y="243"/>
                  <a:pt x="209" y="276"/>
                  <a:pt x="209" y="276"/>
                </a:cubicBezTo>
                <a:cubicBezTo>
                  <a:pt x="209" y="283"/>
                  <a:pt x="215" y="288"/>
                  <a:pt x="221" y="288"/>
                </a:cubicBezTo>
                <a:cubicBezTo>
                  <a:pt x="301" y="288"/>
                  <a:pt x="301" y="288"/>
                  <a:pt x="301" y="288"/>
                </a:cubicBezTo>
                <a:cubicBezTo>
                  <a:pt x="307" y="288"/>
                  <a:pt x="313" y="283"/>
                  <a:pt x="313" y="276"/>
                </a:cubicBezTo>
                <a:cubicBezTo>
                  <a:pt x="313" y="243"/>
                  <a:pt x="313" y="243"/>
                  <a:pt x="313" y="243"/>
                </a:cubicBezTo>
                <a:cubicBezTo>
                  <a:pt x="313" y="180"/>
                  <a:pt x="261" y="128"/>
                  <a:pt x="198" y="128"/>
                </a:cubicBezTo>
                <a:cubicBezTo>
                  <a:pt x="198" y="128"/>
                  <a:pt x="179" y="128"/>
                  <a:pt x="165" y="128"/>
                </a:cubicBezTo>
                <a:cubicBezTo>
                  <a:pt x="165" y="115"/>
                  <a:pt x="165" y="94"/>
                  <a:pt x="165" y="80"/>
                </a:cubicBezTo>
                <a:cubicBezTo>
                  <a:pt x="177" y="80"/>
                  <a:pt x="192" y="80"/>
                  <a:pt x="192" y="80"/>
                </a:cubicBezTo>
                <a:cubicBezTo>
                  <a:pt x="214" y="80"/>
                  <a:pt x="232" y="63"/>
                  <a:pt x="232" y="40"/>
                </a:cubicBezTo>
                <a:cubicBezTo>
                  <a:pt x="232" y="18"/>
                  <a:pt x="214" y="0"/>
                  <a:pt x="192" y="0"/>
                </a:cubicBezTo>
                <a:cubicBezTo>
                  <a:pt x="192" y="0"/>
                  <a:pt x="74" y="0"/>
                  <a:pt x="74" y="0"/>
                </a:cubicBezTo>
                <a:cubicBezTo>
                  <a:pt x="52" y="0"/>
                  <a:pt x="34" y="18"/>
                  <a:pt x="34" y="40"/>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03" name="TextBox 302"/>
          <p:cNvSpPr txBox="1"/>
          <p:nvPr userDrawn="1"/>
        </p:nvSpPr>
        <p:spPr>
          <a:xfrm>
            <a:off x="3947787" y="4284676"/>
            <a:ext cx="1088520" cy="24622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Water &amp; </a:t>
            </a:r>
            <a:br>
              <a:rPr lang="en-US" sz="800" b="1" dirty="0">
                <a:solidFill>
                  <a:prstClr val="white"/>
                </a:solidFill>
                <a:cs typeface="Arial" pitchFamily="34" charset="0"/>
              </a:rPr>
            </a:br>
            <a:r>
              <a:rPr lang="en-US" sz="800" b="1" dirty="0">
                <a:solidFill>
                  <a:prstClr val="white"/>
                </a:solidFill>
                <a:cs typeface="Arial" pitchFamily="34" charset="0"/>
              </a:rPr>
              <a:t>waste water</a:t>
            </a:r>
          </a:p>
        </p:txBody>
      </p:sp>
      <p:sp>
        <p:nvSpPr>
          <p:cNvPr id="304" name="Freeform 120"/>
          <p:cNvSpPr>
            <a:spLocks noChangeAspect="1"/>
          </p:cNvSpPr>
          <p:nvPr userDrawn="1"/>
        </p:nvSpPr>
        <p:spPr bwMode="auto">
          <a:xfrm>
            <a:off x="5194809" y="3004939"/>
            <a:ext cx="473683" cy="362948"/>
          </a:xfrm>
          <a:custGeom>
            <a:avLst/>
            <a:gdLst/>
            <a:ahLst/>
            <a:cxnLst>
              <a:cxn ang="0">
                <a:pos x="344" y="10"/>
              </a:cxn>
              <a:cxn ang="0">
                <a:pos x="334" y="27"/>
              </a:cxn>
              <a:cxn ang="0">
                <a:pos x="160" y="118"/>
              </a:cxn>
              <a:cxn ang="0">
                <a:pos x="55" y="128"/>
              </a:cxn>
              <a:cxn ang="0">
                <a:pos x="35" y="237"/>
              </a:cxn>
              <a:cxn ang="0">
                <a:pos x="97" y="259"/>
              </a:cxn>
              <a:cxn ang="0">
                <a:pos x="34" y="263"/>
              </a:cxn>
              <a:cxn ang="0">
                <a:pos x="34" y="333"/>
              </a:cxn>
              <a:cxn ang="0">
                <a:pos x="292" y="298"/>
              </a:cxn>
              <a:cxn ang="0">
                <a:pos x="201" y="263"/>
              </a:cxn>
              <a:cxn ang="0">
                <a:pos x="204" y="259"/>
              </a:cxn>
              <a:cxn ang="0">
                <a:pos x="217" y="167"/>
              </a:cxn>
              <a:cxn ang="0">
                <a:pos x="269" y="106"/>
              </a:cxn>
              <a:cxn ang="0">
                <a:pos x="350" y="73"/>
              </a:cxn>
              <a:cxn ang="0">
                <a:pos x="333" y="60"/>
              </a:cxn>
              <a:cxn ang="0">
                <a:pos x="259" y="81"/>
              </a:cxn>
              <a:cxn ang="0">
                <a:pos x="198" y="142"/>
              </a:cxn>
              <a:cxn ang="0">
                <a:pos x="189" y="166"/>
              </a:cxn>
              <a:cxn ang="0">
                <a:pos x="198" y="232"/>
              </a:cxn>
              <a:cxn ang="0">
                <a:pos x="175" y="246"/>
              </a:cxn>
              <a:cxn ang="0">
                <a:pos x="188" y="290"/>
              </a:cxn>
              <a:cxn ang="0">
                <a:pos x="265" y="298"/>
              </a:cxn>
              <a:cxn ang="0">
                <a:pos x="34" y="306"/>
              </a:cxn>
              <a:cxn ang="0">
                <a:pos x="34" y="290"/>
              </a:cxn>
              <a:cxn ang="0">
                <a:pos x="123" y="277"/>
              </a:cxn>
              <a:cxn ang="0">
                <a:pos x="110" y="232"/>
              </a:cxn>
              <a:cxn ang="0">
                <a:pos x="61" y="155"/>
              </a:cxn>
              <a:cxn ang="0">
                <a:pos x="181" y="145"/>
              </a:cxn>
              <a:cxn ang="0">
                <a:pos x="233" y="77"/>
              </a:cxn>
              <a:cxn ang="0">
                <a:pos x="348" y="50"/>
              </a:cxn>
              <a:cxn ang="0">
                <a:pos x="354" y="45"/>
              </a:cxn>
              <a:cxn ang="0">
                <a:pos x="371" y="41"/>
              </a:cxn>
              <a:cxn ang="0">
                <a:pos x="388" y="175"/>
              </a:cxn>
              <a:cxn ang="0">
                <a:pos x="405" y="190"/>
              </a:cxn>
              <a:cxn ang="0">
                <a:pos x="404" y="201"/>
              </a:cxn>
              <a:cxn ang="0">
                <a:pos x="394" y="209"/>
              </a:cxn>
              <a:cxn ang="0">
                <a:pos x="330" y="245"/>
              </a:cxn>
              <a:cxn ang="0">
                <a:pos x="348" y="257"/>
              </a:cxn>
              <a:cxn ang="0">
                <a:pos x="403" y="234"/>
              </a:cxn>
              <a:cxn ang="0">
                <a:pos x="433" y="194"/>
              </a:cxn>
              <a:cxn ang="0">
                <a:pos x="411" y="156"/>
              </a:cxn>
              <a:cxn ang="0">
                <a:pos x="406" y="154"/>
              </a:cxn>
              <a:cxn ang="0">
                <a:pos x="393" y="25"/>
              </a:cxn>
              <a:cxn ang="0">
                <a:pos x="374" y="6"/>
              </a:cxn>
            </a:cxnLst>
            <a:rect l="0" t="0" r="r" b="b"/>
            <a:pathLst>
              <a:path w="433" h="333">
                <a:moveTo>
                  <a:pt x="358" y="0"/>
                </a:moveTo>
                <a:cubicBezTo>
                  <a:pt x="351" y="1"/>
                  <a:pt x="346" y="6"/>
                  <a:pt x="344" y="10"/>
                </a:cubicBezTo>
                <a:cubicBezTo>
                  <a:pt x="344" y="10"/>
                  <a:pt x="345" y="9"/>
                  <a:pt x="345" y="9"/>
                </a:cubicBezTo>
                <a:cubicBezTo>
                  <a:pt x="345" y="9"/>
                  <a:pt x="337" y="21"/>
                  <a:pt x="334" y="27"/>
                </a:cubicBezTo>
                <a:cubicBezTo>
                  <a:pt x="325" y="29"/>
                  <a:pt x="227" y="51"/>
                  <a:pt x="227" y="51"/>
                </a:cubicBezTo>
                <a:cubicBezTo>
                  <a:pt x="192" y="60"/>
                  <a:pt x="169" y="82"/>
                  <a:pt x="160" y="118"/>
                </a:cubicBezTo>
                <a:cubicBezTo>
                  <a:pt x="160" y="118"/>
                  <a:pt x="159" y="123"/>
                  <a:pt x="157" y="128"/>
                </a:cubicBezTo>
                <a:cubicBezTo>
                  <a:pt x="140" y="128"/>
                  <a:pt x="55" y="128"/>
                  <a:pt x="55" y="128"/>
                </a:cubicBezTo>
                <a:cubicBezTo>
                  <a:pt x="44" y="128"/>
                  <a:pt x="35" y="137"/>
                  <a:pt x="35" y="148"/>
                </a:cubicBezTo>
                <a:cubicBezTo>
                  <a:pt x="35" y="148"/>
                  <a:pt x="35" y="237"/>
                  <a:pt x="35" y="237"/>
                </a:cubicBezTo>
                <a:cubicBezTo>
                  <a:pt x="35" y="249"/>
                  <a:pt x="44" y="259"/>
                  <a:pt x="56" y="259"/>
                </a:cubicBezTo>
                <a:cubicBezTo>
                  <a:pt x="56" y="259"/>
                  <a:pt x="82" y="259"/>
                  <a:pt x="97" y="259"/>
                </a:cubicBezTo>
                <a:cubicBezTo>
                  <a:pt x="97" y="261"/>
                  <a:pt x="97" y="261"/>
                  <a:pt x="97" y="263"/>
                </a:cubicBezTo>
                <a:cubicBezTo>
                  <a:pt x="78" y="263"/>
                  <a:pt x="34" y="263"/>
                  <a:pt x="34" y="263"/>
                </a:cubicBezTo>
                <a:cubicBezTo>
                  <a:pt x="15" y="263"/>
                  <a:pt x="0" y="279"/>
                  <a:pt x="0" y="298"/>
                </a:cubicBezTo>
                <a:cubicBezTo>
                  <a:pt x="0" y="317"/>
                  <a:pt x="15" y="333"/>
                  <a:pt x="34" y="333"/>
                </a:cubicBezTo>
                <a:cubicBezTo>
                  <a:pt x="257" y="333"/>
                  <a:pt x="257" y="333"/>
                  <a:pt x="257" y="333"/>
                </a:cubicBezTo>
                <a:cubicBezTo>
                  <a:pt x="277" y="333"/>
                  <a:pt x="292" y="317"/>
                  <a:pt x="292" y="298"/>
                </a:cubicBezTo>
                <a:cubicBezTo>
                  <a:pt x="292" y="279"/>
                  <a:pt x="277" y="263"/>
                  <a:pt x="257" y="263"/>
                </a:cubicBezTo>
                <a:cubicBezTo>
                  <a:pt x="257" y="263"/>
                  <a:pt x="219" y="263"/>
                  <a:pt x="201" y="263"/>
                </a:cubicBezTo>
                <a:cubicBezTo>
                  <a:pt x="201" y="261"/>
                  <a:pt x="201" y="261"/>
                  <a:pt x="201" y="259"/>
                </a:cubicBezTo>
                <a:cubicBezTo>
                  <a:pt x="202" y="259"/>
                  <a:pt x="204" y="259"/>
                  <a:pt x="204" y="259"/>
                </a:cubicBezTo>
                <a:cubicBezTo>
                  <a:pt x="216" y="259"/>
                  <a:pt x="225" y="250"/>
                  <a:pt x="225" y="239"/>
                </a:cubicBezTo>
                <a:cubicBezTo>
                  <a:pt x="225" y="209"/>
                  <a:pt x="222" y="185"/>
                  <a:pt x="217" y="167"/>
                </a:cubicBezTo>
                <a:cubicBezTo>
                  <a:pt x="219" y="162"/>
                  <a:pt x="223" y="151"/>
                  <a:pt x="223" y="151"/>
                </a:cubicBezTo>
                <a:cubicBezTo>
                  <a:pt x="230" y="130"/>
                  <a:pt x="246" y="115"/>
                  <a:pt x="269" y="106"/>
                </a:cubicBezTo>
                <a:cubicBezTo>
                  <a:pt x="270" y="105"/>
                  <a:pt x="341" y="85"/>
                  <a:pt x="341" y="85"/>
                </a:cubicBezTo>
                <a:cubicBezTo>
                  <a:pt x="347" y="84"/>
                  <a:pt x="350" y="78"/>
                  <a:pt x="350" y="73"/>
                </a:cubicBezTo>
                <a:cubicBezTo>
                  <a:pt x="350" y="71"/>
                  <a:pt x="350" y="70"/>
                  <a:pt x="350" y="69"/>
                </a:cubicBezTo>
                <a:cubicBezTo>
                  <a:pt x="348" y="62"/>
                  <a:pt x="341" y="58"/>
                  <a:pt x="333" y="60"/>
                </a:cubicBezTo>
                <a:cubicBezTo>
                  <a:pt x="260" y="80"/>
                  <a:pt x="260" y="80"/>
                  <a:pt x="260" y="80"/>
                </a:cubicBezTo>
                <a:cubicBezTo>
                  <a:pt x="260" y="80"/>
                  <a:pt x="260" y="81"/>
                  <a:pt x="259" y="81"/>
                </a:cubicBezTo>
                <a:cubicBezTo>
                  <a:pt x="229" y="93"/>
                  <a:pt x="208" y="114"/>
                  <a:pt x="198" y="142"/>
                </a:cubicBezTo>
                <a:cubicBezTo>
                  <a:pt x="198" y="142"/>
                  <a:pt x="198" y="142"/>
                  <a:pt x="198" y="142"/>
                </a:cubicBezTo>
                <a:cubicBezTo>
                  <a:pt x="190" y="162"/>
                  <a:pt x="190" y="162"/>
                  <a:pt x="190" y="162"/>
                </a:cubicBezTo>
                <a:cubicBezTo>
                  <a:pt x="190" y="163"/>
                  <a:pt x="189" y="165"/>
                  <a:pt x="189" y="166"/>
                </a:cubicBezTo>
                <a:cubicBezTo>
                  <a:pt x="189" y="168"/>
                  <a:pt x="190" y="169"/>
                  <a:pt x="190" y="171"/>
                </a:cubicBezTo>
                <a:cubicBezTo>
                  <a:pt x="195" y="185"/>
                  <a:pt x="197" y="206"/>
                  <a:pt x="198" y="232"/>
                </a:cubicBezTo>
                <a:cubicBezTo>
                  <a:pt x="193" y="232"/>
                  <a:pt x="188" y="232"/>
                  <a:pt x="188" y="232"/>
                </a:cubicBezTo>
                <a:cubicBezTo>
                  <a:pt x="181" y="232"/>
                  <a:pt x="175" y="238"/>
                  <a:pt x="175" y="246"/>
                </a:cubicBezTo>
                <a:cubicBezTo>
                  <a:pt x="175" y="277"/>
                  <a:pt x="175" y="277"/>
                  <a:pt x="175" y="277"/>
                </a:cubicBezTo>
                <a:cubicBezTo>
                  <a:pt x="175" y="284"/>
                  <a:pt x="181" y="290"/>
                  <a:pt x="188" y="290"/>
                </a:cubicBezTo>
                <a:cubicBezTo>
                  <a:pt x="257" y="290"/>
                  <a:pt x="257" y="290"/>
                  <a:pt x="257" y="290"/>
                </a:cubicBezTo>
                <a:cubicBezTo>
                  <a:pt x="262" y="290"/>
                  <a:pt x="265" y="294"/>
                  <a:pt x="265" y="298"/>
                </a:cubicBezTo>
                <a:cubicBezTo>
                  <a:pt x="265" y="303"/>
                  <a:pt x="262" y="306"/>
                  <a:pt x="257" y="306"/>
                </a:cubicBezTo>
                <a:cubicBezTo>
                  <a:pt x="34" y="306"/>
                  <a:pt x="34" y="306"/>
                  <a:pt x="34" y="306"/>
                </a:cubicBezTo>
                <a:cubicBezTo>
                  <a:pt x="30" y="306"/>
                  <a:pt x="26" y="303"/>
                  <a:pt x="26" y="298"/>
                </a:cubicBezTo>
                <a:cubicBezTo>
                  <a:pt x="26" y="294"/>
                  <a:pt x="30" y="290"/>
                  <a:pt x="34" y="290"/>
                </a:cubicBezTo>
                <a:cubicBezTo>
                  <a:pt x="110" y="290"/>
                  <a:pt x="110" y="290"/>
                  <a:pt x="110" y="290"/>
                </a:cubicBezTo>
                <a:cubicBezTo>
                  <a:pt x="117" y="290"/>
                  <a:pt x="123" y="284"/>
                  <a:pt x="123" y="277"/>
                </a:cubicBezTo>
                <a:cubicBezTo>
                  <a:pt x="123" y="246"/>
                  <a:pt x="123" y="246"/>
                  <a:pt x="123" y="246"/>
                </a:cubicBezTo>
                <a:cubicBezTo>
                  <a:pt x="123" y="238"/>
                  <a:pt x="117" y="232"/>
                  <a:pt x="110" y="232"/>
                </a:cubicBezTo>
                <a:cubicBezTo>
                  <a:pt x="110" y="232"/>
                  <a:pt x="69" y="232"/>
                  <a:pt x="61" y="232"/>
                </a:cubicBezTo>
                <a:cubicBezTo>
                  <a:pt x="61" y="218"/>
                  <a:pt x="61" y="172"/>
                  <a:pt x="61" y="155"/>
                </a:cubicBezTo>
                <a:cubicBezTo>
                  <a:pt x="73" y="155"/>
                  <a:pt x="168" y="155"/>
                  <a:pt x="168" y="155"/>
                </a:cubicBezTo>
                <a:cubicBezTo>
                  <a:pt x="174" y="155"/>
                  <a:pt x="179" y="151"/>
                  <a:pt x="181" y="145"/>
                </a:cubicBezTo>
                <a:cubicBezTo>
                  <a:pt x="186" y="125"/>
                  <a:pt x="186" y="125"/>
                  <a:pt x="186" y="125"/>
                </a:cubicBezTo>
                <a:cubicBezTo>
                  <a:pt x="193" y="98"/>
                  <a:pt x="208" y="83"/>
                  <a:pt x="233" y="77"/>
                </a:cubicBezTo>
                <a:cubicBezTo>
                  <a:pt x="233" y="77"/>
                  <a:pt x="345" y="51"/>
                  <a:pt x="345" y="51"/>
                </a:cubicBezTo>
                <a:cubicBezTo>
                  <a:pt x="346" y="51"/>
                  <a:pt x="347" y="51"/>
                  <a:pt x="348" y="50"/>
                </a:cubicBezTo>
                <a:cubicBezTo>
                  <a:pt x="349" y="49"/>
                  <a:pt x="349" y="49"/>
                  <a:pt x="349" y="49"/>
                </a:cubicBezTo>
                <a:cubicBezTo>
                  <a:pt x="351" y="48"/>
                  <a:pt x="352" y="47"/>
                  <a:pt x="354" y="45"/>
                </a:cubicBezTo>
                <a:cubicBezTo>
                  <a:pt x="354" y="45"/>
                  <a:pt x="358" y="38"/>
                  <a:pt x="362" y="32"/>
                </a:cubicBezTo>
                <a:cubicBezTo>
                  <a:pt x="366" y="36"/>
                  <a:pt x="368" y="38"/>
                  <a:pt x="371" y="41"/>
                </a:cubicBezTo>
                <a:cubicBezTo>
                  <a:pt x="372" y="50"/>
                  <a:pt x="380" y="164"/>
                  <a:pt x="380" y="164"/>
                </a:cubicBezTo>
                <a:cubicBezTo>
                  <a:pt x="381" y="169"/>
                  <a:pt x="384" y="173"/>
                  <a:pt x="388" y="175"/>
                </a:cubicBezTo>
                <a:cubicBezTo>
                  <a:pt x="388" y="175"/>
                  <a:pt x="399" y="180"/>
                  <a:pt x="400" y="180"/>
                </a:cubicBezTo>
                <a:cubicBezTo>
                  <a:pt x="402" y="181"/>
                  <a:pt x="403" y="184"/>
                  <a:pt x="405" y="190"/>
                </a:cubicBezTo>
                <a:cubicBezTo>
                  <a:pt x="406" y="191"/>
                  <a:pt x="406" y="193"/>
                  <a:pt x="406" y="194"/>
                </a:cubicBezTo>
                <a:cubicBezTo>
                  <a:pt x="406" y="196"/>
                  <a:pt x="405" y="199"/>
                  <a:pt x="404" y="201"/>
                </a:cubicBezTo>
                <a:cubicBezTo>
                  <a:pt x="402" y="205"/>
                  <a:pt x="399" y="208"/>
                  <a:pt x="395" y="209"/>
                </a:cubicBezTo>
                <a:cubicBezTo>
                  <a:pt x="395" y="209"/>
                  <a:pt x="394" y="209"/>
                  <a:pt x="394" y="209"/>
                </a:cubicBezTo>
                <a:cubicBezTo>
                  <a:pt x="338" y="232"/>
                  <a:pt x="338" y="232"/>
                  <a:pt x="338" y="232"/>
                </a:cubicBezTo>
                <a:cubicBezTo>
                  <a:pt x="333" y="234"/>
                  <a:pt x="330" y="239"/>
                  <a:pt x="330" y="245"/>
                </a:cubicBezTo>
                <a:cubicBezTo>
                  <a:pt x="330" y="246"/>
                  <a:pt x="330" y="248"/>
                  <a:pt x="331" y="250"/>
                </a:cubicBezTo>
                <a:cubicBezTo>
                  <a:pt x="334" y="256"/>
                  <a:pt x="341" y="260"/>
                  <a:pt x="348" y="257"/>
                </a:cubicBezTo>
                <a:cubicBezTo>
                  <a:pt x="404" y="234"/>
                  <a:pt x="404" y="234"/>
                  <a:pt x="404" y="234"/>
                </a:cubicBezTo>
                <a:cubicBezTo>
                  <a:pt x="404" y="234"/>
                  <a:pt x="404" y="234"/>
                  <a:pt x="403" y="234"/>
                </a:cubicBezTo>
                <a:cubicBezTo>
                  <a:pt x="414" y="231"/>
                  <a:pt x="423" y="223"/>
                  <a:pt x="428" y="213"/>
                </a:cubicBezTo>
                <a:cubicBezTo>
                  <a:pt x="431" y="207"/>
                  <a:pt x="433" y="200"/>
                  <a:pt x="433" y="194"/>
                </a:cubicBezTo>
                <a:cubicBezTo>
                  <a:pt x="433" y="190"/>
                  <a:pt x="432" y="186"/>
                  <a:pt x="431" y="182"/>
                </a:cubicBezTo>
                <a:cubicBezTo>
                  <a:pt x="428" y="173"/>
                  <a:pt x="423" y="162"/>
                  <a:pt x="411" y="156"/>
                </a:cubicBezTo>
                <a:cubicBezTo>
                  <a:pt x="411" y="156"/>
                  <a:pt x="411" y="156"/>
                  <a:pt x="411" y="156"/>
                </a:cubicBezTo>
                <a:cubicBezTo>
                  <a:pt x="411" y="156"/>
                  <a:pt x="408" y="155"/>
                  <a:pt x="406" y="154"/>
                </a:cubicBezTo>
                <a:cubicBezTo>
                  <a:pt x="405" y="140"/>
                  <a:pt x="398" y="33"/>
                  <a:pt x="398" y="33"/>
                </a:cubicBezTo>
                <a:cubicBezTo>
                  <a:pt x="397" y="30"/>
                  <a:pt x="396" y="27"/>
                  <a:pt x="393" y="25"/>
                </a:cubicBezTo>
                <a:cubicBezTo>
                  <a:pt x="374" y="6"/>
                  <a:pt x="374" y="6"/>
                  <a:pt x="374" y="6"/>
                </a:cubicBezTo>
                <a:cubicBezTo>
                  <a:pt x="374" y="6"/>
                  <a:pt x="374" y="6"/>
                  <a:pt x="374" y="6"/>
                </a:cubicBezTo>
                <a:cubicBezTo>
                  <a:pt x="368" y="0"/>
                  <a:pt x="361" y="0"/>
                  <a:pt x="358" y="0"/>
                </a:cubicBezTo>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05" name="TextBox 304"/>
          <p:cNvSpPr txBox="1"/>
          <p:nvPr userDrawn="1"/>
        </p:nvSpPr>
        <p:spPr>
          <a:xfrm>
            <a:off x="4902559" y="3463580"/>
            <a:ext cx="1060977" cy="246221"/>
          </a:xfrm>
          <a:prstGeom prst="rect">
            <a:avLst/>
          </a:prstGeom>
          <a:noFill/>
        </p:spPr>
        <p:txBody>
          <a:bodyPr wrap="square" lIns="0" tIns="0" rIns="0" bIns="0" rtlCol="0" anchor="t" anchorCtr="0">
            <a:spAutoFit/>
          </a:bodyPr>
          <a:lstStyle/>
          <a:p>
            <a:pPr algn="ctr"/>
            <a:r>
              <a:rPr lang="en-US" sz="800" b="1" dirty="0">
                <a:solidFill>
                  <a:prstClr val="white"/>
                </a:solidFill>
                <a:cs typeface="Arial" pitchFamily="34" charset="0"/>
              </a:rPr>
              <a:t>Mining, minerals</a:t>
            </a:r>
            <a:br>
              <a:rPr lang="en-US" sz="800" b="1" dirty="0">
                <a:solidFill>
                  <a:prstClr val="white"/>
                </a:solidFill>
                <a:cs typeface="Arial" pitchFamily="34" charset="0"/>
              </a:rPr>
            </a:br>
            <a:r>
              <a:rPr lang="en-US" sz="800" b="1" dirty="0">
                <a:solidFill>
                  <a:prstClr val="white"/>
                </a:solidFill>
                <a:cs typeface="Arial" pitchFamily="34" charset="0"/>
              </a:rPr>
              <a:t>&amp; metals</a:t>
            </a:r>
          </a:p>
        </p:txBody>
      </p:sp>
      <p:sp>
        <p:nvSpPr>
          <p:cNvPr id="306" name="Freeform 112"/>
          <p:cNvSpPr>
            <a:spLocks noChangeAspect="1"/>
          </p:cNvSpPr>
          <p:nvPr userDrawn="1"/>
        </p:nvSpPr>
        <p:spPr bwMode="auto">
          <a:xfrm>
            <a:off x="4230517" y="2195360"/>
            <a:ext cx="500144" cy="393192"/>
          </a:xfrm>
          <a:custGeom>
            <a:avLst/>
            <a:gdLst/>
            <a:ahLst/>
            <a:cxnLst>
              <a:cxn ang="0">
                <a:pos x="49" y="5"/>
              </a:cxn>
              <a:cxn ang="0">
                <a:pos x="32" y="98"/>
              </a:cxn>
              <a:cxn ang="0">
                <a:pos x="0" y="335"/>
              </a:cxn>
              <a:cxn ang="0">
                <a:pos x="26" y="335"/>
              </a:cxn>
              <a:cxn ang="0">
                <a:pos x="58" y="107"/>
              </a:cxn>
              <a:cxn ang="0">
                <a:pos x="59" y="34"/>
              </a:cxn>
              <a:cxn ang="0">
                <a:pos x="78" y="27"/>
              </a:cxn>
              <a:cxn ang="0">
                <a:pos x="95" y="29"/>
              </a:cxn>
              <a:cxn ang="0">
                <a:pos x="97" y="101"/>
              </a:cxn>
              <a:cxn ang="0">
                <a:pos x="130" y="183"/>
              </a:cxn>
              <a:cxn ang="0">
                <a:pos x="143" y="349"/>
              </a:cxn>
              <a:cxn ang="0">
                <a:pos x="283" y="338"/>
              </a:cxn>
              <a:cxn ang="0">
                <a:pos x="275" y="323"/>
              </a:cxn>
              <a:cxn ang="0">
                <a:pos x="235" y="256"/>
              </a:cxn>
              <a:cxn ang="0">
                <a:pos x="302" y="173"/>
              </a:cxn>
              <a:cxn ang="0">
                <a:pos x="302" y="163"/>
              </a:cxn>
              <a:cxn ang="0">
                <a:pos x="299" y="116"/>
              </a:cxn>
              <a:cxn ang="0">
                <a:pos x="322" y="154"/>
              </a:cxn>
              <a:cxn ang="0">
                <a:pos x="366" y="129"/>
              </a:cxn>
              <a:cxn ang="0">
                <a:pos x="378" y="151"/>
              </a:cxn>
              <a:cxn ang="0">
                <a:pos x="349" y="172"/>
              </a:cxn>
              <a:cxn ang="0">
                <a:pos x="357" y="184"/>
              </a:cxn>
              <a:cxn ang="0">
                <a:pos x="390" y="303"/>
              </a:cxn>
              <a:cxn ang="0">
                <a:pos x="358" y="335"/>
              </a:cxn>
              <a:cxn ang="0">
                <a:pos x="378" y="347"/>
              </a:cxn>
              <a:cxn ang="0">
                <a:pos x="433" y="256"/>
              </a:cxn>
              <a:cxn ang="0">
                <a:pos x="446" y="113"/>
              </a:cxn>
              <a:cxn ang="0">
                <a:pos x="445" y="102"/>
              </a:cxn>
              <a:cxn ang="0">
                <a:pos x="354" y="106"/>
              </a:cxn>
              <a:cxn ang="0">
                <a:pos x="314" y="92"/>
              </a:cxn>
              <a:cxn ang="0">
                <a:pos x="251" y="102"/>
              </a:cxn>
              <a:cxn ang="0">
                <a:pos x="242" y="115"/>
              </a:cxn>
              <a:cxn ang="0">
                <a:pos x="272" y="160"/>
              </a:cxn>
              <a:cxn ang="0">
                <a:pos x="208" y="256"/>
              </a:cxn>
              <a:cxn ang="0">
                <a:pos x="232" y="322"/>
              </a:cxn>
              <a:cxn ang="0">
                <a:pos x="157" y="183"/>
              </a:cxn>
              <a:cxn ang="0">
                <a:pos x="124" y="34"/>
              </a:cxn>
              <a:cxn ang="0">
                <a:pos x="79" y="0"/>
              </a:cxn>
            </a:cxnLst>
            <a:rect l="0" t="0" r="r" b="b"/>
            <a:pathLst>
              <a:path w="447" h="351">
                <a:moveTo>
                  <a:pt x="78" y="0"/>
                </a:moveTo>
                <a:cubicBezTo>
                  <a:pt x="69" y="0"/>
                  <a:pt x="58" y="1"/>
                  <a:pt x="49" y="5"/>
                </a:cubicBezTo>
                <a:cubicBezTo>
                  <a:pt x="38" y="11"/>
                  <a:pt x="32" y="21"/>
                  <a:pt x="32" y="34"/>
                </a:cubicBezTo>
                <a:cubicBezTo>
                  <a:pt x="32" y="34"/>
                  <a:pt x="32" y="92"/>
                  <a:pt x="32" y="98"/>
                </a:cubicBezTo>
                <a:cubicBezTo>
                  <a:pt x="23" y="116"/>
                  <a:pt x="0" y="165"/>
                  <a:pt x="0" y="183"/>
                </a:cubicBezTo>
                <a:cubicBezTo>
                  <a:pt x="0" y="335"/>
                  <a:pt x="0" y="335"/>
                  <a:pt x="0" y="335"/>
                </a:cubicBezTo>
                <a:cubicBezTo>
                  <a:pt x="0" y="343"/>
                  <a:pt x="6" y="349"/>
                  <a:pt x="13" y="349"/>
                </a:cubicBezTo>
                <a:cubicBezTo>
                  <a:pt x="20" y="349"/>
                  <a:pt x="26" y="343"/>
                  <a:pt x="26" y="335"/>
                </a:cubicBezTo>
                <a:cubicBezTo>
                  <a:pt x="26" y="183"/>
                  <a:pt x="26" y="183"/>
                  <a:pt x="26" y="183"/>
                </a:cubicBezTo>
                <a:cubicBezTo>
                  <a:pt x="26" y="175"/>
                  <a:pt x="42" y="137"/>
                  <a:pt x="58" y="107"/>
                </a:cubicBezTo>
                <a:cubicBezTo>
                  <a:pt x="58" y="105"/>
                  <a:pt x="59" y="103"/>
                  <a:pt x="59" y="101"/>
                </a:cubicBezTo>
                <a:cubicBezTo>
                  <a:pt x="59" y="34"/>
                  <a:pt x="59" y="34"/>
                  <a:pt x="59" y="34"/>
                </a:cubicBezTo>
                <a:cubicBezTo>
                  <a:pt x="59" y="30"/>
                  <a:pt x="60" y="29"/>
                  <a:pt x="61" y="29"/>
                </a:cubicBezTo>
                <a:cubicBezTo>
                  <a:pt x="64" y="27"/>
                  <a:pt x="70" y="27"/>
                  <a:pt x="78" y="27"/>
                </a:cubicBezTo>
                <a:cubicBezTo>
                  <a:pt x="79" y="27"/>
                  <a:pt x="79" y="27"/>
                  <a:pt x="79" y="27"/>
                </a:cubicBezTo>
                <a:cubicBezTo>
                  <a:pt x="87" y="27"/>
                  <a:pt x="92" y="27"/>
                  <a:pt x="95" y="29"/>
                </a:cubicBezTo>
                <a:cubicBezTo>
                  <a:pt x="96" y="29"/>
                  <a:pt x="97" y="30"/>
                  <a:pt x="97" y="34"/>
                </a:cubicBezTo>
                <a:cubicBezTo>
                  <a:pt x="97" y="101"/>
                  <a:pt x="97" y="101"/>
                  <a:pt x="97" y="101"/>
                </a:cubicBezTo>
                <a:cubicBezTo>
                  <a:pt x="97" y="103"/>
                  <a:pt x="98" y="105"/>
                  <a:pt x="99" y="107"/>
                </a:cubicBezTo>
                <a:cubicBezTo>
                  <a:pt x="114" y="137"/>
                  <a:pt x="130" y="175"/>
                  <a:pt x="130" y="183"/>
                </a:cubicBezTo>
                <a:cubicBezTo>
                  <a:pt x="130" y="335"/>
                  <a:pt x="130" y="335"/>
                  <a:pt x="130" y="335"/>
                </a:cubicBezTo>
                <a:cubicBezTo>
                  <a:pt x="130" y="343"/>
                  <a:pt x="136" y="349"/>
                  <a:pt x="143" y="349"/>
                </a:cubicBezTo>
                <a:cubicBezTo>
                  <a:pt x="270" y="349"/>
                  <a:pt x="270" y="349"/>
                  <a:pt x="270" y="349"/>
                </a:cubicBezTo>
                <a:cubicBezTo>
                  <a:pt x="276" y="349"/>
                  <a:pt x="282" y="344"/>
                  <a:pt x="283" y="338"/>
                </a:cubicBezTo>
                <a:cubicBezTo>
                  <a:pt x="283" y="337"/>
                  <a:pt x="283" y="336"/>
                  <a:pt x="283" y="335"/>
                </a:cubicBezTo>
                <a:cubicBezTo>
                  <a:pt x="283" y="330"/>
                  <a:pt x="280" y="325"/>
                  <a:pt x="275" y="323"/>
                </a:cubicBezTo>
                <a:cubicBezTo>
                  <a:pt x="274" y="323"/>
                  <a:pt x="253" y="314"/>
                  <a:pt x="241" y="286"/>
                </a:cubicBezTo>
                <a:cubicBezTo>
                  <a:pt x="237" y="276"/>
                  <a:pt x="235" y="266"/>
                  <a:pt x="235" y="256"/>
                </a:cubicBezTo>
                <a:cubicBezTo>
                  <a:pt x="235" y="221"/>
                  <a:pt x="259" y="191"/>
                  <a:pt x="294" y="180"/>
                </a:cubicBezTo>
                <a:cubicBezTo>
                  <a:pt x="297" y="179"/>
                  <a:pt x="300" y="177"/>
                  <a:pt x="302" y="173"/>
                </a:cubicBezTo>
                <a:cubicBezTo>
                  <a:pt x="303" y="172"/>
                  <a:pt x="303" y="170"/>
                  <a:pt x="303" y="168"/>
                </a:cubicBezTo>
                <a:cubicBezTo>
                  <a:pt x="303" y="166"/>
                  <a:pt x="303" y="164"/>
                  <a:pt x="302" y="163"/>
                </a:cubicBezTo>
                <a:cubicBezTo>
                  <a:pt x="295" y="144"/>
                  <a:pt x="288" y="133"/>
                  <a:pt x="279" y="122"/>
                </a:cubicBezTo>
                <a:cubicBezTo>
                  <a:pt x="289" y="119"/>
                  <a:pt x="293" y="118"/>
                  <a:pt x="299" y="116"/>
                </a:cubicBezTo>
                <a:cubicBezTo>
                  <a:pt x="303" y="123"/>
                  <a:pt x="309" y="133"/>
                  <a:pt x="313" y="145"/>
                </a:cubicBezTo>
                <a:cubicBezTo>
                  <a:pt x="314" y="150"/>
                  <a:pt x="317" y="153"/>
                  <a:pt x="322" y="154"/>
                </a:cubicBezTo>
                <a:cubicBezTo>
                  <a:pt x="326" y="156"/>
                  <a:pt x="331" y="155"/>
                  <a:pt x="335" y="151"/>
                </a:cubicBezTo>
                <a:cubicBezTo>
                  <a:pt x="343" y="144"/>
                  <a:pt x="354" y="136"/>
                  <a:pt x="366" y="129"/>
                </a:cubicBezTo>
                <a:cubicBezTo>
                  <a:pt x="382" y="121"/>
                  <a:pt x="399" y="119"/>
                  <a:pt x="412" y="119"/>
                </a:cubicBezTo>
                <a:cubicBezTo>
                  <a:pt x="404" y="130"/>
                  <a:pt x="393" y="143"/>
                  <a:pt x="378" y="151"/>
                </a:cubicBezTo>
                <a:cubicBezTo>
                  <a:pt x="371" y="154"/>
                  <a:pt x="365" y="157"/>
                  <a:pt x="358" y="159"/>
                </a:cubicBezTo>
                <a:cubicBezTo>
                  <a:pt x="353" y="161"/>
                  <a:pt x="350" y="166"/>
                  <a:pt x="349" y="172"/>
                </a:cubicBezTo>
                <a:cubicBezTo>
                  <a:pt x="349" y="172"/>
                  <a:pt x="349" y="172"/>
                  <a:pt x="349" y="172"/>
                </a:cubicBezTo>
                <a:cubicBezTo>
                  <a:pt x="349" y="177"/>
                  <a:pt x="353" y="182"/>
                  <a:pt x="357" y="184"/>
                </a:cubicBezTo>
                <a:cubicBezTo>
                  <a:pt x="387" y="197"/>
                  <a:pt x="406" y="225"/>
                  <a:pt x="406" y="256"/>
                </a:cubicBezTo>
                <a:cubicBezTo>
                  <a:pt x="406" y="273"/>
                  <a:pt x="401" y="289"/>
                  <a:pt x="390" y="303"/>
                </a:cubicBezTo>
                <a:cubicBezTo>
                  <a:pt x="383" y="311"/>
                  <a:pt x="375" y="318"/>
                  <a:pt x="365" y="324"/>
                </a:cubicBezTo>
                <a:cubicBezTo>
                  <a:pt x="361" y="326"/>
                  <a:pt x="358" y="331"/>
                  <a:pt x="358" y="335"/>
                </a:cubicBezTo>
                <a:cubicBezTo>
                  <a:pt x="358" y="338"/>
                  <a:pt x="359" y="340"/>
                  <a:pt x="360" y="342"/>
                </a:cubicBezTo>
                <a:cubicBezTo>
                  <a:pt x="364" y="348"/>
                  <a:pt x="372" y="351"/>
                  <a:pt x="378" y="347"/>
                </a:cubicBezTo>
                <a:cubicBezTo>
                  <a:pt x="391" y="340"/>
                  <a:pt x="402" y="330"/>
                  <a:pt x="411" y="319"/>
                </a:cubicBezTo>
                <a:cubicBezTo>
                  <a:pt x="425" y="301"/>
                  <a:pt x="433" y="279"/>
                  <a:pt x="433" y="256"/>
                </a:cubicBezTo>
                <a:cubicBezTo>
                  <a:pt x="433" y="224"/>
                  <a:pt x="417" y="194"/>
                  <a:pt x="391" y="174"/>
                </a:cubicBezTo>
                <a:cubicBezTo>
                  <a:pt x="428" y="154"/>
                  <a:pt x="445" y="115"/>
                  <a:pt x="446" y="113"/>
                </a:cubicBezTo>
                <a:cubicBezTo>
                  <a:pt x="447" y="112"/>
                  <a:pt x="447" y="110"/>
                  <a:pt x="447" y="108"/>
                </a:cubicBezTo>
                <a:cubicBezTo>
                  <a:pt x="447" y="106"/>
                  <a:pt x="446" y="104"/>
                  <a:pt x="445" y="102"/>
                </a:cubicBezTo>
                <a:cubicBezTo>
                  <a:pt x="444" y="98"/>
                  <a:pt x="440" y="96"/>
                  <a:pt x="436" y="95"/>
                </a:cubicBezTo>
                <a:cubicBezTo>
                  <a:pt x="435" y="95"/>
                  <a:pt x="392" y="86"/>
                  <a:pt x="354" y="106"/>
                </a:cubicBezTo>
                <a:cubicBezTo>
                  <a:pt x="346" y="110"/>
                  <a:pt x="338" y="115"/>
                  <a:pt x="331" y="120"/>
                </a:cubicBezTo>
                <a:cubicBezTo>
                  <a:pt x="324" y="104"/>
                  <a:pt x="315" y="93"/>
                  <a:pt x="314" y="92"/>
                </a:cubicBezTo>
                <a:cubicBezTo>
                  <a:pt x="311" y="88"/>
                  <a:pt x="305" y="86"/>
                  <a:pt x="300" y="88"/>
                </a:cubicBezTo>
                <a:cubicBezTo>
                  <a:pt x="251" y="102"/>
                  <a:pt x="251" y="102"/>
                  <a:pt x="251" y="102"/>
                </a:cubicBezTo>
                <a:cubicBezTo>
                  <a:pt x="247" y="104"/>
                  <a:pt x="243" y="107"/>
                  <a:pt x="242" y="112"/>
                </a:cubicBezTo>
                <a:cubicBezTo>
                  <a:pt x="242" y="113"/>
                  <a:pt x="242" y="114"/>
                  <a:pt x="242" y="115"/>
                </a:cubicBezTo>
                <a:cubicBezTo>
                  <a:pt x="242" y="119"/>
                  <a:pt x="243" y="122"/>
                  <a:pt x="245" y="124"/>
                </a:cubicBezTo>
                <a:cubicBezTo>
                  <a:pt x="258" y="138"/>
                  <a:pt x="265" y="145"/>
                  <a:pt x="272" y="160"/>
                </a:cubicBezTo>
                <a:cubicBezTo>
                  <a:pt x="233" y="178"/>
                  <a:pt x="208" y="214"/>
                  <a:pt x="208" y="256"/>
                </a:cubicBezTo>
                <a:cubicBezTo>
                  <a:pt x="208" y="256"/>
                  <a:pt x="208" y="256"/>
                  <a:pt x="208" y="256"/>
                </a:cubicBezTo>
                <a:cubicBezTo>
                  <a:pt x="208" y="269"/>
                  <a:pt x="211" y="283"/>
                  <a:pt x="216" y="296"/>
                </a:cubicBezTo>
                <a:cubicBezTo>
                  <a:pt x="221" y="307"/>
                  <a:pt x="226" y="315"/>
                  <a:pt x="232" y="322"/>
                </a:cubicBezTo>
                <a:cubicBezTo>
                  <a:pt x="206" y="322"/>
                  <a:pt x="172" y="322"/>
                  <a:pt x="157" y="322"/>
                </a:cubicBezTo>
                <a:cubicBezTo>
                  <a:pt x="157" y="300"/>
                  <a:pt x="157" y="183"/>
                  <a:pt x="157" y="183"/>
                </a:cubicBezTo>
                <a:cubicBezTo>
                  <a:pt x="157" y="165"/>
                  <a:pt x="133" y="116"/>
                  <a:pt x="124" y="98"/>
                </a:cubicBezTo>
                <a:cubicBezTo>
                  <a:pt x="124" y="92"/>
                  <a:pt x="124" y="34"/>
                  <a:pt x="124" y="34"/>
                </a:cubicBezTo>
                <a:cubicBezTo>
                  <a:pt x="124" y="21"/>
                  <a:pt x="118" y="11"/>
                  <a:pt x="107" y="5"/>
                </a:cubicBezTo>
                <a:cubicBezTo>
                  <a:pt x="98" y="1"/>
                  <a:pt x="87" y="0"/>
                  <a:pt x="79" y="0"/>
                </a:cubicBezTo>
                <a:lnTo>
                  <a:pt x="78" y="0"/>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07" name="TextBox 306"/>
          <p:cNvSpPr txBox="1"/>
          <p:nvPr userDrawn="1"/>
        </p:nvSpPr>
        <p:spPr>
          <a:xfrm>
            <a:off x="4230518" y="2639103"/>
            <a:ext cx="523058" cy="24622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Food &amp;</a:t>
            </a:r>
            <a:br>
              <a:rPr lang="en-US" sz="800" b="1" dirty="0">
                <a:solidFill>
                  <a:prstClr val="white"/>
                </a:solidFill>
                <a:cs typeface="Arial" pitchFamily="34" charset="0"/>
              </a:rPr>
            </a:br>
            <a:r>
              <a:rPr lang="en-US" sz="800" b="1" dirty="0">
                <a:solidFill>
                  <a:prstClr val="white"/>
                </a:solidFill>
                <a:cs typeface="Arial" pitchFamily="34" charset="0"/>
              </a:rPr>
              <a:t>beverage</a:t>
            </a:r>
          </a:p>
        </p:txBody>
      </p:sp>
      <p:sp>
        <p:nvSpPr>
          <p:cNvPr id="308" name="Freeform 108"/>
          <p:cNvSpPr>
            <a:spLocks noChangeAspect="1"/>
          </p:cNvSpPr>
          <p:nvPr userDrawn="1"/>
        </p:nvSpPr>
        <p:spPr bwMode="auto">
          <a:xfrm>
            <a:off x="2370513" y="3060617"/>
            <a:ext cx="479320" cy="337567"/>
          </a:xfrm>
          <a:custGeom>
            <a:avLst/>
            <a:gdLst/>
            <a:ahLst/>
            <a:cxnLst>
              <a:cxn ang="0">
                <a:pos x="13" y="0"/>
              </a:cxn>
              <a:cxn ang="0">
                <a:pos x="0" y="13"/>
              </a:cxn>
              <a:cxn ang="0">
                <a:pos x="0" y="311"/>
              </a:cxn>
              <a:cxn ang="0">
                <a:pos x="13" y="325"/>
              </a:cxn>
              <a:cxn ang="0">
                <a:pos x="70" y="325"/>
              </a:cxn>
              <a:cxn ang="0">
                <a:pos x="84" y="311"/>
              </a:cxn>
              <a:cxn ang="0">
                <a:pos x="84" y="259"/>
              </a:cxn>
              <a:cxn ang="0">
                <a:pos x="377" y="259"/>
              </a:cxn>
              <a:cxn ang="0">
                <a:pos x="377" y="311"/>
              </a:cxn>
              <a:cxn ang="0">
                <a:pos x="390" y="325"/>
              </a:cxn>
              <a:cxn ang="0">
                <a:pos x="448" y="325"/>
              </a:cxn>
              <a:cxn ang="0">
                <a:pos x="461" y="311"/>
              </a:cxn>
              <a:cxn ang="0">
                <a:pos x="461" y="183"/>
              </a:cxn>
              <a:cxn ang="0">
                <a:pos x="461" y="182"/>
              </a:cxn>
              <a:cxn ang="0">
                <a:pos x="381" y="126"/>
              </a:cxn>
              <a:cxn ang="0">
                <a:pos x="199" y="126"/>
              </a:cxn>
              <a:cxn ang="0">
                <a:pos x="186" y="140"/>
              </a:cxn>
              <a:cxn ang="0">
                <a:pos x="186" y="193"/>
              </a:cxn>
              <a:cxn ang="0">
                <a:pos x="199" y="207"/>
              </a:cxn>
              <a:cxn ang="0">
                <a:pos x="213" y="193"/>
              </a:cxn>
              <a:cxn ang="0">
                <a:pos x="213" y="153"/>
              </a:cxn>
              <a:cxn ang="0">
                <a:pos x="381" y="153"/>
              </a:cxn>
              <a:cxn ang="0">
                <a:pos x="434" y="184"/>
              </a:cxn>
              <a:cxn ang="0">
                <a:pos x="434" y="298"/>
              </a:cxn>
              <a:cxn ang="0">
                <a:pos x="404" y="298"/>
              </a:cxn>
              <a:cxn ang="0">
                <a:pos x="404" y="246"/>
              </a:cxn>
              <a:cxn ang="0">
                <a:pos x="390" y="232"/>
              </a:cxn>
              <a:cxn ang="0">
                <a:pos x="70" y="232"/>
              </a:cxn>
              <a:cxn ang="0">
                <a:pos x="57" y="246"/>
              </a:cxn>
              <a:cxn ang="0">
                <a:pos x="57" y="298"/>
              </a:cxn>
              <a:cxn ang="0">
                <a:pos x="26" y="298"/>
              </a:cxn>
              <a:cxn ang="0">
                <a:pos x="26" y="27"/>
              </a:cxn>
              <a:cxn ang="0">
                <a:pos x="57" y="27"/>
              </a:cxn>
              <a:cxn ang="0">
                <a:pos x="57" y="140"/>
              </a:cxn>
              <a:cxn ang="0">
                <a:pos x="70" y="153"/>
              </a:cxn>
              <a:cxn ang="0">
                <a:pos x="160" y="153"/>
              </a:cxn>
              <a:cxn ang="0">
                <a:pos x="173" y="141"/>
              </a:cxn>
              <a:cxn ang="0">
                <a:pos x="155" y="81"/>
              </a:cxn>
              <a:cxn ang="0">
                <a:pos x="113" y="64"/>
              </a:cxn>
              <a:cxn ang="0">
                <a:pos x="100" y="77"/>
              </a:cxn>
              <a:cxn ang="0">
                <a:pos x="113" y="90"/>
              </a:cxn>
              <a:cxn ang="0">
                <a:pos x="135" y="99"/>
              </a:cxn>
              <a:cxn ang="0">
                <a:pos x="146" y="126"/>
              </a:cxn>
              <a:cxn ang="0">
                <a:pos x="84" y="126"/>
              </a:cxn>
              <a:cxn ang="0">
                <a:pos x="84" y="13"/>
              </a:cxn>
              <a:cxn ang="0">
                <a:pos x="70" y="0"/>
              </a:cxn>
              <a:cxn ang="0">
                <a:pos x="13" y="0"/>
              </a:cxn>
            </a:cxnLst>
            <a:rect l="0" t="0" r="r" b="b"/>
            <a:pathLst>
              <a:path w="461" h="325">
                <a:moveTo>
                  <a:pt x="13" y="0"/>
                </a:moveTo>
                <a:cubicBezTo>
                  <a:pt x="6" y="0"/>
                  <a:pt x="0" y="6"/>
                  <a:pt x="0" y="13"/>
                </a:cubicBezTo>
                <a:cubicBezTo>
                  <a:pt x="0" y="311"/>
                  <a:pt x="0" y="311"/>
                  <a:pt x="0" y="311"/>
                </a:cubicBezTo>
                <a:cubicBezTo>
                  <a:pt x="0" y="319"/>
                  <a:pt x="6" y="325"/>
                  <a:pt x="13" y="325"/>
                </a:cubicBezTo>
                <a:cubicBezTo>
                  <a:pt x="70" y="325"/>
                  <a:pt x="70" y="325"/>
                  <a:pt x="70" y="325"/>
                </a:cubicBezTo>
                <a:cubicBezTo>
                  <a:pt x="78" y="325"/>
                  <a:pt x="84" y="319"/>
                  <a:pt x="84" y="311"/>
                </a:cubicBezTo>
                <a:cubicBezTo>
                  <a:pt x="84" y="311"/>
                  <a:pt x="84" y="276"/>
                  <a:pt x="84" y="259"/>
                </a:cubicBezTo>
                <a:cubicBezTo>
                  <a:pt x="107" y="259"/>
                  <a:pt x="354" y="259"/>
                  <a:pt x="377" y="259"/>
                </a:cubicBezTo>
                <a:cubicBezTo>
                  <a:pt x="377" y="276"/>
                  <a:pt x="377" y="311"/>
                  <a:pt x="377" y="311"/>
                </a:cubicBezTo>
                <a:cubicBezTo>
                  <a:pt x="377" y="319"/>
                  <a:pt x="383" y="325"/>
                  <a:pt x="390" y="325"/>
                </a:cubicBezTo>
                <a:cubicBezTo>
                  <a:pt x="448" y="325"/>
                  <a:pt x="448" y="325"/>
                  <a:pt x="448" y="325"/>
                </a:cubicBezTo>
                <a:cubicBezTo>
                  <a:pt x="455" y="325"/>
                  <a:pt x="461" y="319"/>
                  <a:pt x="461" y="311"/>
                </a:cubicBezTo>
                <a:cubicBezTo>
                  <a:pt x="461" y="183"/>
                  <a:pt x="461" y="183"/>
                  <a:pt x="461" y="183"/>
                </a:cubicBezTo>
                <a:cubicBezTo>
                  <a:pt x="461" y="182"/>
                  <a:pt x="461" y="182"/>
                  <a:pt x="461" y="182"/>
                </a:cubicBezTo>
                <a:cubicBezTo>
                  <a:pt x="460" y="163"/>
                  <a:pt x="441" y="126"/>
                  <a:pt x="381" y="126"/>
                </a:cubicBezTo>
                <a:cubicBezTo>
                  <a:pt x="199" y="126"/>
                  <a:pt x="199" y="126"/>
                  <a:pt x="199" y="126"/>
                </a:cubicBezTo>
                <a:cubicBezTo>
                  <a:pt x="192" y="126"/>
                  <a:pt x="186" y="132"/>
                  <a:pt x="186" y="140"/>
                </a:cubicBezTo>
                <a:cubicBezTo>
                  <a:pt x="186" y="193"/>
                  <a:pt x="186" y="193"/>
                  <a:pt x="186" y="193"/>
                </a:cubicBezTo>
                <a:cubicBezTo>
                  <a:pt x="186" y="201"/>
                  <a:pt x="192" y="207"/>
                  <a:pt x="199" y="207"/>
                </a:cubicBezTo>
                <a:cubicBezTo>
                  <a:pt x="207" y="207"/>
                  <a:pt x="213" y="201"/>
                  <a:pt x="213" y="193"/>
                </a:cubicBezTo>
                <a:cubicBezTo>
                  <a:pt x="213" y="193"/>
                  <a:pt x="213" y="168"/>
                  <a:pt x="213" y="153"/>
                </a:cubicBezTo>
                <a:cubicBezTo>
                  <a:pt x="231" y="153"/>
                  <a:pt x="381" y="153"/>
                  <a:pt x="381" y="153"/>
                </a:cubicBezTo>
                <a:cubicBezTo>
                  <a:pt x="428" y="153"/>
                  <a:pt x="434" y="179"/>
                  <a:pt x="434" y="184"/>
                </a:cubicBezTo>
                <a:cubicBezTo>
                  <a:pt x="434" y="185"/>
                  <a:pt x="434" y="277"/>
                  <a:pt x="434" y="298"/>
                </a:cubicBezTo>
                <a:cubicBezTo>
                  <a:pt x="423" y="298"/>
                  <a:pt x="415" y="298"/>
                  <a:pt x="404" y="298"/>
                </a:cubicBezTo>
                <a:cubicBezTo>
                  <a:pt x="404" y="281"/>
                  <a:pt x="404" y="246"/>
                  <a:pt x="404" y="246"/>
                </a:cubicBezTo>
                <a:cubicBezTo>
                  <a:pt x="404" y="238"/>
                  <a:pt x="398" y="232"/>
                  <a:pt x="390" y="232"/>
                </a:cubicBezTo>
                <a:cubicBezTo>
                  <a:pt x="70" y="232"/>
                  <a:pt x="70" y="232"/>
                  <a:pt x="70" y="232"/>
                </a:cubicBezTo>
                <a:cubicBezTo>
                  <a:pt x="63" y="232"/>
                  <a:pt x="57" y="238"/>
                  <a:pt x="57" y="246"/>
                </a:cubicBezTo>
                <a:cubicBezTo>
                  <a:pt x="57" y="246"/>
                  <a:pt x="57" y="281"/>
                  <a:pt x="57" y="298"/>
                </a:cubicBezTo>
                <a:cubicBezTo>
                  <a:pt x="46" y="298"/>
                  <a:pt x="37" y="298"/>
                  <a:pt x="26" y="298"/>
                </a:cubicBezTo>
                <a:cubicBezTo>
                  <a:pt x="26" y="275"/>
                  <a:pt x="26" y="50"/>
                  <a:pt x="26" y="27"/>
                </a:cubicBezTo>
                <a:cubicBezTo>
                  <a:pt x="37" y="27"/>
                  <a:pt x="46" y="27"/>
                  <a:pt x="57" y="27"/>
                </a:cubicBezTo>
                <a:cubicBezTo>
                  <a:pt x="57" y="48"/>
                  <a:pt x="57" y="140"/>
                  <a:pt x="57" y="140"/>
                </a:cubicBezTo>
                <a:cubicBezTo>
                  <a:pt x="57" y="147"/>
                  <a:pt x="63" y="153"/>
                  <a:pt x="70" y="153"/>
                </a:cubicBezTo>
                <a:cubicBezTo>
                  <a:pt x="160" y="153"/>
                  <a:pt x="160" y="153"/>
                  <a:pt x="160" y="153"/>
                </a:cubicBezTo>
                <a:cubicBezTo>
                  <a:pt x="167" y="153"/>
                  <a:pt x="172" y="148"/>
                  <a:pt x="173" y="141"/>
                </a:cubicBezTo>
                <a:cubicBezTo>
                  <a:pt x="173" y="139"/>
                  <a:pt x="175" y="103"/>
                  <a:pt x="155" y="81"/>
                </a:cubicBezTo>
                <a:cubicBezTo>
                  <a:pt x="144" y="70"/>
                  <a:pt x="130" y="64"/>
                  <a:pt x="113" y="64"/>
                </a:cubicBezTo>
                <a:cubicBezTo>
                  <a:pt x="106" y="64"/>
                  <a:pt x="100" y="70"/>
                  <a:pt x="100" y="77"/>
                </a:cubicBezTo>
                <a:cubicBezTo>
                  <a:pt x="100" y="84"/>
                  <a:pt x="106" y="90"/>
                  <a:pt x="113" y="90"/>
                </a:cubicBezTo>
                <a:cubicBezTo>
                  <a:pt x="123" y="90"/>
                  <a:pt x="130" y="93"/>
                  <a:pt x="135" y="99"/>
                </a:cubicBezTo>
                <a:cubicBezTo>
                  <a:pt x="142" y="106"/>
                  <a:pt x="145" y="117"/>
                  <a:pt x="146" y="126"/>
                </a:cubicBezTo>
                <a:cubicBezTo>
                  <a:pt x="129" y="126"/>
                  <a:pt x="99" y="126"/>
                  <a:pt x="84" y="126"/>
                </a:cubicBezTo>
                <a:cubicBezTo>
                  <a:pt x="84" y="105"/>
                  <a:pt x="84" y="13"/>
                  <a:pt x="84" y="13"/>
                </a:cubicBezTo>
                <a:cubicBezTo>
                  <a:pt x="84" y="6"/>
                  <a:pt x="78" y="0"/>
                  <a:pt x="70" y="0"/>
                </a:cubicBezTo>
                <a:lnTo>
                  <a:pt x="13" y="0"/>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09" name="TextBox 308"/>
          <p:cNvSpPr txBox="1"/>
          <p:nvPr userDrawn="1"/>
        </p:nvSpPr>
        <p:spPr>
          <a:xfrm>
            <a:off x="2292243" y="3463580"/>
            <a:ext cx="635869" cy="12311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Hotels</a:t>
            </a:r>
          </a:p>
        </p:txBody>
      </p:sp>
      <p:sp>
        <p:nvSpPr>
          <p:cNvPr id="310" name="Freeform 80"/>
          <p:cNvSpPr>
            <a:spLocks noChangeAspect="1"/>
          </p:cNvSpPr>
          <p:nvPr userDrawn="1"/>
        </p:nvSpPr>
        <p:spPr bwMode="auto">
          <a:xfrm>
            <a:off x="1494887" y="3004989"/>
            <a:ext cx="332363" cy="393192"/>
          </a:xfrm>
          <a:custGeom>
            <a:avLst/>
            <a:gdLst/>
            <a:ahLst/>
            <a:cxnLst>
              <a:cxn ang="0">
                <a:pos x="237" y="0"/>
              </a:cxn>
              <a:cxn ang="0">
                <a:pos x="200" y="37"/>
              </a:cxn>
              <a:cxn ang="0">
                <a:pos x="200" y="129"/>
              </a:cxn>
              <a:cxn ang="0">
                <a:pos x="199" y="132"/>
              </a:cxn>
              <a:cxn ang="0">
                <a:pos x="115" y="132"/>
              </a:cxn>
              <a:cxn ang="0">
                <a:pos x="115" y="130"/>
              </a:cxn>
              <a:cxn ang="0">
                <a:pos x="115" y="37"/>
              </a:cxn>
              <a:cxn ang="0">
                <a:pos x="78" y="1"/>
              </a:cxn>
              <a:cxn ang="0">
                <a:pos x="37" y="1"/>
              </a:cxn>
              <a:cxn ang="0">
                <a:pos x="0" y="37"/>
              </a:cxn>
              <a:cxn ang="0">
                <a:pos x="0" y="336"/>
              </a:cxn>
              <a:cxn ang="0">
                <a:pos x="11" y="362"/>
              </a:cxn>
              <a:cxn ang="0">
                <a:pos x="37" y="373"/>
              </a:cxn>
              <a:cxn ang="0">
                <a:pos x="78" y="373"/>
              </a:cxn>
              <a:cxn ang="0">
                <a:pos x="104" y="362"/>
              </a:cxn>
              <a:cxn ang="0">
                <a:pos x="115" y="337"/>
              </a:cxn>
              <a:cxn ang="0">
                <a:pos x="115" y="337"/>
              </a:cxn>
              <a:cxn ang="0">
                <a:pos x="115" y="336"/>
              </a:cxn>
              <a:cxn ang="0">
                <a:pos x="115" y="336"/>
              </a:cxn>
              <a:cxn ang="0">
                <a:pos x="115" y="336"/>
              </a:cxn>
              <a:cxn ang="0">
                <a:pos x="115" y="336"/>
              </a:cxn>
              <a:cxn ang="0">
                <a:pos x="115" y="336"/>
              </a:cxn>
              <a:cxn ang="0">
                <a:pos x="115" y="233"/>
              </a:cxn>
              <a:cxn ang="0">
                <a:pos x="116" y="229"/>
              </a:cxn>
              <a:cxn ang="0">
                <a:pos x="199" y="229"/>
              </a:cxn>
              <a:cxn ang="0">
                <a:pos x="200" y="232"/>
              </a:cxn>
              <a:cxn ang="0">
                <a:pos x="200" y="336"/>
              </a:cxn>
              <a:cxn ang="0">
                <a:pos x="200" y="336"/>
              </a:cxn>
              <a:cxn ang="0">
                <a:pos x="237" y="372"/>
              </a:cxn>
              <a:cxn ang="0">
                <a:pos x="278" y="372"/>
              </a:cxn>
              <a:cxn ang="0">
                <a:pos x="315" y="335"/>
              </a:cxn>
              <a:cxn ang="0">
                <a:pos x="315" y="100"/>
              </a:cxn>
              <a:cxn ang="0">
                <a:pos x="301" y="86"/>
              </a:cxn>
              <a:cxn ang="0">
                <a:pos x="288" y="100"/>
              </a:cxn>
              <a:cxn ang="0">
                <a:pos x="288" y="335"/>
              </a:cxn>
              <a:cxn ang="0">
                <a:pos x="278" y="345"/>
              </a:cxn>
              <a:cxn ang="0">
                <a:pos x="237" y="345"/>
              </a:cxn>
              <a:cxn ang="0">
                <a:pos x="227" y="335"/>
              </a:cxn>
              <a:cxn ang="0">
                <a:pos x="227" y="335"/>
              </a:cxn>
              <a:cxn ang="0">
                <a:pos x="227" y="232"/>
              </a:cxn>
              <a:cxn ang="0">
                <a:pos x="201" y="202"/>
              </a:cxn>
              <a:cxn ang="0">
                <a:pos x="114" y="202"/>
              </a:cxn>
              <a:cxn ang="0">
                <a:pos x="88" y="233"/>
              </a:cxn>
              <a:cxn ang="0">
                <a:pos x="88" y="336"/>
              </a:cxn>
              <a:cxn ang="0">
                <a:pos x="78" y="346"/>
              </a:cxn>
              <a:cxn ang="0">
                <a:pos x="37" y="346"/>
              </a:cxn>
              <a:cxn ang="0">
                <a:pos x="27" y="336"/>
              </a:cxn>
              <a:cxn ang="0">
                <a:pos x="27" y="37"/>
              </a:cxn>
              <a:cxn ang="0">
                <a:pos x="37" y="27"/>
              </a:cxn>
              <a:cxn ang="0">
                <a:pos x="78" y="27"/>
              </a:cxn>
              <a:cxn ang="0">
                <a:pos x="88" y="37"/>
              </a:cxn>
              <a:cxn ang="0">
                <a:pos x="88" y="130"/>
              </a:cxn>
              <a:cxn ang="0">
                <a:pos x="114" y="158"/>
              </a:cxn>
              <a:cxn ang="0">
                <a:pos x="201" y="158"/>
              </a:cxn>
              <a:cxn ang="0">
                <a:pos x="227" y="129"/>
              </a:cxn>
              <a:cxn ang="0">
                <a:pos x="227" y="37"/>
              </a:cxn>
              <a:cxn ang="0">
                <a:pos x="237" y="27"/>
              </a:cxn>
              <a:cxn ang="0">
                <a:pos x="289" y="27"/>
              </a:cxn>
              <a:cxn ang="0">
                <a:pos x="302" y="13"/>
              </a:cxn>
              <a:cxn ang="0">
                <a:pos x="289" y="0"/>
              </a:cxn>
              <a:cxn ang="0">
                <a:pos x="237" y="0"/>
              </a:cxn>
            </a:cxnLst>
            <a:rect l="0" t="0" r="r" b="b"/>
            <a:pathLst>
              <a:path w="315" h="373">
                <a:moveTo>
                  <a:pt x="237" y="0"/>
                </a:moveTo>
                <a:cubicBezTo>
                  <a:pt x="217" y="0"/>
                  <a:pt x="200" y="16"/>
                  <a:pt x="200" y="37"/>
                </a:cubicBezTo>
                <a:cubicBezTo>
                  <a:pt x="200" y="37"/>
                  <a:pt x="200" y="129"/>
                  <a:pt x="200" y="129"/>
                </a:cubicBezTo>
                <a:cubicBezTo>
                  <a:pt x="200" y="130"/>
                  <a:pt x="200" y="131"/>
                  <a:pt x="199" y="132"/>
                </a:cubicBezTo>
                <a:cubicBezTo>
                  <a:pt x="197" y="132"/>
                  <a:pt x="117" y="132"/>
                  <a:pt x="115" y="132"/>
                </a:cubicBezTo>
                <a:cubicBezTo>
                  <a:pt x="115" y="131"/>
                  <a:pt x="115" y="130"/>
                  <a:pt x="115" y="130"/>
                </a:cubicBezTo>
                <a:cubicBezTo>
                  <a:pt x="115" y="129"/>
                  <a:pt x="115" y="37"/>
                  <a:pt x="115" y="37"/>
                </a:cubicBezTo>
                <a:cubicBezTo>
                  <a:pt x="115" y="17"/>
                  <a:pt x="98" y="1"/>
                  <a:pt x="78" y="1"/>
                </a:cubicBezTo>
                <a:cubicBezTo>
                  <a:pt x="37" y="1"/>
                  <a:pt x="37" y="1"/>
                  <a:pt x="37" y="1"/>
                </a:cubicBezTo>
                <a:cubicBezTo>
                  <a:pt x="17" y="1"/>
                  <a:pt x="0" y="17"/>
                  <a:pt x="0" y="37"/>
                </a:cubicBezTo>
                <a:cubicBezTo>
                  <a:pt x="0" y="336"/>
                  <a:pt x="0" y="336"/>
                  <a:pt x="0" y="336"/>
                </a:cubicBezTo>
                <a:cubicBezTo>
                  <a:pt x="0" y="346"/>
                  <a:pt x="4" y="355"/>
                  <a:pt x="11" y="362"/>
                </a:cubicBezTo>
                <a:cubicBezTo>
                  <a:pt x="18" y="369"/>
                  <a:pt x="27" y="373"/>
                  <a:pt x="37" y="373"/>
                </a:cubicBezTo>
                <a:cubicBezTo>
                  <a:pt x="78" y="373"/>
                  <a:pt x="78" y="373"/>
                  <a:pt x="78" y="373"/>
                </a:cubicBezTo>
                <a:cubicBezTo>
                  <a:pt x="87" y="373"/>
                  <a:pt x="97" y="369"/>
                  <a:pt x="104" y="362"/>
                </a:cubicBezTo>
                <a:cubicBezTo>
                  <a:pt x="111" y="355"/>
                  <a:pt x="114" y="346"/>
                  <a:pt x="115" y="337"/>
                </a:cubicBezTo>
                <a:cubicBezTo>
                  <a:pt x="115" y="337"/>
                  <a:pt x="115" y="337"/>
                  <a:pt x="115" y="337"/>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6"/>
                  <a:pt x="115" y="336"/>
                  <a:pt x="115" y="336"/>
                </a:cubicBezTo>
                <a:cubicBezTo>
                  <a:pt x="115" y="335"/>
                  <a:pt x="115" y="233"/>
                  <a:pt x="115" y="233"/>
                </a:cubicBezTo>
                <a:cubicBezTo>
                  <a:pt x="115" y="232"/>
                  <a:pt x="115" y="230"/>
                  <a:pt x="116" y="229"/>
                </a:cubicBezTo>
                <a:cubicBezTo>
                  <a:pt x="118" y="229"/>
                  <a:pt x="197" y="229"/>
                  <a:pt x="199" y="229"/>
                </a:cubicBezTo>
                <a:cubicBezTo>
                  <a:pt x="200" y="230"/>
                  <a:pt x="200" y="231"/>
                  <a:pt x="200" y="232"/>
                </a:cubicBezTo>
                <a:cubicBezTo>
                  <a:pt x="200" y="232"/>
                  <a:pt x="200" y="336"/>
                  <a:pt x="200" y="336"/>
                </a:cubicBezTo>
                <a:cubicBezTo>
                  <a:pt x="200" y="336"/>
                  <a:pt x="200" y="336"/>
                  <a:pt x="200" y="336"/>
                </a:cubicBezTo>
                <a:cubicBezTo>
                  <a:pt x="200" y="356"/>
                  <a:pt x="217" y="372"/>
                  <a:pt x="237" y="372"/>
                </a:cubicBezTo>
                <a:cubicBezTo>
                  <a:pt x="278" y="372"/>
                  <a:pt x="278" y="372"/>
                  <a:pt x="278" y="372"/>
                </a:cubicBezTo>
                <a:cubicBezTo>
                  <a:pt x="298" y="372"/>
                  <a:pt x="315" y="356"/>
                  <a:pt x="315" y="335"/>
                </a:cubicBezTo>
                <a:cubicBezTo>
                  <a:pt x="315" y="100"/>
                  <a:pt x="315" y="100"/>
                  <a:pt x="315" y="100"/>
                </a:cubicBezTo>
                <a:cubicBezTo>
                  <a:pt x="315" y="92"/>
                  <a:pt x="309" y="86"/>
                  <a:pt x="301" y="86"/>
                </a:cubicBezTo>
                <a:cubicBezTo>
                  <a:pt x="294" y="86"/>
                  <a:pt x="288" y="92"/>
                  <a:pt x="288" y="100"/>
                </a:cubicBezTo>
                <a:cubicBezTo>
                  <a:pt x="288" y="335"/>
                  <a:pt x="288" y="335"/>
                  <a:pt x="288" y="335"/>
                </a:cubicBezTo>
                <a:cubicBezTo>
                  <a:pt x="288" y="341"/>
                  <a:pt x="283" y="345"/>
                  <a:pt x="278" y="345"/>
                </a:cubicBezTo>
                <a:cubicBezTo>
                  <a:pt x="237" y="345"/>
                  <a:pt x="237" y="345"/>
                  <a:pt x="237" y="345"/>
                </a:cubicBezTo>
                <a:cubicBezTo>
                  <a:pt x="231" y="345"/>
                  <a:pt x="227" y="341"/>
                  <a:pt x="227" y="335"/>
                </a:cubicBezTo>
                <a:cubicBezTo>
                  <a:pt x="227" y="335"/>
                  <a:pt x="227" y="335"/>
                  <a:pt x="227" y="335"/>
                </a:cubicBezTo>
                <a:cubicBezTo>
                  <a:pt x="227" y="334"/>
                  <a:pt x="227" y="232"/>
                  <a:pt x="227" y="232"/>
                </a:cubicBezTo>
                <a:cubicBezTo>
                  <a:pt x="227" y="217"/>
                  <a:pt x="218" y="202"/>
                  <a:pt x="201" y="202"/>
                </a:cubicBezTo>
                <a:cubicBezTo>
                  <a:pt x="114" y="202"/>
                  <a:pt x="114" y="202"/>
                  <a:pt x="114" y="202"/>
                </a:cubicBezTo>
                <a:cubicBezTo>
                  <a:pt x="97" y="202"/>
                  <a:pt x="88" y="217"/>
                  <a:pt x="88" y="233"/>
                </a:cubicBezTo>
                <a:cubicBezTo>
                  <a:pt x="88" y="233"/>
                  <a:pt x="88" y="335"/>
                  <a:pt x="88" y="336"/>
                </a:cubicBezTo>
                <a:cubicBezTo>
                  <a:pt x="88" y="342"/>
                  <a:pt x="83" y="346"/>
                  <a:pt x="78" y="346"/>
                </a:cubicBezTo>
                <a:cubicBezTo>
                  <a:pt x="37" y="346"/>
                  <a:pt x="37" y="346"/>
                  <a:pt x="37" y="346"/>
                </a:cubicBezTo>
                <a:cubicBezTo>
                  <a:pt x="31" y="346"/>
                  <a:pt x="27" y="342"/>
                  <a:pt x="27" y="336"/>
                </a:cubicBezTo>
                <a:cubicBezTo>
                  <a:pt x="27" y="37"/>
                  <a:pt x="27" y="37"/>
                  <a:pt x="27" y="37"/>
                </a:cubicBezTo>
                <a:cubicBezTo>
                  <a:pt x="27" y="32"/>
                  <a:pt x="31" y="27"/>
                  <a:pt x="37" y="27"/>
                </a:cubicBezTo>
                <a:cubicBezTo>
                  <a:pt x="78" y="27"/>
                  <a:pt x="78" y="27"/>
                  <a:pt x="78" y="27"/>
                </a:cubicBezTo>
                <a:cubicBezTo>
                  <a:pt x="83" y="27"/>
                  <a:pt x="88" y="32"/>
                  <a:pt x="88" y="37"/>
                </a:cubicBezTo>
                <a:cubicBezTo>
                  <a:pt x="88" y="130"/>
                  <a:pt x="88" y="130"/>
                  <a:pt x="88" y="130"/>
                </a:cubicBezTo>
                <a:cubicBezTo>
                  <a:pt x="88" y="144"/>
                  <a:pt x="97" y="158"/>
                  <a:pt x="114" y="158"/>
                </a:cubicBezTo>
                <a:cubicBezTo>
                  <a:pt x="201" y="158"/>
                  <a:pt x="201" y="158"/>
                  <a:pt x="201" y="158"/>
                </a:cubicBezTo>
                <a:cubicBezTo>
                  <a:pt x="218" y="158"/>
                  <a:pt x="227" y="144"/>
                  <a:pt x="227" y="129"/>
                </a:cubicBezTo>
                <a:cubicBezTo>
                  <a:pt x="227" y="37"/>
                  <a:pt x="227" y="37"/>
                  <a:pt x="227" y="37"/>
                </a:cubicBezTo>
                <a:cubicBezTo>
                  <a:pt x="227" y="31"/>
                  <a:pt x="231" y="27"/>
                  <a:pt x="237" y="27"/>
                </a:cubicBezTo>
                <a:cubicBezTo>
                  <a:pt x="289" y="27"/>
                  <a:pt x="289" y="27"/>
                  <a:pt x="289" y="27"/>
                </a:cubicBezTo>
                <a:cubicBezTo>
                  <a:pt x="296" y="27"/>
                  <a:pt x="302" y="21"/>
                  <a:pt x="302" y="13"/>
                </a:cubicBezTo>
                <a:cubicBezTo>
                  <a:pt x="302" y="6"/>
                  <a:pt x="296" y="0"/>
                  <a:pt x="289" y="0"/>
                </a:cubicBezTo>
                <a:lnTo>
                  <a:pt x="237" y="0"/>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11" name="TextBox 310"/>
          <p:cNvSpPr txBox="1"/>
          <p:nvPr userDrawn="1"/>
        </p:nvSpPr>
        <p:spPr>
          <a:xfrm>
            <a:off x="1283714" y="3463580"/>
            <a:ext cx="769927" cy="12311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Healthcare</a:t>
            </a:r>
          </a:p>
        </p:txBody>
      </p:sp>
      <p:sp>
        <p:nvSpPr>
          <p:cNvPr id="312" name="Freeform 100"/>
          <p:cNvSpPr>
            <a:spLocks noChangeAspect="1"/>
          </p:cNvSpPr>
          <p:nvPr userDrawn="1"/>
        </p:nvSpPr>
        <p:spPr bwMode="auto">
          <a:xfrm>
            <a:off x="3418413" y="2874444"/>
            <a:ext cx="330960" cy="523747"/>
          </a:xfrm>
          <a:custGeom>
            <a:avLst/>
            <a:gdLst/>
            <a:ahLst/>
            <a:cxnLst>
              <a:cxn ang="0">
                <a:pos x="116" y="75"/>
              </a:cxn>
              <a:cxn ang="0">
                <a:pos x="46" y="287"/>
              </a:cxn>
              <a:cxn ang="0">
                <a:pos x="131" y="323"/>
              </a:cxn>
              <a:cxn ang="0">
                <a:pos x="148" y="314"/>
              </a:cxn>
              <a:cxn ang="0">
                <a:pos x="157" y="229"/>
              </a:cxn>
              <a:cxn ang="0">
                <a:pos x="144" y="189"/>
              </a:cxn>
              <a:cxn ang="0">
                <a:pos x="181" y="184"/>
              </a:cxn>
              <a:cxn ang="0">
                <a:pos x="185" y="220"/>
              </a:cxn>
              <a:cxn ang="0">
                <a:pos x="204" y="302"/>
              </a:cxn>
              <a:cxn ang="0">
                <a:pos x="125" y="348"/>
              </a:cxn>
              <a:cxn ang="0">
                <a:pos x="32" y="337"/>
              </a:cxn>
              <a:cxn ang="0">
                <a:pos x="4" y="453"/>
              </a:cxn>
              <a:cxn ang="0">
                <a:pos x="276" y="459"/>
              </a:cxn>
              <a:cxn ang="0">
                <a:pos x="276" y="432"/>
              </a:cxn>
              <a:cxn ang="0">
                <a:pos x="54" y="357"/>
              </a:cxn>
              <a:cxn ang="0">
                <a:pos x="187" y="365"/>
              </a:cxn>
              <a:cxn ang="0">
                <a:pos x="233" y="285"/>
              </a:cxn>
              <a:cxn ang="0">
                <a:pos x="217" y="205"/>
              </a:cxn>
              <a:cxn ang="0">
                <a:pos x="197" y="163"/>
              </a:cxn>
              <a:cxn ang="0">
                <a:pos x="123" y="173"/>
              </a:cxn>
              <a:cxn ang="0">
                <a:pos x="113" y="211"/>
              </a:cxn>
              <a:cxn ang="0">
                <a:pos x="125" y="294"/>
              </a:cxn>
              <a:cxn ang="0">
                <a:pos x="122" y="104"/>
              </a:cxn>
              <a:cxn ang="0">
                <a:pos x="155" y="32"/>
              </a:cxn>
              <a:cxn ang="0">
                <a:pos x="163" y="101"/>
              </a:cxn>
              <a:cxn ang="0">
                <a:pos x="172" y="117"/>
              </a:cxn>
              <a:cxn ang="0">
                <a:pos x="169" y="132"/>
              </a:cxn>
              <a:cxn ang="0">
                <a:pos x="195" y="136"/>
              </a:cxn>
              <a:cxn ang="0">
                <a:pos x="202" y="108"/>
              </a:cxn>
              <a:cxn ang="0">
                <a:pos x="193" y="95"/>
              </a:cxn>
              <a:cxn ang="0">
                <a:pos x="210" y="29"/>
              </a:cxn>
              <a:cxn ang="0">
                <a:pos x="200" y="16"/>
              </a:cxn>
              <a:cxn ang="0">
                <a:pos x="133" y="12"/>
              </a:cxn>
            </a:cxnLst>
            <a:rect l="0" t="0" r="r" b="b"/>
            <a:pathLst>
              <a:path w="290" h="459">
                <a:moveTo>
                  <a:pt x="133" y="12"/>
                </a:moveTo>
                <a:cubicBezTo>
                  <a:pt x="133" y="12"/>
                  <a:pt x="121" y="57"/>
                  <a:pt x="116" y="75"/>
                </a:cubicBezTo>
                <a:cubicBezTo>
                  <a:pt x="109" y="73"/>
                  <a:pt x="102" y="77"/>
                  <a:pt x="100" y="84"/>
                </a:cubicBezTo>
                <a:cubicBezTo>
                  <a:pt x="46" y="287"/>
                  <a:pt x="46" y="287"/>
                  <a:pt x="46" y="287"/>
                </a:cubicBezTo>
                <a:cubicBezTo>
                  <a:pt x="44" y="294"/>
                  <a:pt x="48" y="301"/>
                  <a:pt x="55" y="303"/>
                </a:cubicBezTo>
                <a:cubicBezTo>
                  <a:pt x="131" y="323"/>
                  <a:pt x="131" y="323"/>
                  <a:pt x="131" y="323"/>
                </a:cubicBezTo>
                <a:cubicBezTo>
                  <a:pt x="135" y="324"/>
                  <a:pt x="138" y="324"/>
                  <a:pt x="141" y="322"/>
                </a:cubicBezTo>
                <a:cubicBezTo>
                  <a:pt x="144" y="320"/>
                  <a:pt x="147" y="317"/>
                  <a:pt x="148" y="314"/>
                </a:cubicBezTo>
                <a:cubicBezTo>
                  <a:pt x="166" y="245"/>
                  <a:pt x="166" y="245"/>
                  <a:pt x="166" y="245"/>
                </a:cubicBezTo>
                <a:cubicBezTo>
                  <a:pt x="168" y="238"/>
                  <a:pt x="164" y="231"/>
                  <a:pt x="157" y="229"/>
                </a:cubicBezTo>
                <a:cubicBezTo>
                  <a:pt x="147" y="226"/>
                  <a:pt x="140" y="218"/>
                  <a:pt x="139" y="208"/>
                </a:cubicBezTo>
                <a:cubicBezTo>
                  <a:pt x="138" y="201"/>
                  <a:pt x="140" y="194"/>
                  <a:pt x="144" y="189"/>
                </a:cubicBezTo>
                <a:cubicBezTo>
                  <a:pt x="150" y="182"/>
                  <a:pt x="159" y="178"/>
                  <a:pt x="168" y="179"/>
                </a:cubicBezTo>
                <a:cubicBezTo>
                  <a:pt x="173" y="179"/>
                  <a:pt x="177" y="181"/>
                  <a:pt x="181" y="184"/>
                </a:cubicBezTo>
                <a:cubicBezTo>
                  <a:pt x="186" y="188"/>
                  <a:pt x="190" y="194"/>
                  <a:pt x="191" y="201"/>
                </a:cubicBezTo>
                <a:cubicBezTo>
                  <a:pt x="191" y="208"/>
                  <a:pt x="190" y="215"/>
                  <a:pt x="185" y="220"/>
                </a:cubicBezTo>
                <a:cubicBezTo>
                  <a:pt x="181" y="226"/>
                  <a:pt x="182" y="233"/>
                  <a:pt x="187" y="238"/>
                </a:cubicBezTo>
                <a:cubicBezTo>
                  <a:pt x="204" y="255"/>
                  <a:pt x="211" y="279"/>
                  <a:pt x="204" y="302"/>
                </a:cubicBezTo>
                <a:cubicBezTo>
                  <a:pt x="200" y="319"/>
                  <a:pt x="189" y="333"/>
                  <a:pt x="174" y="342"/>
                </a:cubicBezTo>
                <a:cubicBezTo>
                  <a:pt x="159" y="350"/>
                  <a:pt x="141" y="353"/>
                  <a:pt x="125" y="348"/>
                </a:cubicBezTo>
                <a:cubicBezTo>
                  <a:pt x="49" y="328"/>
                  <a:pt x="49" y="328"/>
                  <a:pt x="49" y="328"/>
                </a:cubicBezTo>
                <a:cubicBezTo>
                  <a:pt x="42" y="326"/>
                  <a:pt x="35" y="330"/>
                  <a:pt x="32" y="337"/>
                </a:cubicBezTo>
                <a:cubicBezTo>
                  <a:pt x="2" y="442"/>
                  <a:pt x="2" y="442"/>
                  <a:pt x="2" y="442"/>
                </a:cubicBezTo>
                <a:cubicBezTo>
                  <a:pt x="0" y="446"/>
                  <a:pt x="1" y="450"/>
                  <a:pt x="4" y="453"/>
                </a:cubicBezTo>
                <a:cubicBezTo>
                  <a:pt x="6" y="457"/>
                  <a:pt x="10" y="459"/>
                  <a:pt x="14" y="459"/>
                </a:cubicBezTo>
                <a:cubicBezTo>
                  <a:pt x="276" y="459"/>
                  <a:pt x="276" y="459"/>
                  <a:pt x="276" y="459"/>
                </a:cubicBezTo>
                <a:cubicBezTo>
                  <a:pt x="284" y="459"/>
                  <a:pt x="290" y="453"/>
                  <a:pt x="290" y="445"/>
                </a:cubicBezTo>
                <a:cubicBezTo>
                  <a:pt x="290" y="438"/>
                  <a:pt x="284" y="432"/>
                  <a:pt x="276" y="432"/>
                </a:cubicBezTo>
                <a:cubicBezTo>
                  <a:pt x="276" y="432"/>
                  <a:pt x="63" y="432"/>
                  <a:pt x="32" y="432"/>
                </a:cubicBezTo>
                <a:cubicBezTo>
                  <a:pt x="38" y="412"/>
                  <a:pt x="50" y="373"/>
                  <a:pt x="54" y="357"/>
                </a:cubicBezTo>
                <a:cubicBezTo>
                  <a:pt x="72" y="362"/>
                  <a:pt x="118" y="374"/>
                  <a:pt x="118" y="374"/>
                </a:cubicBezTo>
                <a:cubicBezTo>
                  <a:pt x="141" y="380"/>
                  <a:pt x="166" y="377"/>
                  <a:pt x="187" y="365"/>
                </a:cubicBezTo>
                <a:cubicBezTo>
                  <a:pt x="209" y="352"/>
                  <a:pt x="224" y="333"/>
                  <a:pt x="230" y="309"/>
                </a:cubicBezTo>
                <a:cubicBezTo>
                  <a:pt x="232" y="301"/>
                  <a:pt x="233" y="293"/>
                  <a:pt x="233" y="285"/>
                </a:cubicBezTo>
                <a:cubicBezTo>
                  <a:pt x="233" y="264"/>
                  <a:pt x="226" y="243"/>
                  <a:pt x="213" y="227"/>
                </a:cubicBezTo>
                <a:cubicBezTo>
                  <a:pt x="216" y="220"/>
                  <a:pt x="217" y="212"/>
                  <a:pt x="217" y="205"/>
                </a:cubicBezTo>
                <a:cubicBezTo>
                  <a:pt x="217" y="202"/>
                  <a:pt x="217" y="200"/>
                  <a:pt x="217" y="198"/>
                </a:cubicBezTo>
                <a:cubicBezTo>
                  <a:pt x="215" y="184"/>
                  <a:pt x="208" y="171"/>
                  <a:pt x="197" y="163"/>
                </a:cubicBezTo>
                <a:cubicBezTo>
                  <a:pt x="189" y="157"/>
                  <a:pt x="181" y="154"/>
                  <a:pt x="171" y="152"/>
                </a:cubicBezTo>
                <a:cubicBezTo>
                  <a:pt x="153" y="150"/>
                  <a:pt x="134" y="158"/>
                  <a:pt x="123" y="173"/>
                </a:cubicBezTo>
                <a:cubicBezTo>
                  <a:pt x="116" y="182"/>
                  <a:pt x="112" y="193"/>
                  <a:pt x="112" y="205"/>
                </a:cubicBezTo>
                <a:cubicBezTo>
                  <a:pt x="112" y="207"/>
                  <a:pt x="112" y="209"/>
                  <a:pt x="113" y="211"/>
                </a:cubicBezTo>
                <a:cubicBezTo>
                  <a:pt x="115" y="227"/>
                  <a:pt x="124" y="241"/>
                  <a:pt x="137" y="249"/>
                </a:cubicBezTo>
                <a:cubicBezTo>
                  <a:pt x="134" y="261"/>
                  <a:pt x="129" y="280"/>
                  <a:pt x="125" y="294"/>
                </a:cubicBezTo>
                <a:cubicBezTo>
                  <a:pt x="111" y="290"/>
                  <a:pt x="89" y="284"/>
                  <a:pt x="75" y="281"/>
                </a:cubicBezTo>
                <a:cubicBezTo>
                  <a:pt x="81" y="260"/>
                  <a:pt x="117" y="125"/>
                  <a:pt x="122" y="104"/>
                </a:cubicBezTo>
                <a:cubicBezTo>
                  <a:pt x="130" y="106"/>
                  <a:pt x="137" y="102"/>
                  <a:pt x="139" y="95"/>
                </a:cubicBezTo>
                <a:cubicBezTo>
                  <a:pt x="139" y="95"/>
                  <a:pt x="151" y="49"/>
                  <a:pt x="155" y="32"/>
                </a:cubicBezTo>
                <a:cubicBezTo>
                  <a:pt x="165" y="34"/>
                  <a:pt x="171" y="36"/>
                  <a:pt x="180" y="38"/>
                </a:cubicBezTo>
                <a:cubicBezTo>
                  <a:pt x="176" y="56"/>
                  <a:pt x="163" y="101"/>
                  <a:pt x="163" y="101"/>
                </a:cubicBezTo>
                <a:cubicBezTo>
                  <a:pt x="163" y="102"/>
                  <a:pt x="163" y="104"/>
                  <a:pt x="163" y="105"/>
                </a:cubicBezTo>
                <a:cubicBezTo>
                  <a:pt x="163" y="110"/>
                  <a:pt x="167" y="116"/>
                  <a:pt x="172" y="117"/>
                </a:cubicBezTo>
                <a:cubicBezTo>
                  <a:pt x="171" y="123"/>
                  <a:pt x="169" y="128"/>
                  <a:pt x="169" y="128"/>
                </a:cubicBezTo>
                <a:cubicBezTo>
                  <a:pt x="169" y="130"/>
                  <a:pt x="169" y="131"/>
                  <a:pt x="169" y="132"/>
                </a:cubicBezTo>
                <a:cubicBezTo>
                  <a:pt x="169" y="138"/>
                  <a:pt x="172" y="143"/>
                  <a:pt x="178" y="145"/>
                </a:cubicBezTo>
                <a:cubicBezTo>
                  <a:pt x="185" y="147"/>
                  <a:pt x="193" y="143"/>
                  <a:pt x="195" y="136"/>
                </a:cubicBezTo>
                <a:cubicBezTo>
                  <a:pt x="202" y="112"/>
                  <a:pt x="202" y="112"/>
                  <a:pt x="202" y="112"/>
                </a:cubicBezTo>
                <a:cubicBezTo>
                  <a:pt x="202" y="111"/>
                  <a:pt x="202" y="109"/>
                  <a:pt x="202" y="108"/>
                </a:cubicBezTo>
                <a:cubicBezTo>
                  <a:pt x="202" y="106"/>
                  <a:pt x="202" y="104"/>
                  <a:pt x="201" y="102"/>
                </a:cubicBezTo>
                <a:cubicBezTo>
                  <a:pt x="199" y="98"/>
                  <a:pt x="196" y="96"/>
                  <a:pt x="193" y="95"/>
                </a:cubicBezTo>
                <a:cubicBezTo>
                  <a:pt x="197" y="78"/>
                  <a:pt x="209" y="32"/>
                  <a:pt x="209" y="32"/>
                </a:cubicBezTo>
                <a:cubicBezTo>
                  <a:pt x="210" y="31"/>
                  <a:pt x="210" y="30"/>
                  <a:pt x="210" y="29"/>
                </a:cubicBezTo>
                <a:cubicBezTo>
                  <a:pt x="210" y="26"/>
                  <a:pt x="209" y="24"/>
                  <a:pt x="208" y="22"/>
                </a:cubicBezTo>
                <a:cubicBezTo>
                  <a:pt x="206" y="19"/>
                  <a:pt x="203" y="17"/>
                  <a:pt x="200" y="16"/>
                </a:cubicBezTo>
                <a:cubicBezTo>
                  <a:pt x="149" y="2"/>
                  <a:pt x="149" y="2"/>
                  <a:pt x="149" y="2"/>
                </a:cubicBezTo>
                <a:cubicBezTo>
                  <a:pt x="142" y="0"/>
                  <a:pt x="135" y="5"/>
                  <a:pt x="133" y="12"/>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13" name="TextBox 312"/>
          <p:cNvSpPr txBox="1"/>
          <p:nvPr userDrawn="1"/>
        </p:nvSpPr>
        <p:spPr>
          <a:xfrm>
            <a:off x="3286803" y="3463580"/>
            <a:ext cx="523058" cy="246221"/>
          </a:xfrm>
          <a:prstGeom prst="rect">
            <a:avLst/>
          </a:prstGeom>
          <a:noFill/>
        </p:spPr>
        <p:txBody>
          <a:bodyPr wrap="square" lIns="0" tIns="0" rIns="0" bIns="0" rtlCol="0" anchor="t" anchorCtr="0">
            <a:spAutoFit/>
          </a:bodyPr>
          <a:lstStyle/>
          <a:p>
            <a:pPr algn="ctr"/>
            <a:r>
              <a:rPr lang="en-US" sz="800" b="1" dirty="0">
                <a:solidFill>
                  <a:prstClr val="white"/>
                </a:solidFill>
                <a:cs typeface="Arial" pitchFamily="34" charset="0"/>
              </a:rPr>
              <a:t>Life</a:t>
            </a:r>
            <a:br>
              <a:rPr lang="en-US" sz="800" b="1" dirty="0">
                <a:solidFill>
                  <a:prstClr val="white"/>
                </a:solidFill>
                <a:cs typeface="Arial" pitchFamily="34" charset="0"/>
              </a:rPr>
            </a:br>
            <a:r>
              <a:rPr lang="en-US" sz="800" b="1" dirty="0">
                <a:solidFill>
                  <a:prstClr val="white"/>
                </a:solidFill>
                <a:cs typeface="Arial" pitchFamily="34" charset="0"/>
              </a:rPr>
              <a:t>sciences</a:t>
            </a:r>
          </a:p>
        </p:txBody>
      </p:sp>
      <p:sp>
        <p:nvSpPr>
          <p:cNvPr id="314" name="Freeform 104"/>
          <p:cNvSpPr>
            <a:spLocks noChangeAspect="1"/>
          </p:cNvSpPr>
          <p:nvPr userDrawn="1"/>
        </p:nvSpPr>
        <p:spPr bwMode="auto">
          <a:xfrm>
            <a:off x="2359069" y="3733696"/>
            <a:ext cx="479233" cy="479229"/>
          </a:xfrm>
          <a:custGeom>
            <a:avLst/>
            <a:gdLst/>
            <a:ahLst/>
            <a:cxnLst>
              <a:cxn ang="0">
                <a:pos x="0" y="38"/>
              </a:cxn>
              <a:cxn ang="0">
                <a:pos x="3" y="55"/>
              </a:cxn>
              <a:cxn ang="0">
                <a:pos x="69" y="253"/>
              </a:cxn>
              <a:cxn ang="0">
                <a:pos x="95" y="253"/>
              </a:cxn>
              <a:cxn ang="0">
                <a:pos x="94" y="173"/>
              </a:cxn>
              <a:cxn ang="0">
                <a:pos x="26" y="38"/>
              </a:cxn>
              <a:cxn ang="0">
                <a:pos x="38" y="26"/>
              </a:cxn>
              <a:cxn ang="0">
                <a:pos x="50" y="34"/>
              </a:cxn>
              <a:cxn ang="0">
                <a:pos x="105" y="142"/>
              </a:cxn>
              <a:cxn ang="0">
                <a:pos x="338" y="305"/>
              </a:cxn>
              <a:cxn ang="0">
                <a:pos x="68" y="318"/>
              </a:cxn>
              <a:cxn ang="0">
                <a:pos x="82" y="386"/>
              </a:cxn>
              <a:cxn ang="0">
                <a:pos x="93" y="394"/>
              </a:cxn>
              <a:cxn ang="0">
                <a:pos x="131" y="433"/>
              </a:cxn>
              <a:cxn ang="0">
                <a:pos x="169" y="386"/>
              </a:cxn>
              <a:cxn ang="0">
                <a:pos x="281" y="394"/>
              </a:cxn>
              <a:cxn ang="0">
                <a:pos x="358" y="394"/>
              </a:cxn>
              <a:cxn ang="0">
                <a:pos x="323" y="364"/>
              </a:cxn>
              <a:cxn ang="0">
                <a:pos x="331" y="394"/>
              </a:cxn>
              <a:cxn ang="0">
                <a:pos x="319" y="406"/>
              </a:cxn>
              <a:cxn ang="0">
                <a:pos x="308" y="394"/>
              </a:cxn>
              <a:cxn ang="0">
                <a:pos x="311" y="365"/>
              </a:cxn>
              <a:cxn ang="0">
                <a:pos x="151" y="359"/>
              </a:cxn>
              <a:cxn ang="0">
                <a:pos x="139" y="377"/>
              </a:cxn>
              <a:cxn ang="0">
                <a:pos x="140" y="403"/>
              </a:cxn>
              <a:cxn ang="0">
                <a:pos x="123" y="403"/>
              </a:cxn>
              <a:cxn ang="0">
                <a:pos x="122" y="382"/>
              </a:cxn>
              <a:cxn ang="0">
                <a:pos x="114" y="359"/>
              </a:cxn>
              <a:cxn ang="0">
                <a:pos x="95" y="331"/>
              </a:cxn>
              <a:cxn ang="0">
                <a:pos x="359" y="323"/>
              </a:cxn>
              <a:cxn ang="0">
                <a:pos x="432" y="129"/>
              </a:cxn>
              <a:cxn ang="0">
                <a:pos x="418" y="115"/>
              </a:cxn>
              <a:cxn ang="0">
                <a:pos x="74" y="24"/>
              </a:cxn>
              <a:cxn ang="0">
                <a:pos x="38" y="0"/>
              </a:cxn>
            </a:cxnLst>
            <a:rect l="0" t="0" r="r" b="b"/>
            <a:pathLst>
              <a:path w="432" h="433">
                <a:moveTo>
                  <a:pt x="11" y="11"/>
                </a:moveTo>
                <a:cubicBezTo>
                  <a:pt x="4" y="18"/>
                  <a:pt x="0" y="28"/>
                  <a:pt x="0" y="38"/>
                </a:cubicBezTo>
                <a:cubicBezTo>
                  <a:pt x="0" y="44"/>
                  <a:pt x="1" y="49"/>
                  <a:pt x="3" y="54"/>
                </a:cubicBezTo>
                <a:cubicBezTo>
                  <a:pt x="3" y="54"/>
                  <a:pt x="3" y="55"/>
                  <a:pt x="3" y="55"/>
                </a:cubicBezTo>
                <a:cubicBezTo>
                  <a:pt x="3" y="55"/>
                  <a:pt x="66" y="177"/>
                  <a:pt x="69" y="182"/>
                </a:cubicBezTo>
                <a:cubicBezTo>
                  <a:pt x="69" y="188"/>
                  <a:pt x="69" y="253"/>
                  <a:pt x="69" y="253"/>
                </a:cubicBezTo>
                <a:cubicBezTo>
                  <a:pt x="69" y="261"/>
                  <a:pt x="74" y="267"/>
                  <a:pt x="82" y="267"/>
                </a:cubicBezTo>
                <a:cubicBezTo>
                  <a:pt x="89" y="267"/>
                  <a:pt x="95" y="261"/>
                  <a:pt x="95" y="253"/>
                </a:cubicBezTo>
                <a:cubicBezTo>
                  <a:pt x="95" y="179"/>
                  <a:pt x="95" y="179"/>
                  <a:pt x="95" y="179"/>
                </a:cubicBezTo>
                <a:cubicBezTo>
                  <a:pt x="95" y="177"/>
                  <a:pt x="95" y="175"/>
                  <a:pt x="94" y="173"/>
                </a:cubicBezTo>
                <a:cubicBezTo>
                  <a:pt x="94" y="173"/>
                  <a:pt x="28" y="44"/>
                  <a:pt x="27" y="43"/>
                </a:cubicBezTo>
                <a:cubicBezTo>
                  <a:pt x="27" y="42"/>
                  <a:pt x="26" y="40"/>
                  <a:pt x="26" y="38"/>
                </a:cubicBezTo>
                <a:cubicBezTo>
                  <a:pt x="26" y="35"/>
                  <a:pt x="28" y="32"/>
                  <a:pt x="30" y="30"/>
                </a:cubicBezTo>
                <a:cubicBezTo>
                  <a:pt x="32" y="28"/>
                  <a:pt x="35" y="26"/>
                  <a:pt x="38" y="26"/>
                </a:cubicBezTo>
                <a:cubicBezTo>
                  <a:pt x="43" y="26"/>
                  <a:pt x="48" y="29"/>
                  <a:pt x="49" y="34"/>
                </a:cubicBezTo>
                <a:cubicBezTo>
                  <a:pt x="49" y="34"/>
                  <a:pt x="50" y="34"/>
                  <a:pt x="50" y="34"/>
                </a:cubicBezTo>
                <a:cubicBezTo>
                  <a:pt x="93" y="134"/>
                  <a:pt x="93" y="134"/>
                  <a:pt x="93" y="134"/>
                </a:cubicBezTo>
                <a:cubicBezTo>
                  <a:pt x="95" y="139"/>
                  <a:pt x="100" y="142"/>
                  <a:pt x="105" y="142"/>
                </a:cubicBezTo>
                <a:cubicBezTo>
                  <a:pt x="105" y="142"/>
                  <a:pt x="365" y="142"/>
                  <a:pt x="399" y="142"/>
                </a:cubicBezTo>
                <a:cubicBezTo>
                  <a:pt x="388" y="170"/>
                  <a:pt x="343" y="291"/>
                  <a:pt x="338" y="305"/>
                </a:cubicBezTo>
                <a:cubicBezTo>
                  <a:pt x="320" y="305"/>
                  <a:pt x="82" y="305"/>
                  <a:pt x="82" y="305"/>
                </a:cubicBezTo>
                <a:cubicBezTo>
                  <a:pt x="74" y="305"/>
                  <a:pt x="68" y="311"/>
                  <a:pt x="68" y="318"/>
                </a:cubicBezTo>
                <a:cubicBezTo>
                  <a:pt x="68" y="372"/>
                  <a:pt x="68" y="372"/>
                  <a:pt x="68" y="372"/>
                </a:cubicBezTo>
                <a:cubicBezTo>
                  <a:pt x="68" y="380"/>
                  <a:pt x="74" y="386"/>
                  <a:pt x="82" y="386"/>
                </a:cubicBezTo>
                <a:cubicBezTo>
                  <a:pt x="82" y="386"/>
                  <a:pt x="88" y="386"/>
                  <a:pt x="93" y="386"/>
                </a:cubicBezTo>
                <a:cubicBezTo>
                  <a:pt x="93" y="389"/>
                  <a:pt x="93" y="393"/>
                  <a:pt x="93" y="394"/>
                </a:cubicBezTo>
                <a:cubicBezTo>
                  <a:pt x="93" y="405"/>
                  <a:pt x="97" y="414"/>
                  <a:pt x="104" y="422"/>
                </a:cubicBezTo>
                <a:cubicBezTo>
                  <a:pt x="111" y="429"/>
                  <a:pt x="121" y="433"/>
                  <a:pt x="131" y="433"/>
                </a:cubicBezTo>
                <a:cubicBezTo>
                  <a:pt x="152" y="433"/>
                  <a:pt x="170" y="416"/>
                  <a:pt x="170" y="394"/>
                </a:cubicBezTo>
                <a:cubicBezTo>
                  <a:pt x="170" y="392"/>
                  <a:pt x="169" y="389"/>
                  <a:pt x="169" y="386"/>
                </a:cubicBezTo>
                <a:cubicBezTo>
                  <a:pt x="193" y="386"/>
                  <a:pt x="258" y="386"/>
                  <a:pt x="282" y="386"/>
                </a:cubicBezTo>
                <a:cubicBezTo>
                  <a:pt x="281" y="389"/>
                  <a:pt x="281" y="392"/>
                  <a:pt x="281" y="394"/>
                </a:cubicBezTo>
                <a:cubicBezTo>
                  <a:pt x="281" y="416"/>
                  <a:pt x="298" y="433"/>
                  <a:pt x="319" y="433"/>
                </a:cubicBezTo>
                <a:cubicBezTo>
                  <a:pt x="341" y="433"/>
                  <a:pt x="358" y="416"/>
                  <a:pt x="358" y="394"/>
                </a:cubicBezTo>
                <a:cubicBezTo>
                  <a:pt x="358" y="381"/>
                  <a:pt x="352" y="368"/>
                  <a:pt x="342" y="361"/>
                </a:cubicBezTo>
                <a:cubicBezTo>
                  <a:pt x="336" y="357"/>
                  <a:pt x="328" y="358"/>
                  <a:pt x="323" y="364"/>
                </a:cubicBezTo>
                <a:cubicBezTo>
                  <a:pt x="319" y="370"/>
                  <a:pt x="320" y="379"/>
                  <a:pt x="326" y="383"/>
                </a:cubicBezTo>
                <a:cubicBezTo>
                  <a:pt x="329" y="385"/>
                  <a:pt x="331" y="390"/>
                  <a:pt x="331" y="394"/>
                </a:cubicBezTo>
                <a:cubicBezTo>
                  <a:pt x="331" y="398"/>
                  <a:pt x="330" y="401"/>
                  <a:pt x="328" y="403"/>
                </a:cubicBezTo>
                <a:cubicBezTo>
                  <a:pt x="326" y="405"/>
                  <a:pt x="323" y="406"/>
                  <a:pt x="319" y="406"/>
                </a:cubicBezTo>
                <a:cubicBezTo>
                  <a:pt x="316" y="406"/>
                  <a:pt x="313" y="405"/>
                  <a:pt x="311" y="403"/>
                </a:cubicBezTo>
                <a:cubicBezTo>
                  <a:pt x="309" y="401"/>
                  <a:pt x="308" y="398"/>
                  <a:pt x="308" y="394"/>
                </a:cubicBezTo>
                <a:cubicBezTo>
                  <a:pt x="308" y="391"/>
                  <a:pt x="310" y="383"/>
                  <a:pt x="312" y="377"/>
                </a:cubicBezTo>
                <a:cubicBezTo>
                  <a:pt x="314" y="373"/>
                  <a:pt x="313" y="368"/>
                  <a:pt x="311" y="365"/>
                </a:cubicBezTo>
                <a:cubicBezTo>
                  <a:pt x="308" y="361"/>
                  <a:pt x="304" y="359"/>
                  <a:pt x="300" y="359"/>
                </a:cubicBezTo>
                <a:cubicBezTo>
                  <a:pt x="151" y="359"/>
                  <a:pt x="151" y="359"/>
                  <a:pt x="151" y="359"/>
                </a:cubicBezTo>
                <a:cubicBezTo>
                  <a:pt x="147" y="359"/>
                  <a:pt x="143" y="361"/>
                  <a:pt x="140" y="365"/>
                </a:cubicBezTo>
                <a:cubicBezTo>
                  <a:pt x="138" y="368"/>
                  <a:pt x="137" y="373"/>
                  <a:pt x="139" y="377"/>
                </a:cubicBezTo>
                <a:cubicBezTo>
                  <a:pt x="141" y="382"/>
                  <a:pt x="143" y="390"/>
                  <a:pt x="143" y="394"/>
                </a:cubicBezTo>
                <a:cubicBezTo>
                  <a:pt x="143" y="398"/>
                  <a:pt x="142" y="401"/>
                  <a:pt x="140" y="403"/>
                </a:cubicBezTo>
                <a:cubicBezTo>
                  <a:pt x="137" y="405"/>
                  <a:pt x="134" y="406"/>
                  <a:pt x="131" y="406"/>
                </a:cubicBezTo>
                <a:cubicBezTo>
                  <a:pt x="128" y="406"/>
                  <a:pt x="125" y="405"/>
                  <a:pt x="123" y="403"/>
                </a:cubicBezTo>
                <a:cubicBezTo>
                  <a:pt x="121" y="401"/>
                  <a:pt x="119" y="398"/>
                  <a:pt x="119" y="394"/>
                </a:cubicBezTo>
                <a:cubicBezTo>
                  <a:pt x="119" y="388"/>
                  <a:pt x="121" y="383"/>
                  <a:pt x="122" y="382"/>
                </a:cubicBezTo>
                <a:cubicBezTo>
                  <a:pt x="126" y="379"/>
                  <a:pt x="128" y="373"/>
                  <a:pt x="126" y="368"/>
                </a:cubicBezTo>
                <a:cubicBezTo>
                  <a:pt x="124" y="362"/>
                  <a:pt x="119" y="359"/>
                  <a:pt x="114" y="359"/>
                </a:cubicBezTo>
                <a:cubicBezTo>
                  <a:pt x="114" y="359"/>
                  <a:pt x="104" y="359"/>
                  <a:pt x="95" y="359"/>
                </a:cubicBezTo>
                <a:cubicBezTo>
                  <a:pt x="95" y="349"/>
                  <a:pt x="95" y="342"/>
                  <a:pt x="95" y="331"/>
                </a:cubicBezTo>
                <a:cubicBezTo>
                  <a:pt x="119" y="331"/>
                  <a:pt x="347" y="331"/>
                  <a:pt x="347" y="331"/>
                </a:cubicBezTo>
                <a:cubicBezTo>
                  <a:pt x="352" y="331"/>
                  <a:pt x="357" y="328"/>
                  <a:pt x="359" y="323"/>
                </a:cubicBezTo>
                <a:cubicBezTo>
                  <a:pt x="431" y="133"/>
                  <a:pt x="431" y="133"/>
                  <a:pt x="431" y="133"/>
                </a:cubicBezTo>
                <a:cubicBezTo>
                  <a:pt x="431" y="132"/>
                  <a:pt x="432" y="130"/>
                  <a:pt x="432" y="129"/>
                </a:cubicBezTo>
                <a:cubicBezTo>
                  <a:pt x="432" y="126"/>
                  <a:pt x="431" y="123"/>
                  <a:pt x="429" y="121"/>
                </a:cubicBezTo>
                <a:cubicBezTo>
                  <a:pt x="427" y="118"/>
                  <a:pt x="423" y="115"/>
                  <a:pt x="418" y="115"/>
                </a:cubicBezTo>
                <a:cubicBezTo>
                  <a:pt x="418" y="115"/>
                  <a:pt x="131" y="115"/>
                  <a:pt x="114" y="115"/>
                </a:cubicBezTo>
                <a:cubicBezTo>
                  <a:pt x="108" y="102"/>
                  <a:pt x="74" y="24"/>
                  <a:pt x="74" y="24"/>
                </a:cubicBezTo>
                <a:cubicBezTo>
                  <a:pt x="74" y="24"/>
                  <a:pt x="74" y="24"/>
                  <a:pt x="74" y="24"/>
                </a:cubicBezTo>
                <a:cubicBezTo>
                  <a:pt x="68" y="9"/>
                  <a:pt x="54" y="0"/>
                  <a:pt x="38" y="0"/>
                </a:cubicBezTo>
                <a:cubicBezTo>
                  <a:pt x="28" y="0"/>
                  <a:pt x="18" y="4"/>
                  <a:pt x="11" y="11"/>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15" name="TextBox 314"/>
          <p:cNvSpPr txBox="1"/>
          <p:nvPr userDrawn="1"/>
        </p:nvSpPr>
        <p:spPr>
          <a:xfrm>
            <a:off x="2225214" y="4284677"/>
            <a:ext cx="769927" cy="12311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Retail</a:t>
            </a:r>
          </a:p>
        </p:txBody>
      </p:sp>
      <p:sp>
        <p:nvSpPr>
          <p:cNvPr id="316" name="Freeform 56"/>
          <p:cNvSpPr>
            <a:spLocks noChangeAspect="1"/>
          </p:cNvSpPr>
          <p:nvPr userDrawn="1"/>
        </p:nvSpPr>
        <p:spPr bwMode="auto">
          <a:xfrm>
            <a:off x="5234357" y="2195360"/>
            <a:ext cx="379970" cy="393192"/>
          </a:xfrm>
          <a:custGeom>
            <a:avLst/>
            <a:gdLst/>
            <a:ahLst/>
            <a:cxnLst>
              <a:cxn ang="0">
                <a:pos x="427" y="4"/>
              </a:cxn>
              <a:cxn ang="0">
                <a:pos x="238" y="2"/>
              </a:cxn>
              <a:cxn ang="0">
                <a:pos x="119" y="27"/>
              </a:cxn>
              <a:cxn ang="0">
                <a:pos x="23" y="257"/>
              </a:cxn>
              <a:cxn ang="0">
                <a:pos x="97" y="324"/>
              </a:cxn>
              <a:cxn ang="0">
                <a:pos x="111" y="311"/>
              </a:cxn>
              <a:cxn ang="0">
                <a:pos x="123" y="199"/>
              </a:cxn>
              <a:cxn ang="0">
                <a:pos x="136" y="112"/>
              </a:cxn>
              <a:cxn ang="0">
                <a:pos x="181" y="241"/>
              </a:cxn>
              <a:cxn ang="0">
                <a:pos x="218" y="255"/>
              </a:cxn>
              <a:cxn ang="0">
                <a:pos x="231" y="305"/>
              </a:cxn>
              <a:cxn ang="0">
                <a:pos x="283" y="291"/>
              </a:cxn>
              <a:cxn ang="0">
                <a:pos x="298" y="154"/>
              </a:cxn>
              <a:cxn ang="0">
                <a:pos x="312" y="246"/>
              </a:cxn>
              <a:cxn ang="0">
                <a:pos x="325" y="141"/>
              </a:cxn>
              <a:cxn ang="0">
                <a:pos x="270" y="127"/>
              </a:cxn>
              <a:cxn ang="0">
                <a:pos x="257" y="278"/>
              </a:cxn>
              <a:cxn ang="0">
                <a:pos x="245" y="241"/>
              </a:cxn>
              <a:cxn ang="0">
                <a:pos x="208" y="228"/>
              </a:cxn>
              <a:cxn ang="0">
                <a:pos x="195" y="86"/>
              </a:cxn>
              <a:cxn ang="0">
                <a:pos x="110" y="99"/>
              </a:cxn>
              <a:cxn ang="0">
                <a:pos x="98" y="172"/>
              </a:cxn>
              <a:cxn ang="0">
                <a:pos x="84" y="289"/>
              </a:cxn>
              <a:cxn ang="0">
                <a:pos x="39" y="150"/>
              </a:cxn>
              <a:cxn ang="0">
                <a:pos x="240" y="28"/>
              </a:cxn>
              <a:cxn ang="0">
                <a:pos x="396" y="32"/>
              </a:cxn>
              <a:cxn ang="0">
                <a:pos x="342" y="262"/>
              </a:cxn>
              <a:cxn ang="0">
                <a:pos x="135" y="348"/>
              </a:cxn>
              <a:cxn ang="0">
                <a:pos x="134" y="348"/>
              </a:cxn>
              <a:cxn ang="0">
                <a:pos x="132" y="347"/>
              </a:cxn>
              <a:cxn ang="0">
                <a:pos x="131" y="347"/>
              </a:cxn>
              <a:cxn ang="0">
                <a:pos x="130" y="348"/>
              </a:cxn>
              <a:cxn ang="0">
                <a:pos x="128" y="348"/>
              </a:cxn>
              <a:cxn ang="0">
                <a:pos x="127" y="348"/>
              </a:cxn>
              <a:cxn ang="0">
                <a:pos x="126" y="349"/>
              </a:cxn>
              <a:cxn ang="0">
                <a:pos x="125" y="349"/>
              </a:cxn>
              <a:cxn ang="0">
                <a:pos x="124" y="350"/>
              </a:cxn>
              <a:cxn ang="0">
                <a:pos x="123" y="351"/>
              </a:cxn>
              <a:cxn ang="0">
                <a:pos x="122" y="352"/>
              </a:cxn>
              <a:cxn ang="0">
                <a:pos x="121" y="353"/>
              </a:cxn>
              <a:cxn ang="0">
                <a:pos x="112" y="412"/>
              </a:cxn>
              <a:cxn ang="0">
                <a:pos x="158" y="460"/>
              </a:cxn>
              <a:cxn ang="0">
                <a:pos x="162" y="434"/>
              </a:cxn>
              <a:cxn ang="0">
                <a:pos x="138" y="376"/>
              </a:cxn>
              <a:cxn ang="0">
                <a:pos x="366" y="273"/>
              </a:cxn>
              <a:cxn ang="0">
                <a:pos x="436" y="29"/>
              </a:cxn>
            </a:cxnLst>
            <a:rect l="0" t="0" r="r" b="b"/>
            <a:pathLst>
              <a:path w="443" h="460">
                <a:moveTo>
                  <a:pt x="441" y="13"/>
                </a:moveTo>
                <a:cubicBezTo>
                  <a:pt x="439" y="7"/>
                  <a:pt x="433" y="4"/>
                  <a:pt x="427" y="4"/>
                </a:cubicBezTo>
                <a:cubicBezTo>
                  <a:pt x="411" y="6"/>
                  <a:pt x="374" y="5"/>
                  <a:pt x="338" y="3"/>
                </a:cubicBezTo>
                <a:cubicBezTo>
                  <a:pt x="300" y="1"/>
                  <a:pt x="260" y="0"/>
                  <a:pt x="238" y="2"/>
                </a:cubicBezTo>
                <a:cubicBezTo>
                  <a:pt x="236" y="2"/>
                  <a:pt x="235" y="2"/>
                  <a:pt x="233" y="2"/>
                </a:cubicBezTo>
                <a:cubicBezTo>
                  <a:pt x="209" y="5"/>
                  <a:pt x="163" y="9"/>
                  <a:pt x="119" y="27"/>
                </a:cubicBezTo>
                <a:cubicBezTo>
                  <a:pt x="63" y="51"/>
                  <a:pt x="28" y="90"/>
                  <a:pt x="14" y="143"/>
                </a:cubicBezTo>
                <a:cubicBezTo>
                  <a:pt x="0" y="193"/>
                  <a:pt x="12" y="233"/>
                  <a:pt x="23" y="257"/>
                </a:cubicBezTo>
                <a:cubicBezTo>
                  <a:pt x="38" y="287"/>
                  <a:pt x="63" y="311"/>
                  <a:pt x="90" y="323"/>
                </a:cubicBezTo>
                <a:cubicBezTo>
                  <a:pt x="92" y="324"/>
                  <a:pt x="95" y="324"/>
                  <a:pt x="97" y="324"/>
                </a:cubicBezTo>
                <a:cubicBezTo>
                  <a:pt x="97" y="324"/>
                  <a:pt x="97" y="324"/>
                  <a:pt x="98" y="324"/>
                </a:cubicBezTo>
                <a:cubicBezTo>
                  <a:pt x="105" y="324"/>
                  <a:pt x="111" y="318"/>
                  <a:pt x="111" y="311"/>
                </a:cubicBezTo>
                <a:cubicBezTo>
                  <a:pt x="111" y="199"/>
                  <a:pt x="111" y="199"/>
                  <a:pt x="111" y="199"/>
                </a:cubicBezTo>
                <a:cubicBezTo>
                  <a:pt x="123" y="199"/>
                  <a:pt x="123" y="199"/>
                  <a:pt x="123" y="199"/>
                </a:cubicBezTo>
                <a:cubicBezTo>
                  <a:pt x="130" y="199"/>
                  <a:pt x="136" y="193"/>
                  <a:pt x="136" y="185"/>
                </a:cubicBezTo>
                <a:cubicBezTo>
                  <a:pt x="136" y="112"/>
                  <a:pt x="136" y="112"/>
                  <a:pt x="136" y="112"/>
                </a:cubicBezTo>
                <a:cubicBezTo>
                  <a:pt x="181" y="112"/>
                  <a:pt x="181" y="112"/>
                  <a:pt x="181" y="112"/>
                </a:cubicBezTo>
                <a:cubicBezTo>
                  <a:pt x="181" y="241"/>
                  <a:pt x="181" y="241"/>
                  <a:pt x="181" y="241"/>
                </a:cubicBezTo>
                <a:cubicBezTo>
                  <a:pt x="181" y="249"/>
                  <a:pt x="187" y="255"/>
                  <a:pt x="195" y="255"/>
                </a:cubicBezTo>
                <a:cubicBezTo>
                  <a:pt x="218" y="255"/>
                  <a:pt x="218" y="255"/>
                  <a:pt x="218" y="255"/>
                </a:cubicBezTo>
                <a:cubicBezTo>
                  <a:pt x="218" y="291"/>
                  <a:pt x="218" y="291"/>
                  <a:pt x="218" y="291"/>
                </a:cubicBezTo>
                <a:cubicBezTo>
                  <a:pt x="218" y="299"/>
                  <a:pt x="224" y="305"/>
                  <a:pt x="231" y="305"/>
                </a:cubicBezTo>
                <a:cubicBezTo>
                  <a:pt x="270" y="305"/>
                  <a:pt x="270" y="305"/>
                  <a:pt x="270" y="305"/>
                </a:cubicBezTo>
                <a:cubicBezTo>
                  <a:pt x="277" y="305"/>
                  <a:pt x="283" y="299"/>
                  <a:pt x="283" y="291"/>
                </a:cubicBezTo>
                <a:cubicBezTo>
                  <a:pt x="283" y="154"/>
                  <a:pt x="283" y="154"/>
                  <a:pt x="283" y="154"/>
                </a:cubicBezTo>
                <a:cubicBezTo>
                  <a:pt x="298" y="154"/>
                  <a:pt x="298" y="154"/>
                  <a:pt x="298" y="154"/>
                </a:cubicBezTo>
                <a:cubicBezTo>
                  <a:pt x="298" y="232"/>
                  <a:pt x="298" y="232"/>
                  <a:pt x="298" y="232"/>
                </a:cubicBezTo>
                <a:cubicBezTo>
                  <a:pt x="298" y="240"/>
                  <a:pt x="304" y="246"/>
                  <a:pt x="312" y="246"/>
                </a:cubicBezTo>
                <a:cubicBezTo>
                  <a:pt x="319" y="246"/>
                  <a:pt x="325" y="240"/>
                  <a:pt x="325" y="232"/>
                </a:cubicBezTo>
                <a:cubicBezTo>
                  <a:pt x="325" y="141"/>
                  <a:pt x="325" y="141"/>
                  <a:pt x="325" y="141"/>
                </a:cubicBezTo>
                <a:cubicBezTo>
                  <a:pt x="325" y="133"/>
                  <a:pt x="319" y="127"/>
                  <a:pt x="312" y="127"/>
                </a:cubicBezTo>
                <a:cubicBezTo>
                  <a:pt x="270" y="127"/>
                  <a:pt x="270" y="127"/>
                  <a:pt x="270" y="127"/>
                </a:cubicBezTo>
                <a:cubicBezTo>
                  <a:pt x="263" y="127"/>
                  <a:pt x="257" y="133"/>
                  <a:pt x="257" y="141"/>
                </a:cubicBezTo>
                <a:cubicBezTo>
                  <a:pt x="257" y="278"/>
                  <a:pt x="257" y="278"/>
                  <a:pt x="257" y="278"/>
                </a:cubicBezTo>
                <a:cubicBezTo>
                  <a:pt x="245" y="278"/>
                  <a:pt x="245" y="278"/>
                  <a:pt x="245" y="278"/>
                </a:cubicBezTo>
                <a:cubicBezTo>
                  <a:pt x="245" y="241"/>
                  <a:pt x="245" y="241"/>
                  <a:pt x="245" y="241"/>
                </a:cubicBezTo>
                <a:cubicBezTo>
                  <a:pt x="245" y="234"/>
                  <a:pt x="239" y="228"/>
                  <a:pt x="231" y="228"/>
                </a:cubicBezTo>
                <a:cubicBezTo>
                  <a:pt x="208" y="228"/>
                  <a:pt x="208" y="228"/>
                  <a:pt x="208" y="228"/>
                </a:cubicBezTo>
                <a:cubicBezTo>
                  <a:pt x="208" y="99"/>
                  <a:pt x="208" y="99"/>
                  <a:pt x="208" y="99"/>
                </a:cubicBezTo>
                <a:cubicBezTo>
                  <a:pt x="208" y="92"/>
                  <a:pt x="202" y="86"/>
                  <a:pt x="195" y="86"/>
                </a:cubicBezTo>
                <a:cubicBezTo>
                  <a:pt x="123" y="86"/>
                  <a:pt x="123" y="86"/>
                  <a:pt x="123" y="86"/>
                </a:cubicBezTo>
                <a:cubicBezTo>
                  <a:pt x="116" y="86"/>
                  <a:pt x="110" y="92"/>
                  <a:pt x="110" y="99"/>
                </a:cubicBezTo>
                <a:cubicBezTo>
                  <a:pt x="110" y="172"/>
                  <a:pt x="110" y="172"/>
                  <a:pt x="110" y="172"/>
                </a:cubicBezTo>
                <a:cubicBezTo>
                  <a:pt x="98" y="172"/>
                  <a:pt x="98" y="172"/>
                  <a:pt x="98" y="172"/>
                </a:cubicBezTo>
                <a:cubicBezTo>
                  <a:pt x="90" y="172"/>
                  <a:pt x="84" y="178"/>
                  <a:pt x="84" y="185"/>
                </a:cubicBezTo>
                <a:cubicBezTo>
                  <a:pt x="84" y="289"/>
                  <a:pt x="84" y="289"/>
                  <a:pt x="84" y="289"/>
                </a:cubicBezTo>
                <a:cubicBezTo>
                  <a:pt x="69" y="279"/>
                  <a:pt x="56" y="264"/>
                  <a:pt x="47" y="245"/>
                </a:cubicBezTo>
                <a:cubicBezTo>
                  <a:pt x="38" y="225"/>
                  <a:pt x="28" y="192"/>
                  <a:pt x="39" y="150"/>
                </a:cubicBezTo>
                <a:cubicBezTo>
                  <a:pt x="68" y="45"/>
                  <a:pt x="190" y="33"/>
                  <a:pt x="236" y="29"/>
                </a:cubicBezTo>
                <a:cubicBezTo>
                  <a:pt x="237" y="29"/>
                  <a:pt x="239" y="29"/>
                  <a:pt x="240" y="28"/>
                </a:cubicBezTo>
                <a:cubicBezTo>
                  <a:pt x="261" y="26"/>
                  <a:pt x="300" y="28"/>
                  <a:pt x="337" y="30"/>
                </a:cubicBezTo>
                <a:cubicBezTo>
                  <a:pt x="358" y="31"/>
                  <a:pt x="379" y="32"/>
                  <a:pt x="396" y="32"/>
                </a:cubicBezTo>
                <a:cubicBezTo>
                  <a:pt x="374" y="64"/>
                  <a:pt x="370" y="108"/>
                  <a:pt x="365" y="152"/>
                </a:cubicBezTo>
                <a:cubicBezTo>
                  <a:pt x="361" y="190"/>
                  <a:pt x="357" y="230"/>
                  <a:pt x="342" y="262"/>
                </a:cubicBezTo>
                <a:cubicBezTo>
                  <a:pt x="305" y="338"/>
                  <a:pt x="222" y="373"/>
                  <a:pt x="135" y="348"/>
                </a:cubicBezTo>
                <a:cubicBezTo>
                  <a:pt x="135" y="348"/>
                  <a:pt x="135" y="348"/>
                  <a:pt x="135" y="348"/>
                </a:cubicBezTo>
                <a:cubicBezTo>
                  <a:pt x="135" y="348"/>
                  <a:pt x="134" y="348"/>
                  <a:pt x="134" y="348"/>
                </a:cubicBezTo>
                <a:cubicBezTo>
                  <a:pt x="134" y="348"/>
                  <a:pt x="134" y="348"/>
                  <a:pt x="134" y="348"/>
                </a:cubicBezTo>
                <a:cubicBezTo>
                  <a:pt x="133" y="348"/>
                  <a:pt x="133" y="348"/>
                  <a:pt x="133" y="348"/>
                </a:cubicBezTo>
                <a:cubicBezTo>
                  <a:pt x="133" y="348"/>
                  <a:pt x="132" y="347"/>
                  <a:pt x="132" y="347"/>
                </a:cubicBezTo>
                <a:cubicBezTo>
                  <a:pt x="132" y="347"/>
                  <a:pt x="132" y="347"/>
                  <a:pt x="132" y="347"/>
                </a:cubicBezTo>
                <a:cubicBezTo>
                  <a:pt x="131" y="347"/>
                  <a:pt x="131" y="347"/>
                  <a:pt x="131" y="347"/>
                </a:cubicBezTo>
                <a:cubicBezTo>
                  <a:pt x="131" y="347"/>
                  <a:pt x="131" y="347"/>
                  <a:pt x="131" y="347"/>
                </a:cubicBezTo>
                <a:cubicBezTo>
                  <a:pt x="130" y="348"/>
                  <a:pt x="130" y="348"/>
                  <a:pt x="130" y="348"/>
                </a:cubicBezTo>
                <a:cubicBezTo>
                  <a:pt x="130" y="348"/>
                  <a:pt x="129" y="348"/>
                  <a:pt x="129" y="348"/>
                </a:cubicBezTo>
                <a:cubicBezTo>
                  <a:pt x="129" y="348"/>
                  <a:pt x="129" y="348"/>
                  <a:pt x="128" y="348"/>
                </a:cubicBezTo>
                <a:cubicBezTo>
                  <a:pt x="128" y="348"/>
                  <a:pt x="128" y="348"/>
                  <a:pt x="128" y="348"/>
                </a:cubicBezTo>
                <a:cubicBezTo>
                  <a:pt x="128" y="348"/>
                  <a:pt x="127" y="348"/>
                  <a:pt x="127" y="348"/>
                </a:cubicBezTo>
                <a:cubicBezTo>
                  <a:pt x="127" y="348"/>
                  <a:pt x="127" y="348"/>
                  <a:pt x="127" y="348"/>
                </a:cubicBezTo>
                <a:cubicBezTo>
                  <a:pt x="126" y="348"/>
                  <a:pt x="126" y="349"/>
                  <a:pt x="126" y="349"/>
                </a:cubicBezTo>
                <a:cubicBezTo>
                  <a:pt x="126" y="349"/>
                  <a:pt x="126" y="349"/>
                  <a:pt x="125" y="349"/>
                </a:cubicBezTo>
                <a:cubicBezTo>
                  <a:pt x="125" y="349"/>
                  <a:pt x="125" y="349"/>
                  <a:pt x="125" y="349"/>
                </a:cubicBezTo>
                <a:cubicBezTo>
                  <a:pt x="125" y="349"/>
                  <a:pt x="124" y="349"/>
                  <a:pt x="124" y="350"/>
                </a:cubicBezTo>
                <a:cubicBezTo>
                  <a:pt x="124" y="350"/>
                  <a:pt x="124" y="350"/>
                  <a:pt x="124" y="350"/>
                </a:cubicBezTo>
                <a:cubicBezTo>
                  <a:pt x="124" y="350"/>
                  <a:pt x="123" y="350"/>
                  <a:pt x="123" y="350"/>
                </a:cubicBezTo>
                <a:cubicBezTo>
                  <a:pt x="123" y="350"/>
                  <a:pt x="123" y="351"/>
                  <a:pt x="123" y="351"/>
                </a:cubicBezTo>
                <a:cubicBezTo>
                  <a:pt x="123" y="351"/>
                  <a:pt x="122" y="351"/>
                  <a:pt x="122" y="351"/>
                </a:cubicBezTo>
                <a:cubicBezTo>
                  <a:pt x="122" y="351"/>
                  <a:pt x="122" y="351"/>
                  <a:pt x="122" y="352"/>
                </a:cubicBezTo>
                <a:cubicBezTo>
                  <a:pt x="122" y="352"/>
                  <a:pt x="122" y="352"/>
                  <a:pt x="121" y="352"/>
                </a:cubicBezTo>
                <a:cubicBezTo>
                  <a:pt x="121" y="352"/>
                  <a:pt x="121" y="352"/>
                  <a:pt x="121" y="353"/>
                </a:cubicBezTo>
                <a:cubicBezTo>
                  <a:pt x="121" y="353"/>
                  <a:pt x="121" y="353"/>
                  <a:pt x="121" y="353"/>
                </a:cubicBezTo>
                <a:cubicBezTo>
                  <a:pt x="108" y="370"/>
                  <a:pt x="105" y="391"/>
                  <a:pt x="112" y="412"/>
                </a:cubicBezTo>
                <a:cubicBezTo>
                  <a:pt x="119" y="434"/>
                  <a:pt x="138" y="455"/>
                  <a:pt x="155" y="459"/>
                </a:cubicBezTo>
                <a:cubicBezTo>
                  <a:pt x="156" y="460"/>
                  <a:pt x="157" y="460"/>
                  <a:pt x="158" y="460"/>
                </a:cubicBezTo>
                <a:cubicBezTo>
                  <a:pt x="164" y="460"/>
                  <a:pt x="170" y="456"/>
                  <a:pt x="171" y="450"/>
                </a:cubicBezTo>
                <a:cubicBezTo>
                  <a:pt x="173" y="443"/>
                  <a:pt x="169" y="436"/>
                  <a:pt x="162" y="434"/>
                </a:cubicBezTo>
                <a:cubicBezTo>
                  <a:pt x="156" y="432"/>
                  <a:pt x="143" y="420"/>
                  <a:pt x="137" y="403"/>
                </a:cubicBezTo>
                <a:cubicBezTo>
                  <a:pt x="134" y="394"/>
                  <a:pt x="134" y="384"/>
                  <a:pt x="138" y="376"/>
                </a:cubicBezTo>
                <a:cubicBezTo>
                  <a:pt x="156" y="381"/>
                  <a:pt x="173" y="383"/>
                  <a:pt x="191" y="383"/>
                </a:cubicBezTo>
                <a:cubicBezTo>
                  <a:pt x="266" y="383"/>
                  <a:pt x="332" y="343"/>
                  <a:pt x="366" y="273"/>
                </a:cubicBezTo>
                <a:cubicBezTo>
                  <a:pt x="383" y="238"/>
                  <a:pt x="387" y="196"/>
                  <a:pt x="392" y="155"/>
                </a:cubicBezTo>
                <a:cubicBezTo>
                  <a:pt x="397" y="102"/>
                  <a:pt x="402" y="51"/>
                  <a:pt x="436" y="29"/>
                </a:cubicBezTo>
                <a:cubicBezTo>
                  <a:pt x="441" y="25"/>
                  <a:pt x="443" y="19"/>
                  <a:pt x="441" y="13"/>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17" name="TextBox 316"/>
          <p:cNvSpPr txBox="1"/>
          <p:nvPr userDrawn="1"/>
        </p:nvSpPr>
        <p:spPr>
          <a:xfrm>
            <a:off x="5048085" y="2639109"/>
            <a:ext cx="769927" cy="24622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Green buildings</a:t>
            </a:r>
          </a:p>
        </p:txBody>
      </p:sp>
      <p:sp>
        <p:nvSpPr>
          <p:cNvPr id="318" name="Freeform 216"/>
          <p:cNvSpPr>
            <a:spLocks noChangeAspect="1"/>
          </p:cNvSpPr>
          <p:nvPr userDrawn="1"/>
        </p:nvSpPr>
        <p:spPr bwMode="auto">
          <a:xfrm>
            <a:off x="3327990" y="2195360"/>
            <a:ext cx="421382" cy="393192"/>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19" name="TextBox 318"/>
          <p:cNvSpPr txBox="1"/>
          <p:nvPr userDrawn="1"/>
        </p:nvSpPr>
        <p:spPr>
          <a:xfrm>
            <a:off x="3230400" y="2639109"/>
            <a:ext cx="635869" cy="12311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Finance</a:t>
            </a:r>
          </a:p>
        </p:txBody>
      </p:sp>
      <p:sp>
        <p:nvSpPr>
          <p:cNvPr id="320" name="Freeform 224"/>
          <p:cNvSpPr>
            <a:spLocks noChangeAspect="1"/>
          </p:cNvSpPr>
          <p:nvPr userDrawn="1"/>
        </p:nvSpPr>
        <p:spPr bwMode="auto">
          <a:xfrm>
            <a:off x="1438333" y="2242597"/>
            <a:ext cx="525440" cy="345955"/>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21" name="TextBox 320"/>
          <p:cNvSpPr txBox="1"/>
          <p:nvPr userDrawn="1"/>
        </p:nvSpPr>
        <p:spPr>
          <a:xfrm>
            <a:off x="1342307" y="2639108"/>
            <a:ext cx="652701" cy="246221"/>
          </a:xfrm>
          <a:prstGeom prst="rect">
            <a:avLst/>
          </a:prstGeom>
          <a:noFill/>
        </p:spPr>
        <p:txBody>
          <a:bodyPr wrap="square" lIns="0" tIns="0" rIns="0" bIns="0" rtlCol="0" anchor="b" anchorCtr="0">
            <a:spAutoFit/>
          </a:bodyPr>
          <a:lstStyle/>
          <a:p>
            <a:pPr algn="ctr"/>
            <a:r>
              <a:rPr lang="en-US" sz="800" b="1" dirty="0">
                <a:solidFill>
                  <a:prstClr val="white"/>
                </a:solidFill>
                <a:cs typeface="Arial" pitchFamily="34" charset="0"/>
              </a:rPr>
              <a:t>Cloud and telecom</a:t>
            </a:r>
          </a:p>
        </p:txBody>
      </p:sp>
      <p:sp>
        <p:nvSpPr>
          <p:cNvPr id="322" name="TextBox 321"/>
          <p:cNvSpPr txBox="1"/>
          <p:nvPr userDrawn="1"/>
        </p:nvSpPr>
        <p:spPr>
          <a:xfrm>
            <a:off x="9111405" y="3463580"/>
            <a:ext cx="1088520" cy="246221"/>
          </a:xfrm>
          <a:prstGeom prst="rect">
            <a:avLst/>
          </a:prstGeom>
          <a:noFill/>
        </p:spPr>
        <p:txBody>
          <a:bodyPr wrap="square" lIns="91432" tIns="0" rIns="91432" bIns="0" rtlCol="0" anchor="b" anchorCtr="0">
            <a:spAutoFit/>
          </a:bodyPr>
          <a:lstStyle/>
          <a:p>
            <a:pPr algn="ctr"/>
            <a:r>
              <a:rPr lang="en-US" sz="800" b="1" dirty="0">
                <a:solidFill>
                  <a:prstClr val="white"/>
                </a:solidFill>
                <a:cs typeface="Arial" pitchFamily="34" charset="0"/>
              </a:rPr>
              <a:t>Management software</a:t>
            </a:r>
          </a:p>
        </p:txBody>
      </p:sp>
      <p:sp>
        <p:nvSpPr>
          <p:cNvPr id="323" name="TextBox 322"/>
          <p:cNvSpPr txBox="1"/>
          <p:nvPr userDrawn="1"/>
        </p:nvSpPr>
        <p:spPr>
          <a:xfrm>
            <a:off x="8216670" y="4284672"/>
            <a:ext cx="923938" cy="246221"/>
          </a:xfrm>
          <a:prstGeom prst="rect">
            <a:avLst/>
          </a:prstGeom>
          <a:noFill/>
        </p:spPr>
        <p:txBody>
          <a:bodyPr wrap="square" lIns="91432" tIns="0" rIns="91432" bIns="0" rtlCol="0" anchor="b" anchorCtr="0">
            <a:spAutoFit/>
          </a:bodyPr>
          <a:lstStyle/>
          <a:p>
            <a:pPr algn="ctr"/>
            <a:r>
              <a:rPr lang="en-US" sz="800" b="1" dirty="0">
                <a:solidFill>
                  <a:prstClr val="white"/>
                </a:solidFill>
                <a:cs typeface="Arial" pitchFamily="34" charset="0"/>
              </a:rPr>
              <a:t>Power</a:t>
            </a:r>
            <a:br>
              <a:rPr lang="en-US" sz="800" b="1" dirty="0">
                <a:solidFill>
                  <a:prstClr val="white"/>
                </a:solidFill>
                <a:cs typeface="Arial" pitchFamily="34" charset="0"/>
              </a:rPr>
            </a:br>
            <a:r>
              <a:rPr lang="en-US" sz="800" b="1" dirty="0">
                <a:solidFill>
                  <a:prstClr val="white"/>
                </a:solidFill>
                <a:cs typeface="Arial" pitchFamily="34" charset="0"/>
              </a:rPr>
              <a:t>Measurement</a:t>
            </a:r>
          </a:p>
        </p:txBody>
      </p:sp>
      <p:sp>
        <p:nvSpPr>
          <p:cNvPr id="324" name="TextBox 323"/>
          <p:cNvSpPr txBox="1"/>
          <p:nvPr userDrawn="1"/>
        </p:nvSpPr>
        <p:spPr>
          <a:xfrm>
            <a:off x="11002920" y="2639103"/>
            <a:ext cx="1088520" cy="246221"/>
          </a:xfrm>
          <a:prstGeom prst="rect">
            <a:avLst/>
          </a:prstGeom>
          <a:noFill/>
        </p:spPr>
        <p:txBody>
          <a:bodyPr wrap="square" lIns="91432" tIns="0" rIns="91432" bIns="0" rtlCol="0" anchor="b" anchorCtr="0">
            <a:spAutoFit/>
          </a:bodyPr>
          <a:lstStyle/>
          <a:p>
            <a:pPr algn="ctr"/>
            <a:r>
              <a:rPr lang="en-US" sz="800" b="1" dirty="0">
                <a:solidFill>
                  <a:prstClr val="white"/>
                </a:solidFill>
                <a:cs typeface="Arial" pitchFamily="34" charset="0"/>
              </a:rPr>
              <a:t>Intelligent power and motor control</a:t>
            </a:r>
          </a:p>
        </p:txBody>
      </p:sp>
      <p:sp>
        <p:nvSpPr>
          <p:cNvPr id="325" name="TextBox 324"/>
          <p:cNvSpPr txBox="1"/>
          <p:nvPr userDrawn="1"/>
        </p:nvSpPr>
        <p:spPr>
          <a:xfrm>
            <a:off x="10011714" y="4284671"/>
            <a:ext cx="1088520" cy="205184"/>
          </a:xfrm>
          <a:prstGeom prst="rect">
            <a:avLst/>
          </a:prstGeom>
          <a:noFill/>
        </p:spPr>
        <p:txBody>
          <a:bodyPr wrap="square" lIns="91432" tIns="0" rIns="91432" bIns="0" rtlCol="0" anchor="t" anchorCtr="0">
            <a:spAutoFit/>
          </a:bodyPr>
          <a:lstStyle/>
          <a:p>
            <a:pPr algn="ctr">
              <a:lnSpc>
                <a:spcPts val="800"/>
              </a:lnSpc>
            </a:pPr>
            <a:r>
              <a:rPr lang="en-US" sz="800" b="1" dirty="0">
                <a:solidFill>
                  <a:prstClr val="white"/>
                </a:solidFill>
                <a:cs typeface="Arial" pitchFamily="34" charset="0"/>
              </a:rPr>
              <a:t>Renewable energy conversion</a:t>
            </a:r>
          </a:p>
        </p:txBody>
      </p:sp>
      <p:sp>
        <p:nvSpPr>
          <p:cNvPr id="326" name="TextBox 325"/>
          <p:cNvSpPr txBox="1"/>
          <p:nvPr userDrawn="1"/>
        </p:nvSpPr>
        <p:spPr>
          <a:xfrm>
            <a:off x="8155726" y="2639103"/>
            <a:ext cx="1045826" cy="246221"/>
          </a:xfrm>
          <a:prstGeom prst="rect">
            <a:avLst/>
          </a:prstGeom>
          <a:noFill/>
        </p:spPr>
        <p:txBody>
          <a:bodyPr wrap="square" lIns="91432" tIns="0" rIns="91432" bIns="0" rtlCol="0" anchor="b" anchorCtr="0">
            <a:spAutoFit/>
          </a:bodyPr>
          <a:lstStyle/>
          <a:p>
            <a:pPr algn="ctr"/>
            <a:r>
              <a:rPr lang="en-US" sz="800" b="1" dirty="0">
                <a:solidFill>
                  <a:prstClr val="white"/>
                </a:solidFill>
                <a:cs typeface="Arial" pitchFamily="34" charset="0"/>
              </a:rPr>
              <a:t>Electric vehicle recharging</a:t>
            </a:r>
          </a:p>
        </p:txBody>
      </p:sp>
      <p:sp>
        <p:nvSpPr>
          <p:cNvPr id="327" name="TextBox 326"/>
          <p:cNvSpPr txBox="1"/>
          <p:nvPr userDrawn="1"/>
        </p:nvSpPr>
        <p:spPr>
          <a:xfrm>
            <a:off x="7161501" y="3463580"/>
            <a:ext cx="1131215" cy="246221"/>
          </a:xfrm>
          <a:prstGeom prst="rect">
            <a:avLst/>
          </a:prstGeom>
          <a:noFill/>
        </p:spPr>
        <p:txBody>
          <a:bodyPr wrap="square" lIns="91432" tIns="0" rIns="91432" bIns="0" rtlCol="0" anchor="b" anchorCtr="0">
            <a:spAutoFit/>
          </a:bodyPr>
          <a:lstStyle/>
          <a:p>
            <a:pPr algn="ctr"/>
            <a:r>
              <a:rPr lang="en-US" sz="800" b="1" dirty="0">
                <a:solidFill>
                  <a:prstClr val="white"/>
                </a:solidFill>
                <a:cs typeface="Arial" pitchFamily="34" charset="0"/>
              </a:rPr>
              <a:t>Lifts and</a:t>
            </a:r>
            <a:br>
              <a:rPr lang="en-US" sz="800" b="1" dirty="0">
                <a:solidFill>
                  <a:prstClr val="white"/>
                </a:solidFill>
                <a:cs typeface="Arial" pitchFamily="34" charset="0"/>
              </a:rPr>
            </a:br>
            <a:r>
              <a:rPr lang="en-US" sz="800" b="1" dirty="0">
                <a:solidFill>
                  <a:prstClr val="white"/>
                </a:solidFill>
                <a:cs typeface="Arial" pitchFamily="34" charset="0"/>
              </a:rPr>
              <a:t>escalators control</a:t>
            </a:r>
          </a:p>
        </p:txBody>
      </p:sp>
      <p:sp>
        <p:nvSpPr>
          <p:cNvPr id="328" name="TextBox 327"/>
          <p:cNvSpPr txBox="1"/>
          <p:nvPr userDrawn="1"/>
        </p:nvSpPr>
        <p:spPr>
          <a:xfrm>
            <a:off x="10011714" y="3463580"/>
            <a:ext cx="1088520" cy="246221"/>
          </a:xfrm>
          <a:prstGeom prst="rect">
            <a:avLst/>
          </a:prstGeom>
          <a:noFill/>
        </p:spPr>
        <p:txBody>
          <a:bodyPr wrap="square" lIns="91432" tIns="0" rIns="91432" bIns="0" rtlCol="0" anchor="b" anchorCtr="0">
            <a:spAutoFit/>
          </a:bodyPr>
          <a:lstStyle/>
          <a:p>
            <a:pPr algn="ctr"/>
            <a:r>
              <a:rPr lang="en-US" sz="800" b="1" dirty="0">
                <a:solidFill>
                  <a:prstClr val="white"/>
                </a:solidFill>
                <a:cs typeface="Arial" pitchFamily="34" charset="0"/>
              </a:rPr>
              <a:t>Material handling control</a:t>
            </a:r>
          </a:p>
        </p:txBody>
      </p:sp>
      <p:sp>
        <p:nvSpPr>
          <p:cNvPr id="329" name="TextBox 328"/>
          <p:cNvSpPr txBox="1"/>
          <p:nvPr userDrawn="1"/>
        </p:nvSpPr>
        <p:spPr>
          <a:xfrm>
            <a:off x="9111405" y="2639108"/>
            <a:ext cx="1088520" cy="246221"/>
          </a:xfrm>
          <a:prstGeom prst="rect">
            <a:avLst/>
          </a:prstGeom>
          <a:noFill/>
        </p:spPr>
        <p:txBody>
          <a:bodyPr wrap="square" lIns="91432" tIns="0" rIns="91432" bIns="0" rtlCol="0" anchor="b" anchorCtr="0">
            <a:spAutoFit/>
          </a:bodyPr>
          <a:lstStyle/>
          <a:p>
            <a:pPr algn="ctr"/>
            <a:r>
              <a:rPr lang="en-US" sz="800" b="1" dirty="0">
                <a:solidFill>
                  <a:prstClr val="white"/>
                </a:solidFill>
                <a:cs typeface="Arial" pitchFamily="34" charset="0"/>
              </a:rPr>
              <a:t>Hoisting</a:t>
            </a:r>
            <a:br>
              <a:rPr lang="en-US" sz="800" b="1" dirty="0">
                <a:solidFill>
                  <a:prstClr val="white"/>
                </a:solidFill>
                <a:cs typeface="Arial" pitchFamily="34" charset="0"/>
              </a:rPr>
            </a:br>
            <a:r>
              <a:rPr lang="en-US" sz="800" b="1" dirty="0">
                <a:solidFill>
                  <a:prstClr val="white"/>
                </a:solidFill>
                <a:cs typeface="Arial" pitchFamily="34" charset="0"/>
              </a:rPr>
              <a:t>control</a:t>
            </a:r>
          </a:p>
        </p:txBody>
      </p:sp>
      <p:sp>
        <p:nvSpPr>
          <p:cNvPr id="330" name="TextBox 329"/>
          <p:cNvSpPr txBox="1"/>
          <p:nvPr userDrawn="1"/>
        </p:nvSpPr>
        <p:spPr>
          <a:xfrm>
            <a:off x="7220949" y="5053360"/>
            <a:ext cx="1088520" cy="338555"/>
          </a:xfrm>
          <a:prstGeom prst="rect">
            <a:avLst/>
          </a:prstGeom>
          <a:noFill/>
        </p:spPr>
        <p:txBody>
          <a:bodyPr wrap="square" lIns="91432" tIns="45717" rIns="91432" bIns="45717" rtlCol="0" anchor="b" anchorCtr="0">
            <a:spAutoFit/>
          </a:bodyPr>
          <a:lstStyle/>
          <a:p>
            <a:pPr algn="ctr"/>
            <a:r>
              <a:rPr lang="en-US" sz="800" b="1" dirty="0">
                <a:solidFill>
                  <a:prstClr val="white"/>
                </a:solidFill>
                <a:cs typeface="Arial" pitchFamily="34" charset="0"/>
              </a:rPr>
              <a:t>Uninterruptable</a:t>
            </a:r>
            <a:br>
              <a:rPr lang="en-US" sz="800" b="1" dirty="0">
                <a:solidFill>
                  <a:prstClr val="white"/>
                </a:solidFill>
                <a:cs typeface="Arial" pitchFamily="34" charset="0"/>
              </a:rPr>
            </a:br>
            <a:r>
              <a:rPr lang="en-US" sz="800" b="1" dirty="0">
                <a:solidFill>
                  <a:prstClr val="white"/>
                </a:solidFill>
                <a:cs typeface="Arial" pitchFamily="34" charset="0"/>
              </a:rPr>
              <a:t>power supply</a:t>
            </a:r>
          </a:p>
        </p:txBody>
      </p:sp>
      <p:sp>
        <p:nvSpPr>
          <p:cNvPr id="331" name="TextBox 330"/>
          <p:cNvSpPr txBox="1"/>
          <p:nvPr userDrawn="1"/>
        </p:nvSpPr>
        <p:spPr>
          <a:xfrm>
            <a:off x="11002920" y="4284677"/>
            <a:ext cx="1088520" cy="123111"/>
          </a:xfrm>
          <a:prstGeom prst="rect">
            <a:avLst/>
          </a:prstGeom>
          <a:noFill/>
        </p:spPr>
        <p:txBody>
          <a:bodyPr wrap="square" lIns="91432" tIns="0" rIns="91432" bIns="0" rtlCol="0" anchor="b" anchorCtr="0">
            <a:spAutoFit/>
          </a:bodyPr>
          <a:lstStyle/>
          <a:p>
            <a:pPr algn="ctr"/>
            <a:r>
              <a:rPr lang="en-US" sz="800" b="1" dirty="0">
                <a:solidFill>
                  <a:prstClr val="white"/>
                </a:solidFill>
                <a:cs typeface="Arial" pitchFamily="34" charset="0"/>
              </a:rPr>
              <a:t>Surveillance</a:t>
            </a:r>
          </a:p>
        </p:txBody>
      </p:sp>
      <p:sp>
        <p:nvSpPr>
          <p:cNvPr id="332" name="TextBox 331"/>
          <p:cNvSpPr txBox="1"/>
          <p:nvPr userDrawn="1"/>
        </p:nvSpPr>
        <p:spPr>
          <a:xfrm>
            <a:off x="10011714" y="2639108"/>
            <a:ext cx="1088520" cy="246221"/>
          </a:xfrm>
          <a:prstGeom prst="rect">
            <a:avLst/>
          </a:prstGeom>
          <a:noFill/>
        </p:spPr>
        <p:txBody>
          <a:bodyPr wrap="square" lIns="91432" tIns="0" rIns="91432" bIns="0" rtlCol="0" anchor="b" anchorCtr="0">
            <a:spAutoFit/>
          </a:bodyPr>
          <a:lstStyle/>
          <a:p>
            <a:pPr algn="ctr"/>
            <a:r>
              <a:rPr lang="en-US" sz="800" b="1" dirty="0">
                <a:solidFill>
                  <a:prstClr val="white"/>
                </a:solidFill>
                <a:cs typeface="Arial" pitchFamily="34" charset="0"/>
              </a:rPr>
              <a:t>HVAC</a:t>
            </a:r>
            <a:br>
              <a:rPr lang="en-US" sz="800" b="1" dirty="0">
                <a:solidFill>
                  <a:prstClr val="white"/>
                </a:solidFill>
                <a:cs typeface="Arial" pitchFamily="34" charset="0"/>
              </a:rPr>
            </a:br>
            <a:r>
              <a:rPr lang="en-US" sz="800" b="1" dirty="0">
                <a:solidFill>
                  <a:prstClr val="white"/>
                </a:solidFill>
                <a:cs typeface="Arial" pitchFamily="34" charset="0"/>
              </a:rPr>
              <a:t>control</a:t>
            </a:r>
          </a:p>
        </p:txBody>
      </p:sp>
      <p:sp>
        <p:nvSpPr>
          <p:cNvPr id="333" name="TextBox 332"/>
          <p:cNvSpPr txBox="1"/>
          <p:nvPr userDrawn="1"/>
        </p:nvSpPr>
        <p:spPr>
          <a:xfrm>
            <a:off x="8113032" y="3463580"/>
            <a:ext cx="1131215" cy="246221"/>
          </a:xfrm>
          <a:prstGeom prst="rect">
            <a:avLst/>
          </a:prstGeom>
          <a:noFill/>
        </p:spPr>
        <p:txBody>
          <a:bodyPr wrap="square" lIns="91432" tIns="0" rIns="91432" bIns="0" rtlCol="0" anchor="b" anchorCtr="0">
            <a:spAutoFit/>
          </a:bodyPr>
          <a:lstStyle/>
          <a:p>
            <a:pPr algn="ctr"/>
            <a:r>
              <a:rPr lang="en-US" sz="800" b="1" dirty="0">
                <a:solidFill>
                  <a:prstClr val="white"/>
                </a:solidFill>
                <a:cs typeface="Arial" pitchFamily="34" charset="0"/>
              </a:rPr>
              <a:t>Lighting</a:t>
            </a:r>
            <a:br>
              <a:rPr lang="en-US" sz="800" b="1" dirty="0">
                <a:solidFill>
                  <a:prstClr val="white"/>
                </a:solidFill>
                <a:cs typeface="Arial" pitchFamily="34" charset="0"/>
              </a:rPr>
            </a:br>
            <a:r>
              <a:rPr lang="en-US" sz="800" b="1" dirty="0">
                <a:solidFill>
                  <a:prstClr val="white"/>
                </a:solidFill>
                <a:cs typeface="Arial" pitchFamily="34" charset="0"/>
              </a:rPr>
              <a:t>control</a:t>
            </a:r>
          </a:p>
        </p:txBody>
      </p:sp>
      <p:sp>
        <p:nvSpPr>
          <p:cNvPr id="334" name="Freeform 196"/>
          <p:cNvSpPr>
            <a:spLocks noChangeAspect="1"/>
          </p:cNvSpPr>
          <p:nvPr userDrawn="1"/>
        </p:nvSpPr>
        <p:spPr bwMode="auto">
          <a:xfrm>
            <a:off x="7555772" y="2195360"/>
            <a:ext cx="327661" cy="393192"/>
          </a:xfrm>
          <a:custGeom>
            <a:avLst/>
            <a:gdLst/>
            <a:ahLst/>
            <a:cxnLst>
              <a:cxn ang="0">
                <a:pos x="47" y="131"/>
              </a:cxn>
              <a:cxn ang="0">
                <a:pos x="47" y="135"/>
              </a:cxn>
              <a:cxn ang="0">
                <a:pos x="86" y="174"/>
              </a:cxn>
              <a:cxn ang="0">
                <a:pos x="133" y="107"/>
              </a:cxn>
              <a:cxn ang="0">
                <a:pos x="226" y="133"/>
              </a:cxn>
              <a:cxn ang="0">
                <a:pos x="181" y="196"/>
              </a:cxn>
              <a:cxn ang="0">
                <a:pos x="167" y="240"/>
              </a:cxn>
              <a:cxn ang="0">
                <a:pos x="181" y="344"/>
              </a:cxn>
              <a:cxn ang="0">
                <a:pos x="231" y="275"/>
              </a:cxn>
              <a:cxn ang="0">
                <a:pos x="205" y="283"/>
              </a:cxn>
              <a:cxn ang="0">
                <a:pos x="181" y="317"/>
              </a:cxn>
              <a:cxn ang="0">
                <a:pos x="181" y="265"/>
              </a:cxn>
              <a:cxn ang="0">
                <a:pos x="194" y="223"/>
              </a:cxn>
              <a:cxn ang="0">
                <a:pos x="253" y="209"/>
              </a:cxn>
              <a:cxn ang="0">
                <a:pos x="175" y="55"/>
              </a:cxn>
              <a:cxn ang="0">
                <a:pos x="97" y="134"/>
              </a:cxn>
              <a:cxn ang="0">
                <a:pos x="86" y="147"/>
              </a:cxn>
              <a:cxn ang="0">
                <a:pos x="74" y="135"/>
              </a:cxn>
              <a:cxn ang="0">
                <a:pos x="73" y="130"/>
              </a:cxn>
              <a:cxn ang="0">
                <a:pos x="281" y="130"/>
              </a:cxn>
              <a:cxn ang="0">
                <a:pos x="281" y="206"/>
              </a:cxn>
              <a:cxn ang="0">
                <a:pos x="295" y="223"/>
              </a:cxn>
              <a:cxn ang="0">
                <a:pos x="346" y="370"/>
              </a:cxn>
              <a:cxn ang="0">
                <a:pos x="79" y="422"/>
              </a:cxn>
              <a:cxn ang="0">
                <a:pos x="26" y="276"/>
              </a:cxn>
              <a:cxn ang="0">
                <a:pos x="99" y="223"/>
              </a:cxn>
              <a:cxn ang="0">
                <a:pos x="99" y="197"/>
              </a:cxn>
              <a:cxn ang="0">
                <a:pos x="0" y="276"/>
              </a:cxn>
              <a:cxn ang="0">
                <a:pos x="79" y="449"/>
              </a:cxn>
              <a:cxn ang="0">
                <a:pos x="373" y="370"/>
              </a:cxn>
              <a:cxn ang="0">
                <a:pos x="308" y="198"/>
              </a:cxn>
              <a:cxn ang="0">
                <a:pos x="177" y="0"/>
              </a:cxn>
            </a:cxnLst>
            <a:rect l="0" t="0" r="r" b="b"/>
            <a:pathLst>
              <a:path w="373" h="449">
                <a:moveTo>
                  <a:pt x="47" y="130"/>
                </a:moveTo>
                <a:cubicBezTo>
                  <a:pt x="47" y="130"/>
                  <a:pt x="47" y="131"/>
                  <a:pt x="47" y="131"/>
                </a:cubicBezTo>
                <a:cubicBezTo>
                  <a:pt x="47" y="136"/>
                  <a:pt x="47" y="136"/>
                  <a:pt x="47" y="136"/>
                </a:cubicBezTo>
                <a:cubicBezTo>
                  <a:pt x="47" y="136"/>
                  <a:pt x="47" y="136"/>
                  <a:pt x="47" y="135"/>
                </a:cubicBezTo>
                <a:cubicBezTo>
                  <a:pt x="47" y="146"/>
                  <a:pt x="51" y="155"/>
                  <a:pt x="58" y="163"/>
                </a:cubicBezTo>
                <a:cubicBezTo>
                  <a:pt x="66" y="170"/>
                  <a:pt x="75" y="174"/>
                  <a:pt x="86" y="174"/>
                </a:cubicBezTo>
                <a:cubicBezTo>
                  <a:pt x="106" y="174"/>
                  <a:pt x="123" y="157"/>
                  <a:pt x="124" y="136"/>
                </a:cubicBezTo>
                <a:cubicBezTo>
                  <a:pt x="124" y="136"/>
                  <a:pt x="125" y="121"/>
                  <a:pt x="133" y="107"/>
                </a:cubicBezTo>
                <a:cubicBezTo>
                  <a:pt x="142" y="90"/>
                  <a:pt x="156" y="82"/>
                  <a:pt x="175" y="82"/>
                </a:cubicBezTo>
                <a:cubicBezTo>
                  <a:pt x="204" y="82"/>
                  <a:pt x="226" y="105"/>
                  <a:pt x="226" y="133"/>
                </a:cubicBezTo>
                <a:cubicBezTo>
                  <a:pt x="226" y="133"/>
                  <a:pt x="226" y="178"/>
                  <a:pt x="226" y="196"/>
                </a:cubicBezTo>
                <a:cubicBezTo>
                  <a:pt x="210" y="196"/>
                  <a:pt x="181" y="196"/>
                  <a:pt x="181" y="196"/>
                </a:cubicBezTo>
                <a:cubicBezTo>
                  <a:pt x="173" y="196"/>
                  <a:pt x="167" y="202"/>
                  <a:pt x="167" y="209"/>
                </a:cubicBezTo>
                <a:cubicBezTo>
                  <a:pt x="167" y="209"/>
                  <a:pt x="167" y="228"/>
                  <a:pt x="167" y="240"/>
                </a:cubicBezTo>
                <a:cubicBezTo>
                  <a:pt x="145" y="246"/>
                  <a:pt x="128" y="267"/>
                  <a:pt x="128" y="291"/>
                </a:cubicBezTo>
                <a:cubicBezTo>
                  <a:pt x="128" y="320"/>
                  <a:pt x="152" y="344"/>
                  <a:pt x="181" y="344"/>
                </a:cubicBezTo>
                <a:cubicBezTo>
                  <a:pt x="210" y="344"/>
                  <a:pt x="233" y="320"/>
                  <a:pt x="233" y="291"/>
                </a:cubicBezTo>
                <a:cubicBezTo>
                  <a:pt x="233" y="285"/>
                  <a:pt x="232" y="280"/>
                  <a:pt x="231" y="275"/>
                </a:cubicBezTo>
                <a:cubicBezTo>
                  <a:pt x="228" y="268"/>
                  <a:pt x="221" y="264"/>
                  <a:pt x="214" y="266"/>
                </a:cubicBezTo>
                <a:cubicBezTo>
                  <a:pt x="207" y="268"/>
                  <a:pt x="203" y="276"/>
                  <a:pt x="205" y="283"/>
                </a:cubicBezTo>
                <a:cubicBezTo>
                  <a:pt x="206" y="285"/>
                  <a:pt x="207" y="288"/>
                  <a:pt x="207" y="291"/>
                </a:cubicBezTo>
                <a:cubicBezTo>
                  <a:pt x="207" y="305"/>
                  <a:pt x="195" y="317"/>
                  <a:pt x="181" y="317"/>
                </a:cubicBezTo>
                <a:cubicBezTo>
                  <a:pt x="166" y="317"/>
                  <a:pt x="155" y="305"/>
                  <a:pt x="155" y="291"/>
                </a:cubicBezTo>
                <a:cubicBezTo>
                  <a:pt x="155" y="277"/>
                  <a:pt x="166" y="265"/>
                  <a:pt x="181" y="265"/>
                </a:cubicBezTo>
                <a:cubicBezTo>
                  <a:pt x="188" y="265"/>
                  <a:pt x="194" y="259"/>
                  <a:pt x="194" y="252"/>
                </a:cubicBezTo>
                <a:cubicBezTo>
                  <a:pt x="194" y="252"/>
                  <a:pt x="194" y="235"/>
                  <a:pt x="194" y="223"/>
                </a:cubicBezTo>
                <a:cubicBezTo>
                  <a:pt x="210" y="223"/>
                  <a:pt x="240" y="223"/>
                  <a:pt x="240" y="223"/>
                </a:cubicBezTo>
                <a:cubicBezTo>
                  <a:pt x="247" y="223"/>
                  <a:pt x="253" y="217"/>
                  <a:pt x="253" y="209"/>
                </a:cubicBezTo>
                <a:cubicBezTo>
                  <a:pt x="253" y="133"/>
                  <a:pt x="253" y="133"/>
                  <a:pt x="253" y="133"/>
                </a:cubicBezTo>
                <a:cubicBezTo>
                  <a:pt x="253" y="90"/>
                  <a:pt x="218" y="55"/>
                  <a:pt x="175" y="55"/>
                </a:cubicBezTo>
                <a:cubicBezTo>
                  <a:pt x="146" y="55"/>
                  <a:pt x="123" y="69"/>
                  <a:pt x="109" y="96"/>
                </a:cubicBezTo>
                <a:cubicBezTo>
                  <a:pt x="99" y="114"/>
                  <a:pt x="97" y="133"/>
                  <a:pt x="97" y="134"/>
                </a:cubicBezTo>
                <a:cubicBezTo>
                  <a:pt x="97" y="134"/>
                  <a:pt x="97" y="135"/>
                  <a:pt x="97" y="135"/>
                </a:cubicBezTo>
                <a:cubicBezTo>
                  <a:pt x="97" y="142"/>
                  <a:pt x="92" y="147"/>
                  <a:pt x="86" y="147"/>
                </a:cubicBezTo>
                <a:cubicBezTo>
                  <a:pt x="82" y="147"/>
                  <a:pt x="79" y="146"/>
                  <a:pt x="77" y="144"/>
                </a:cubicBezTo>
                <a:cubicBezTo>
                  <a:pt x="75" y="141"/>
                  <a:pt x="74" y="138"/>
                  <a:pt x="74" y="135"/>
                </a:cubicBezTo>
                <a:cubicBezTo>
                  <a:pt x="74" y="135"/>
                  <a:pt x="74" y="135"/>
                  <a:pt x="74" y="135"/>
                </a:cubicBezTo>
                <a:cubicBezTo>
                  <a:pt x="74" y="135"/>
                  <a:pt x="73" y="131"/>
                  <a:pt x="73" y="130"/>
                </a:cubicBezTo>
                <a:cubicBezTo>
                  <a:pt x="74" y="73"/>
                  <a:pt x="120" y="27"/>
                  <a:pt x="177" y="27"/>
                </a:cubicBezTo>
                <a:cubicBezTo>
                  <a:pt x="235" y="27"/>
                  <a:pt x="281" y="73"/>
                  <a:pt x="281" y="130"/>
                </a:cubicBezTo>
                <a:cubicBezTo>
                  <a:pt x="281" y="206"/>
                  <a:pt x="281" y="206"/>
                  <a:pt x="281" y="206"/>
                </a:cubicBezTo>
                <a:cubicBezTo>
                  <a:pt x="281" y="206"/>
                  <a:pt x="281" y="206"/>
                  <a:pt x="281" y="206"/>
                </a:cubicBezTo>
                <a:cubicBezTo>
                  <a:pt x="281" y="210"/>
                  <a:pt x="281" y="210"/>
                  <a:pt x="281" y="210"/>
                </a:cubicBezTo>
                <a:cubicBezTo>
                  <a:pt x="281" y="217"/>
                  <a:pt x="287" y="223"/>
                  <a:pt x="295" y="223"/>
                </a:cubicBezTo>
                <a:cubicBezTo>
                  <a:pt x="323" y="223"/>
                  <a:pt x="346" y="247"/>
                  <a:pt x="346" y="276"/>
                </a:cubicBezTo>
                <a:cubicBezTo>
                  <a:pt x="346" y="370"/>
                  <a:pt x="346" y="370"/>
                  <a:pt x="346" y="370"/>
                </a:cubicBezTo>
                <a:cubicBezTo>
                  <a:pt x="346" y="399"/>
                  <a:pt x="323" y="422"/>
                  <a:pt x="294" y="422"/>
                </a:cubicBezTo>
                <a:cubicBezTo>
                  <a:pt x="79" y="422"/>
                  <a:pt x="79" y="422"/>
                  <a:pt x="79" y="422"/>
                </a:cubicBezTo>
                <a:cubicBezTo>
                  <a:pt x="50" y="422"/>
                  <a:pt x="26" y="399"/>
                  <a:pt x="26" y="370"/>
                </a:cubicBezTo>
                <a:cubicBezTo>
                  <a:pt x="26" y="276"/>
                  <a:pt x="26" y="276"/>
                  <a:pt x="26" y="276"/>
                </a:cubicBezTo>
                <a:cubicBezTo>
                  <a:pt x="26" y="247"/>
                  <a:pt x="50" y="223"/>
                  <a:pt x="79" y="223"/>
                </a:cubicBezTo>
                <a:cubicBezTo>
                  <a:pt x="99" y="223"/>
                  <a:pt x="99" y="223"/>
                  <a:pt x="99" y="223"/>
                </a:cubicBezTo>
                <a:cubicBezTo>
                  <a:pt x="106" y="223"/>
                  <a:pt x="112" y="217"/>
                  <a:pt x="112" y="210"/>
                </a:cubicBezTo>
                <a:cubicBezTo>
                  <a:pt x="112" y="202"/>
                  <a:pt x="106" y="197"/>
                  <a:pt x="99" y="197"/>
                </a:cubicBezTo>
                <a:cubicBezTo>
                  <a:pt x="79" y="197"/>
                  <a:pt x="79" y="197"/>
                  <a:pt x="79" y="197"/>
                </a:cubicBezTo>
                <a:cubicBezTo>
                  <a:pt x="35" y="197"/>
                  <a:pt x="0" y="232"/>
                  <a:pt x="0" y="276"/>
                </a:cubicBezTo>
                <a:cubicBezTo>
                  <a:pt x="0" y="370"/>
                  <a:pt x="0" y="370"/>
                  <a:pt x="0" y="370"/>
                </a:cubicBezTo>
                <a:cubicBezTo>
                  <a:pt x="0" y="413"/>
                  <a:pt x="35" y="449"/>
                  <a:pt x="79" y="449"/>
                </a:cubicBezTo>
                <a:cubicBezTo>
                  <a:pt x="294" y="449"/>
                  <a:pt x="294" y="449"/>
                  <a:pt x="294" y="449"/>
                </a:cubicBezTo>
                <a:cubicBezTo>
                  <a:pt x="337" y="449"/>
                  <a:pt x="373" y="413"/>
                  <a:pt x="373" y="370"/>
                </a:cubicBezTo>
                <a:cubicBezTo>
                  <a:pt x="373" y="276"/>
                  <a:pt x="373" y="276"/>
                  <a:pt x="373" y="276"/>
                </a:cubicBezTo>
                <a:cubicBezTo>
                  <a:pt x="373" y="237"/>
                  <a:pt x="345" y="204"/>
                  <a:pt x="308" y="198"/>
                </a:cubicBezTo>
                <a:cubicBezTo>
                  <a:pt x="308" y="185"/>
                  <a:pt x="308" y="130"/>
                  <a:pt x="308" y="130"/>
                </a:cubicBezTo>
                <a:cubicBezTo>
                  <a:pt x="308" y="58"/>
                  <a:pt x="249" y="0"/>
                  <a:pt x="177" y="0"/>
                </a:cubicBezTo>
                <a:cubicBezTo>
                  <a:pt x="105" y="0"/>
                  <a:pt x="47" y="58"/>
                  <a:pt x="47" y="130"/>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35" name="TextBox 334"/>
          <p:cNvSpPr txBox="1"/>
          <p:nvPr userDrawn="1"/>
        </p:nvSpPr>
        <p:spPr>
          <a:xfrm>
            <a:off x="7182847" y="2639108"/>
            <a:ext cx="1088520" cy="246221"/>
          </a:xfrm>
          <a:prstGeom prst="rect">
            <a:avLst/>
          </a:prstGeom>
          <a:noFill/>
        </p:spPr>
        <p:txBody>
          <a:bodyPr wrap="square" lIns="91432" tIns="0" rIns="91432" bIns="0" rtlCol="0" anchor="b" anchorCtr="0">
            <a:spAutoFit/>
          </a:bodyPr>
          <a:lstStyle/>
          <a:p>
            <a:pPr algn="ctr"/>
            <a:r>
              <a:rPr lang="en-US" sz="800" b="1" dirty="0">
                <a:solidFill>
                  <a:prstClr val="white"/>
                </a:solidFill>
                <a:cs typeface="Arial" pitchFamily="34" charset="0"/>
              </a:rPr>
              <a:t>Access</a:t>
            </a:r>
            <a:br>
              <a:rPr lang="en-US" sz="800" b="1" dirty="0">
                <a:solidFill>
                  <a:prstClr val="white"/>
                </a:solidFill>
                <a:cs typeface="Arial" pitchFamily="34" charset="0"/>
              </a:rPr>
            </a:br>
            <a:r>
              <a:rPr lang="en-US" sz="800" b="1" dirty="0">
                <a:solidFill>
                  <a:prstClr val="white"/>
                </a:solidFill>
                <a:cs typeface="Arial" pitchFamily="34" charset="0"/>
              </a:rPr>
              <a:t>control</a:t>
            </a:r>
          </a:p>
        </p:txBody>
      </p:sp>
      <p:sp>
        <p:nvSpPr>
          <p:cNvPr id="336" name="Freeform 335"/>
          <p:cNvSpPr>
            <a:spLocks noChangeAspect="1"/>
          </p:cNvSpPr>
          <p:nvPr userDrawn="1"/>
        </p:nvSpPr>
        <p:spPr bwMode="auto">
          <a:xfrm>
            <a:off x="11279225" y="3000095"/>
            <a:ext cx="509366" cy="393192"/>
          </a:xfrm>
          <a:custGeom>
            <a:avLst/>
            <a:gdLst/>
            <a:ahLst/>
            <a:cxnLst>
              <a:cxn ang="0">
                <a:pos x="197" y="14"/>
              </a:cxn>
              <a:cxn ang="0">
                <a:pos x="180" y="79"/>
              </a:cxn>
              <a:cxn ang="0">
                <a:pos x="167" y="92"/>
              </a:cxn>
              <a:cxn ang="0">
                <a:pos x="196" y="139"/>
              </a:cxn>
              <a:cxn ang="0">
                <a:pos x="220" y="175"/>
              </a:cxn>
              <a:cxn ang="0">
                <a:pos x="234" y="185"/>
              </a:cxn>
              <a:cxn ang="0">
                <a:pos x="233" y="291"/>
              </a:cxn>
              <a:cxn ang="0">
                <a:pos x="185" y="188"/>
              </a:cxn>
              <a:cxn ang="0">
                <a:pos x="194" y="168"/>
              </a:cxn>
              <a:cxn ang="0">
                <a:pos x="125" y="79"/>
              </a:cxn>
              <a:cxn ang="0">
                <a:pos x="69" y="89"/>
              </a:cxn>
              <a:cxn ang="0">
                <a:pos x="3" y="354"/>
              </a:cxn>
              <a:cxn ang="0">
                <a:pos x="450" y="359"/>
              </a:cxn>
              <a:cxn ang="0">
                <a:pos x="463" y="343"/>
              </a:cxn>
              <a:cxn ang="0">
                <a:pos x="385" y="79"/>
              </a:cxn>
              <a:cxn ang="0">
                <a:pos x="316" y="92"/>
              </a:cxn>
              <a:cxn ang="0">
                <a:pos x="375" y="106"/>
              </a:cxn>
              <a:cxn ang="0">
                <a:pos x="31" y="333"/>
              </a:cxn>
              <a:cxn ang="0">
                <a:pos x="118" y="106"/>
              </a:cxn>
              <a:cxn ang="0">
                <a:pos x="72" y="241"/>
              </a:cxn>
              <a:cxn ang="0">
                <a:pos x="341" y="300"/>
              </a:cxn>
              <a:cxn ang="0">
                <a:pos x="342" y="180"/>
              </a:cxn>
              <a:cxn ang="0">
                <a:pos x="205" y="106"/>
              </a:cxn>
              <a:cxn ang="0">
                <a:pos x="223" y="92"/>
              </a:cxn>
              <a:cxn ang="0">
                <a:pos x="244" y="27"/>
              </a:cxn>
              <a:cxn ang="0">
                <a:pos x="257" y="106"/>
              </a:cxn>
              <a:cxn ang="0">
                <a:pos x="245" y="131"/>
              </a:cxn>
              <a:cxn ang="0">
                <a:pos x="248" y="150"/>
              </a:cxn>
              <a:cxn ang="0">
                <a:pos x="298" y="100"/>
              </a:cxn>
              <a:cxn ang="0">
                <a:pos x="287" y="79"/>
              </a:cxn>
              <a:cxn ang="0">
                <a:pos x="270" y="14"/>
              </a:cxn>
              <a:cxn ang="0">
                <a:pos x="210" y="0"/>
              </a:cxn>
            </a:cxnLst>
            <a:rect l="0" t="0" r="r" b="b"/>
            <a:pathLst>
              <a:path w="464" h="359">
                <a:moveTo>
                  <a:pt x="210" y="0"/>
                </a:moveTo>
                <a:cubicBezTo>
                  <a:pt x="203" y="0"/>
                  <a:pt x="197" y="6"/>
                  <a:pt x="197" y="14"/>
                </a:cubicBezTo>
                <a:cubicBezTo>
                  <a:pt x="197" y="14"/>
                  <a:pt x="197" y="61"/>
                  <a:pt x="197" y="79"/>
                </a:cubicBezTo>
                <a:cubicBezTo>
                  <a:pt x="188" y="79"/>
                  <a:pt x="180" y="79"/>
                  <a:pt x="180" y="79"/>
                </a:cubicBezTo>
                <a:cubicBezTo>
                  <a:pt x="175" y="79"/>
                  <a:pt x="171" y="82"/>
                  <a:pt x="168" y="86"/>
                </a:cubicBezTo>
                <a:cubicBezTo>
                  <a:pt x="167" y="88"/>
                  <a:pt x="167" y="90"/>
                  <a:pt x="167" y="92"/>
                </a:cubicBezTo>
                <a:cubicBezTo>
                  <a:pt x="167" y="95"/>
                  <a:pt x="168" y="98"/>
                  <a:pt x="169" y="100"/>
                </a:cubicBezTo>
                <a:cubicBezTo>
                  <a:pt x="196" y="139"/>
                  <a:pt x="196" y="139"/>
                  <a:pt x="196" y="139"/>
                </a:cubicBezTo>
                <a:cubicBezTo>
                  <a:pt x="214" y="166"/>
                  <a:pt x="214" y="166"/>
                  <a:pt x="214" y="166"/>
                </a:cubicBezTo>
                <a:cubicBezTo>
                  <a:pt x="220" y="175"/>
                  <a:pt x="220" y="175"/>
                  <a:pt x="220" y="175"/>
                </a:cubicBezTo>
                <a:cubicBezTo>
                  <a:pt x="224" y="180"/>
                  <a:pt x="226" y="184"/>
                  <a:pt x="233" y="185"/>
                </a:cubicBezTo>
                <a:cubicBezTo>
                  <a:pt x="233" y="185"/>
                  <a:pt x="234" y="185"/>
                  <a:pt x="234" y="185"/>
                </a:cubicBezTo>
                <a:cubicBezTo>
                  <a:pt x="311" y="185"/>
                  <a:pt x="365" y="215"/>
                  <a:pt x="365" y="241"/>
                </a:cubicBezTo>
                <a:cubicBezTo>
                  <a:pt x="365" y="266"/>
                  <a:pt x="316" y="291"/>
                  <a:pt x="233" y="291"/>
                </a:cubicBezTo>
                <a:cubicBezTo>
                  <a:pt x="150" y="291"/>
                  <a:pt x="99" y="265"/>
                  <a:pt x="99" y="241"/>
                </a:cubicBezTo>
                <a:cubicBezTo>
                  <a:pt x="99" y="219"/>
                  <a:pt x="135" y="197"/>
                  <a:pt x="185" y="188"/>
                </a:cubicBezTo>
                <a:cubicBezTo>
                  <a:pt x="190" y="188"/>
                  <a:pt x="193" y="185"/>
                  <a:pt x="195" y="180"/>
                </a:cubicBezTo>
                <a:cubicBezTo>
                  <a:pt x="197" y="176"/>
                  <a:pt x="196" y="171"/>
                  <a:pt x="194" y="168"/>
                </a:cubicBezTo>
                <a:cubicBezTo>
                  <a:pt x="136" y="85"/>
                  <a:pt x="136" y="85"/>
                  <a:pt x="136" y="85"/>
                </a:cubicBezTo>
                <a:cubicBezTo>
                  <a:pt x="134" y="81"/>
                  <a:pt x="130" y="79"/>
                  <a:pt x="125" y="79"/>
                </a:cubicBezTo>
                <a:cubicBezTo>
                  <a:pt x="82" y="79"/>
                  <a:pt x="82" y="79"/>
                  <a:pt x="82" y="79"/>
                </a:cubicBezTo>
                <a:cubicBezTo>
                  <a:pt x="76" y="79"/>
                  <a:pt x="70" y="83"/>
                  <a:pt x="69" y="89"/>
                </a:cubicBezTo>
                <a:cubicBezTo>
                  <a:pt x="1" y="342"/>
                  <a:pt x="1" y="342"/>
                  <a:pt x="1" y="342"/>
                </a:cubicBezTo>
                <a:cubicBezTo>
                  <a:pt x="0" y="346"/>
                  <a:pt x="1" y="351"/>
                  <a:pt x="3" y="354"/>
                </a:cubicBezTo>
                <a:cubicBezTo>
                  <a:pt x="6" y="357"/>
                  <a:pt x="10" y="359"/>
                  <a:pt x="14" y="359"/>
                </a:cubicBezTo>
                <a:cubicBezTo>
                  <a:pt x="450" y="359"/>
                  <a:pt x="450" y="359"/>
                  <a:pt x="450" y="359"/>
                </a:cubicBezTo>
                <a:cubicBezTo>
                  <a:pt x="454" y="359"/>
                  <a:pt x="458" y="357"/>
                  <a:pt x="461" y="354"/>
                </a:cubicBezTo>
                <a:cubicBezTo>
                  <a:pt x="463" y="351"/>
                  <a:pt x="464" y="347"/>
                  <a:pt x="463" y="343"/>
                </a:cubicBezTo>
                <a:cubicBezTo>
                  <a:pt x="398" y="89"/>
                  <a:pt x="398" y="89"/>
                  <a:pt x="398" y="89"/>
                </a:cubicBezTo>
                <a:cubicBezTo>
                  <a:pt x="397" y="83"/>
                  <a:pt x="391" y="79"/>
                  <a:pt x="385" y="79"/>
                </a:cubicBezTo>
                <a:cubicBezTo>
                  <a:pt x="329" y="79"/>
                  <a:pt x="329" y="79"/>
                  <a:pt x="329" y="79"/>
                </a:cubicBezTo>
                <a:cubicBezTo>
                  <a:pt x="321" y="79"/>
                  <a:pt x="316" y="85"/>
                  <a:pt x="316" y="92"/>
                </a:cubicBezTo>
                <a:cubicBezTo>
                  <a:pt x="316" y="100"/>
                  <a:pt x="321" y="106"/>
                  <a:pt x="329" y="106"/>
                </a:cubicBezTo>
                <a:cubicBezTo>
                  <a:pt x="329" y="106"/>
                  <a:pt x="361" y="106"/>
                  <a:pt x="375" y="106"/>
                </a:cubicBezTo>
                <a:cubicBezTo>
                  <a:pt x="379" y="123"/>
                  <a:pt x="426" y="305"/>
                  <a:pt x="433" y="333"/>
                </a:cubicBezTo>
                <a:cubicBezTo>
                  <a:pt x="403" y="333"/>
                  <a:pt x="62" y="333"/>
                  <a:pt x="31" y="333"/>
                </a:cubicBezTo>
                <a:cubicBezTo>
                  <a:pt x="39" y="304"/>
                  <a:pt x="87" y="123"/>
                  <a:pt x="92" y="106"/>
                </a:cubicBezTo>
                <a:cubicBezTo>
                  <a:pt x="101" y="106"/>
                  <a:pt x="111" y="106"/>
                  <a:pt x="118" y="106"/>
                </a:cubicBezTo>
                <a:cubicBezTo>
                  <a:pt x="124" y="113"/>
                  <a:pt x="147" y="147"/>
                  <a:pt x="160" y="166"/>
                </a:cubicBezTo>
                <a:cubicBezTo>
                  <a:pt x="106" y="180"/>
                  <a:pt x="72" y="208"/>
                  <a:pt x="72" y="241"/>
                </a:cubicBezTo>
                <a:cubicBezTo>
                  <a:pt x="72" y="286"/>
                  <a:pt x="138" y="318"/>
                  <a:pt x="233" y="318"/>
                </a:cubicBezTo>
                <a:cubicBezTo>
                  <a:pt x="275" y="318"/>
                  <a:pt x="313" y="311"/>
                  <a:pt x="341" y="300"/>
                </a:cubicBezTo>
                <a:cubicBezTo>
                  <a:pt x="374" y="286"/>
                  <a:pt x="392" y="265"/>
                  <a:pt x="392" y="241"/>
                </a:cubicBezTo>
                <a:cubicBezTo>
                  <a:pt x="392" y="217"/>
                  <a:pt x="374" y="195"/>
                  <a:pt x="342" y="180"/>
                </a:cubicBezTo>
                <a:cubicBezTo>
                  <a:pt x="315" y="167"/>
                  <a:pt x="279" y="159"/>
                  <a:pt x="241" y="158"/>
                </a:cubicBezTo>
                <a:cubicBezTo>
                  <a:pt x="234" y="148"/>
                  <a:pt x="218" y="125"/>
                  <a:pt x="205" y="106"/>
                </a:cubicBezTo>
                <a:cubicBezTo>
                  <a:pt x="206" y="106"/>
                  <a:pt x="210" y="106"/>
                  <a:pt x="210" y="106"/>
                </a:cubicBezTo>
                <a:cubicBezTo>
                  <a:pt x="217" y="106"/>
                  <a:pt x="223" y="100"/>
                  <a:pt x="223" y="92"/>
                </a:cubicBezTo>
                <a:cubicBezTo>
                  <a:pt x="223" y="92"/>
                  <a:pt x="223" y="45"/>
                  <a:pt x="223" y="27"/>
                </a:cubicBezTo>
                <a:cubicBezTo>
                  <a:pt x="232" y="27"/>
                  <a:pt x="235" y="27"/>
                  <a:pt x="244" y="27"/>
                </a:cubicBezTo>
                <a:cubicBezTo>
                  <a:pt x="244" y="45"/>
                  <a:pt x="244" y="92"/>
                  <a:pt x="244" y="92"/>
                </a:cubicBezTo>
                <a:cubicBezTo>
                  <a:pt x="244" y="100"/>
                  <a:pt x="250" y="106"/>
                  <a:pt x="257" y="106"/>
                </a:cubicBezTo>
                <a:cubicBezTo>
                  <a:pt x="257" y="106"/>
                  <a:pt x="261" y="106"/>
                  <a:pt x="262" y="106"/>
                </a:cubicBezTo>
                <a:cubicBezTo>
                  <a:pt x="253" y="118"/>
                  <a:pt x="245" y="131"/>
                  <a:pt x="245" y="131"/>
                </a:cubicBezTo>
                <a:cubicBezTo>
                  <a:pt x="243" y="133"/>
                  <a:pt x="242" y="136"/>
                  <a:pt x="242" y="139"/>
                </a:cubicBezTo>
                <a:cubicBezTo>
                  <a:pt x="242" y="143"/>
                  <a:pt x="244" y="147"/>
                  <a:pt x="248" y="150"/>
                </a:cubicBezTo>
                <a:cubicBezTo>
                  <a:pt x="254" y="154"/>
                  <a:pt x="262" y="152"/>
                  <a:pt x="267" y="146"/>
                </a:cubicBezTo>
                <a:cubicBezTo>
                  <a:pt x="298" y="100"/>
                  <a:pt x="298" y="100"/>
                  <a:pt x="298" y="100"/>
                </a:cubicBezTo>
                <a:cubicBezTo>
                  <a:pt x="301" y="96"/>
                  <a:pt x="301" y="91"/>
                  <a:pt x="299" y="86"/>
                </a:cubicBezTo>
                <a:cubicBezTo>
                  <a:pt x="296" y="82"/>
                  <a:pt x="292" y="79"/>
                  <a:pt x="287" y="79"/>
                </a:cubicBezTo>
                <a:cubicBezTo>
                  <a:pt x="287" y="79"/>
                  <a:pt x="279" y="79"/>
                  <a:pt x="270" y="79"/>
                </a:cubicBezTo>
                <a:cubicBezTo>
                  <a:pt x="270" y="61"/>
                  <a:pt x="270" y="14"/>
                  <a:pt x="270" y="14"/>
                </a:cubicBezTo>
                <a:cubicBezTo>
                  <a:pt x="270" y="6"/>
                  <a:pt x="265" y="0"/>
                  <a:pt x="257" y="0"/>
                </a:cubicBezTo>
                <a:lnTo>
                  <a:pt x="210" y="0"/>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337" name="Freeform 160"/>
          <p:cNvSpPr>
            <a:spLocks noChangeAspect="1" noEditPoints="1"/>
          </p:cNvSpPr>
          <p:nvPr userDrawn="1"/>
        </p:nvSpPr>
        <p:spPr bwMode="auto">
          <a:xfrm>
            <a:off x="7452679" y="3824021"/>
            <a:ext cx="521677" cy="393192"/>
          </a:xfrm>
          <a:custGeom>
            <a:avLst/>
            <a:gdLst/>
            <a:ahLst/>
            <a:cxnLst>
              <a:cxn ang="0">
                <a:pos x="457" y="83"/>
              </a:cxn>
              <a:cxn ang="0">
                <a:pos x="449" y="73"/>
              </a:cxn>
              <a:cxn ang="0">
                <a:pos x="277" y="2"/>
              </a:cxn>
              <a:cxn ang="0">
                <a:pos x="264" y="3"/>
              </a:cxn>
              <a:cxn ang="0">
                <a:pos x="191" y="57"/>
              </a:cxn>
              <a:cxn ang="0">
                <a:pos x="186" y="69"/>
              </a:cxn>
              <a:cxn ang="0">
                <a:pos x="194" y="80"/>
              </a:cxn>
              <a:cxn ang="0">
                <a:pos x="311" y="126"/>
              </a:cxn>
              <a:cxn ang="0">
                <a:pos x="214" y="153"/>
              </a:cxn>
              <a:cxn ang="0">
                <a:pos x="179" y="87"/>
              </a:cxn>
              <a:cxn ang="0">
                <a:pos x="173" y="81"/>
              </a:cxn>
              <a:cxn ang="0">
                <a:pos x="21" y="7"/>
              </a:cxn>
              <a:cxn ang="0">
                <a:pos x="5" y="10"/>
              </a:cxn>
              <a:cxn ang="0">
                <a:pos x="3" y="26"/>
              </a:cxn>
              <a:cxn ang="0">
                <a:pos x="44" y="98"/>
              </a:cxn>
              <a:cxn ang="0">
                <a:pos x="44" y="250"/>
              </a:cxn>
              <a:cxn ang="0">
                <a:pos x="50" y="261"/>
              </a:cxn>
              <a:cxn ang="0">
                <a:pos x="168" y="336"/>
              </a:cxn>
              <a:cxn ang="0">
                <a:pos x="186" y="332"/>
              </a:cxn>
              <a:cxn ang="0">
                <a:pos x="182" y="314"/>
              </a:cxn>
              <a:cxn ang="0">
                <a:pos x="70" y="243"/>
              </a:cxn>
              <a:cxn ang="0">
                <a:pos x="70" y="95"/>
              </a:cxn>
              <a:cxn ang="0">
                <a:pos x="69" y="88"/>
              </a:cxn>
              <a:cxn ang="0">
                <a:pos x="47" y="50"/>
              </a:cxn>
              <a:cxn ang="0">
                <a:pos x="157" y="103"/>
              </a:cxn>
              <a:cxn ang="0">
                <a:pos x="176" y="139"/>
              </a:cxn>
              <a:cxn ang="0">
                <a:pos x="99" y="98"/>
              </a:cxn>
              <a:cxn ang="0">
                <a:pos x="81" y="104"/>
              </a:cxn>
              <a:cxn ang="0">
                <a:pos x="87" y="122"/>
              </a:cxn>
              <a:cxn ang="0">
                <a:pos x="196" y="179"/>
              </a:cxn>
              <a:cxn ang="0">
                <a:pos x="196" y="331"/>
              </a:cxn>
              <a:cxn ang="0">
                <a:pos x="201" y="342"/>
              </a:cxn>
              <a:cxn ang="0">
                <a:pos x="213" y="343"/>
              </a:cxn>
              <a:cxn ang="0">
                <a:pos x="389" y="285"/>
              </a:cxn>
              <a:cxn ang="0">
                <a:pos x="398" y="273"/>
              </a:cxn>
              <a:cxn ang="0">
                <a:pos x="398" y="139"/>
              </a:cxn>
              <a:cxn ang="0">
                <a:pos x="452" y="95"/>
              </a:cxn>
              <a:cxn ang="0">
                <a:pos x="457" y="83"/>
              </a:cxn>
              <a:cxn ang="0">
                <a:pos x="376" y="122"/>
              </a:cxn>
              <a:cxn ang="0">
                <a:pos x="371" y="133"/>
              </a:cxn>
              <a:cxn ang="0">
                <a:pos x="371" y="263"/>
              </a:cxn>
              <a:cxn ang="0">
                <a:pos x="222" y="312"/>
              </a:cxn>
              <a:cxn ang="0">
                <a:pos x="222" y="178"/>
              </a:cxn>
              <a:cxn ang="0">
                <a:pos x="357" y="141"/>
              </a:cxn>
              <a:cxn ang="0">
                <a:pos x="367" y="129"/>
              </a:cxn>
              <a:cxn ang="0">
                <a:pos x="359" y="116"/>
              </a:cxn>
              <a:cxn ang="0">
                <a:pos x="226" y="64"/>
              </a:cxn>
              <a:cxn ang="0">
                <a:pos x="274" y="29"/>
              </a:cxn>
              <a:cxn ang="0">
                <a:pos x="418" y="89"/>
              </a:cxn>
              <a:cxn ang="0">
                <a:pos x="376" y="122"/>
              </a:cxn>
            </a:cxnLst>
            <a:rect l="0" t="0" r="r" b="b"/>
            <a:pathLst>
              <a:path w="458" h="345">
                <a:moveTo>
                  <a:pt x="457" y="83"/>
                </a:moveTo>
                <a:cubicBezTo>
                  <a:pt x="456" y="78"/>
                  <a:pt x="453" y="75"/>
                  <a:pt x="449" y="73"/>
                </a:cubicBezTo>
                <a:cubicBezTo>
                  <a:pt x="277" y="2"/>
                  <a:pt x="277" y="2"/>
                  <a:pt x="277" y="2"/>
                </a:cubicBezTo>
                <a:cubicBezTo>
                  <a:pt x="273" y="0"/>
                  <a:pt x="268" y="0"/>
                  <a:pt x="264" y="3"/>
                </a:cubicBezTo>
                <a:cubicBezTo>
                  <a:pt x="191" y="57"/>
                  <a:pt x="191" y="57"/>
                  <a:pt x="191" y="57"/>
                </a:cubicBezTo>
                <a:cubicBezTo>
                  <a:pt x="187" y="59"/>
                  <a:pt x="185" y="64"/>
                  <a:pt x="186" y="69"/>
                </a:cubicBezTo>
                <a:cubicBezTo>
                  <a:pt x="186" y="74"/>
                  <a:pt x="189" y="78"/>
                  <a:pt x="194" y="80"/>
                </a:cubicBezTo>
                <a:cubicBezTo>
                  <a:pt x="311" y="126"/>
                  <a:pt x="311" y="126"/>
                  <a:pt x="311" y="126"/>
                </a:cubicBezTo>
                <a:cubicBezTo>
                  <a:pt x="214" y="153"/>
                  <a:pt x="214" y="153"/>
                  <a:pt x="214" y="153"/>
                </a:cubicBezTo>
                <a:cubicBezTo>
                  <a:pt x="179" y="87"/>
                  <a:pt x="179" y="87"/>
                  <a:pt x="179" y="87"/>
                </a:cubicBezTo>
                <a:cubicBezTo>
                  <a:pt x="177" y="84"/>
                  <a:pt x="175" y="82"/>
                  <a:pt x="173" y="81"/>
                </a:cubicBezTo>
                <a:cubicBezTo>
                  <a:pt x="21" y="7"/>
                  <a:pt x="21" y="7"/>
                  <a:pt x="21" y="7"/>
                </a:cubicBezTo>
                <a:cubicBezTo>
                  <a:pt x="15" y="5"/>
                  <a:pt x="9" y="6"/>
                  <a:pt x="5" y="10"/>
                </a:cubicBezTo>
                <a:cubicBezTo>
                  <a:pt x="1" y="14"/>
                  <a:pt x="0" y="21"/>
                  <a:pt x="3" y="26"/>
                </a:cubicBezTo>
                <a:cubicBezTo>
                  <a:pt x="44" y="98"/>
                  <a:pt x="44" y="98"/>
                  <a:pt x="44" y="98"/>
                </a:cubicBezTo>
                <a:cubicBezTo>
                  <a:pt x="44" y="250"/>
                  <a:pt x="44" y="250"/>
                  <a:pt x="44" y="250"/>
                </a:cubicBezTo>
                <a:cubicBezTo>
                  <a:pt x="44" y="254"/>
                  <a:pt x="46" y="259"/>
                  <a:pt x="50" y="261"/>
                </a:cubicBezTo>
                <a:cubicBezTo>
                  <a:pt x="168" y="336"/>
                  <a:pt x="168" y="336"/>
                  <a:pt x="168" y="336"/>
                </a:cubicBezTo>
                <a:cubicBezTo>
                  <a:pt x="174" y="340"/>
                  <a:pt x="182" y="339"/>
                  <a:pt x="186" y="332"/>
                </a:cubicBezTo>
                <a:cubicBezTo>
                  <a:pt x="190" y="326"/>
                  <a:pt x="189" y="318"/>
                  <a:pt x="182" y="314"/>
                </a:cubicBezTo>
                <a:cubicBezTo>
                  <a:pt x="70" y="243"/>
                  <a:pt x="70" y="243"/>
                  <a:pt x="70" y="243"/>
                </a:cubicBezTo>
                <a:cubicBezTo>
                  <a:pt x="70" y="95"/>
                  <a:pt x="70" y="95"/>
                  <a:pt x="70" y="95"/>
                </a:cubicBezTo>
                <a:cubicBezTo>
                  <a:pt x="70" y="92"/>
                  <a:pt x="70" y="90"/>
                  <a:pt x="69" y="88"/>
                </a:cubicBezTo>
                <a:cubicBezTo>
                  <a:pt x="47" y="50"/>
                  <a:pt x="47" y="50"/>
                  <a:pt x="47" y="50"/>
                </a:cubicBezTo>
                <a:cubicBezTo>
                  <a:pt x="157" y="103"/>
                  <a:pt x="157" y="103"/>
                  <a:pt x="157" y="103"/>
                </a:cubicBezTo>
                <a:cubicBezTo>
                  <a:pt x="176" y="139"/>
                  <a:pt x="176" y="139"/>
                  <a:pt x="176" y="139"/>
                </a:cubicBezTo>
                <a:cubicBezTo>
                  <a:pt x="99" y="98"/>
                  <a:pt x="99" y="98"/>
                  <a:pt x="99" y="98"/>
                </a:cubicBezTo>
                <a:cubicBezTo>
                  <a:pt x="93" y="95"/>
                  <a:pt x="84" y="97"/>
                  <a:pt x="81" y="104"/>
                </a:cubicBezTo>
                <a:cubicBezTo>
                  <a:pt x="78" y="110"/>
                  <a:pt x="80" y="118"/>
                  <a:pt x="87" y="122"/>
                </a:cubicBezTo>
                <a:cubicBezTo>
                  <a:pt x="196" y="179"/>
                  <a:pt x="196" y="179"/>
                  <a:pt x="196" y="179"/>
                </a:cubicBezTo>
                <a:cubicBezTo>
                  <a:pt x="196" y="331"/>
                  <a:pt x="196" y="331"/>
                  <a:pt x="196" y="331"/>
                </a:cubicBezTo>
                <a:cubicBezTo>
                  <a:pt x="196" y="335"/>
                  <a:pt x="198" y="339"/>
                  <a:pt x="201" y="342"/>
                </a:cubicBezTo>
                <a:cubicBezTo>
                  <a:pt x="205" y="344"/>
                  <a:pt x="209" y="345"/>
                  <a:pt x="213" y="343"/>
                </a:cubicBezTo>
                <a:cubicBezTo>
                  <a:pt x="389" y="285"/>
                  <a:pt x="389" y="285"/>
                  <a:pt x="389" y="285"/>
                </a:cubicBezTo>
                <a:cubicBezTo>
                  <a:pt x="394" y="284"/>
                  <a:pt x="398" y="279"/>
                  <a:pt x="398" y="273"/>
                </a:cubicBezTo>
                <a:cubicBezTo>
                  <a:pt x="398" y="139"/>
                  <a:pt x="398" y="139"/>
                  <a:pt x="398" y="139"/>
                </a:cubicBezTo>
                <a:cubicBezTo>
                  <a:pt x="452" y="95"/>
                  <a:pt x="452" y="95"/>
                  <a:pt x="452" y="95"/>
                </a:cubicBezTo>
                <a:cubicBezTo>
                  <a:pt x="456" y="92"/>
                  <a:pt x="458" y="88"/>
                  <a:pt x="457" y="83"/>
                </a:cubicBezTo>
                <a:close/>
                <a:moveTo>
                  <a:pt x="376" y="122"/>
                </a:moveTo>
                <a:cubicBezTo>
                  <a:pt x="373" y="125"/>
                  <a:pt x="371" y="129"/>
                  <a:pt x="371" y="133"/>
                </a:cubicBezTo>
                <a:cubicBezTo>
                  <a:pt x="371" y="263"/>
                  <a:pt x="371" y="263"/>
                  <a:pt x="371" y="263"/>
                </a:cubicBezTo>
                <a:cubicBezTo>
                  <a:pt x="222" y="312"/>
                  <a:pt x="222" y="312"/>
                  <a:pt x="222" y="312"/>
                </a:cubicBezTo>
                <a:cubicBezTo>
                  <a:pt x="222" y="178"/>
                  <a:pt x="222" y="178"/>
                  <a:pt x="222" y="178"/>
                </a:cubicBezTo>
                <a:cubicBezTo>
                  <a:pt x="357" y="141"/>
                  <a:pt x="357" y="141"/>
                  <a:pt x="357" y="141"/>
                </a:cubicBezTo>
                <a:cubicBezTo>
                  <a:pt x="363" y="140"/>
                  <a:pt x="367" y="135"/>
                  <a:pt x="367" y="129"/>
                </a:cubicBezTo>
                <a:cubicBezTo>
                  <a:pt x="367" y="123"/>
                  <a:pt x="364" y="118"/>
                  <a:pt x="359" y="116"/>
                </a:cubicBezTo>
                <a:cubicBezTo>
                  <a:pt x="226" y="64"/>
                  <a:pt x="226" y="64"/>
                  <a:pt x="226" y="64"/>
                </a:cubicBezTo>
                <a:cubicBezTo>
                  <a:pt x="274" y="29"/>
                  <a:pt x="274" y="29"/>
                  <a:pt x="274" y="29"/>
                </a:cubicBezTo>
                <a:cubicBezTo>
                  <a:pt x="418" y="89"/>
                  <a:pt x="418" y="89"/>
                  <a:pt x="418" y="89"/>
                </a:cubicBezTo>
                <a:lnTo>
                  <a:pt x="376" y="122"/>
                </a:ln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338" name="Freeform 164"/>
          <p:cNvSpPr>
            <a:spLocks noChangeAspect="1"/>
          </p:cNvSpPr>
          <p:nvPr userDrawn="1"/>
        </p:nvSpPr>
        <p:spPr bwMode="auto">
          <a:xfrm>
            <a:off x="9448825" y="3849421"/>
            <a:ext cx="393194" cy="393192"/>
          </a:xfrm>
          <a:custGeom>
            <a:avLst/>
            <a:gdLst/>
            <a:ahLst/>
            <a:cxnLst>
              <a:cxn ang="0">
                <a:pos x="307" y="183"/>
              </a:cxn>
              <a:cxn ang="0">
                <a:pos x="256" y="269"/>
              </a:cxn>
              <a:cxn ang="0">
                <a:pos x="207" y="180"/>
              </a:cxn>
              <a:cxn ang="0">
                <a:pos x="141" y="85"/>
              </a:cxn>
              <a:cxn ang="0">
                <a:pos x="27" y="183"/>
              </a:cxn>
              <a:cxn ang="0">
                <a:pos x="331" y="101"/>
              </a:cxn>
              <a:cxn ang="0">
                <a:pos x="369" y="143"/>
              </a:cxn>
              <a:cxn ang="0">
                <a:pos x="369" y="143"/>
              </a:cxn>
              <a:cxn ang="0">
                <a:pos x="371" y="144"/>
              </a:cxn>
              <a:cxn ang="0">
                <a:pos x="373" y="144"/>
              </a:cxn>
              <a:cxn ang="0">
                <a:pos x="375" y="144"/>
              </a:cxn>
              <a:cxn ang="0">
                <a:pos x="377" y="143"/>
              </a:cxn>
              <a:cxn ang="0">
                <a:pos x="379" y="143"/>
              </a:cxn>
              <a:cxn ang="0">
                <a:pos x="380" y="142"/>
              </a:cxn>
              <a:cxn ang="0">
                <a:pos x="382" y="141"/>
              </a:cxn>
              <a:cxn ang="0">
                <a:pos x="383" y="139"/>
              </a:cxn>
              <a:cxn ang="0">
                <a:pos x="384" y="138"/>
              </a:cxn>
              <a:cxn ang="0">
                <a:pos x="385" y="137"/>
              </a:cxn>
              <a:cxn ang="0">
                <a:pos x="386" y="135"/>
              </a:cxn>
              <a:cxn ang="0">
                <a:pos x="386" y="134"/>
              </a:cxn>
              <a:cxn ang="0">
                <a:pos x="387" y="132"/>
              </a:cxn>
              <a:cxn ang="0">
                <a:pos x="387" y="131"/>
              </a:cxn>
              <a:cxn ang="0">
                <a:pos x="363" y="79"/>
              </a:cxn>
              <a:cxn ang="0">
                <a:pos x="197" y="0"/>
              </a:cxn>
              <a:cxn ang="0">
                <a:pos x="86" y="210"/>
              </a:cxn>
              <a:cxn ang="0">
                <a:pos x="141" y="111"/>
              </a:cxn>
              <a:cxn ang="0">
                <a:pos x="185" y="200"/>
              </a:cxn>
              <a:cxn ang="0">
                <a:pos x="307" y="244"/>
              </a:cxn>
              <a:cxn ang="0">
                <a:pos x="197" y="367"/>
              </a:cxn>
              <a:cxn ang="0">
                <a:pos x="69" y="297"/>
              </a:cxn>
              <a:cxn ang="0">
                <a:pos x="29" y="251"/>
              </a:cxn>
              <a:cxn ang="0">
                <a:pos x="27" y="250"/>
              </a:cxn>
              <a:cxn ang="0">
                <a:pos x="21" y="250"/>
              </a:cxn>
              <a:cxn ang="0">
                <a:pos x="19" y="250"/>
              </a:cxn>
              <a:cxn ang="0">
                <a:pos x="18" y="251"/>
              </a:cxn>
              <a:cxn ang="0">
                <a:pos x="16" y="252"/>
              </a:cxn>
              <a:cxn ang="0">
                <a:pos x="15" y="253"/>
              </a:cxn>
              <a:cxn ang="0">
                <a:pos x="13" y="254"/>
              </a:cxn>
              <a:cxn ang="0">
                <a:pos x="11" y="259"/>
              </a:cxn>
              <a:cxn ang="0">
                <a:pos x="4" y="312"/>
              </a:cxn>
              <a:cxn ang="0">
                <a:pos x="30" y="315"/>
              </a:cxn>
              <a:cxn ang="0">
                <a:pos x="197" y="394"/>
              </a:cxn>
            </a:cxnLst>
            <a:rect l="0" t="0" r="r" b="b"/>
            <a:pathLst>
              <a:path w="394" h="394">
                <a:moveTo>
                  <a:pt x="380" y="183"/>
                </a:moveTo>
                <a:cubicBezTo>
                  <a:pt x="307" y="183"/>
                  <a:pt x="307" y="183"/>
                  <a:pt x="307" y="183"/>
                </a:cubicBezTo>
                <a:cubicBezTo>
                  <a:pt x="307" y="183"/>
                  <a:pt x="307" y="183"/>
                  <a:pt x="307" y="183"/>
                </a:cubicBezTo>
                <a:cubicBezTo>
                  <a:pt x="301" y="183"/>
                  <a:pt x="295" y="188"/>
                  <a:pt x="294" y="194"/>
                </a:cubicBezTo>
                <a:cubicBezTo>
                  <a:pt x="294" y="194"/>
                  <a:pt x="290" y="215"/>
                  <a:pt x="282" y="235"/>
                </a:cubicBezTo>
                <a:cubicBezTo>
                  <a:pt x="274" y="256"/>
                  <a:pt x="264" y="269"/>
                  <a:pt x="256" y="269"/>
                </a:cubicBezTo>
                <a:cubicBezTo>
                  <a:pt x="232" y="269"/>
                  <a:pt x="219" y="222"/>
                  <a:pt x="212" y="197"/>
                </a:cubicBezTo>
                <a:cubicBezTo>
                  <a:pt x="211" y="193"/>
                  <a:pt x="211" y="193"/>
                  <a:pt x="211" y="193"/>
                </a:cubicBezTo>
                <a:cubicBezTo>
                  <a:pt x="210" y="189"/>
                  <a:pt x="209" y="185"/>
                  <a:pt x="207" y="180"/>
                </a:cubicBezTo>
                <a:cubicBezTo>
                  <a:pt x="203" y="163"/>
                  <a:pt x="197" y="141"/>
                  <a:pt x="188" y="122"/>
                </a:cubicBezTo>
                <a:cubicBezTo>
                  <a:pt x="176" y="97"/>
                  <a:pt x="160" y="85"/>
                  <a:pt x="141" y="85"/>
                </a:cubicBezTo>
                <a:cubicBezTo>
                  <a:pt x="141" y="85"/>
                  <a:pt x="141" y="85"/>
                  <a:pt x="141" y="85"/>
                </a:cubicBezTo>
                <a:cubicBezTo>
                  <a:pt x="119" y="85"/>
                  <a:pt x="102" y="104"/>
                  <a:pt x="87" y="143"/>
                </a:cubicBezTo>
                <a:cubicBezTo>
                  <a:pt x="81" y="158"/>
                  <a:pt x="77" y="174"/>
                  <a:pt x="75" y="183"/>
                </a:cubicBezTo>
                <a:cubicBezTo>
                  <a:pt x="27" y="183"/>
                  <a:pt x="27" y="183"/>
                  <a:pt x="27" y="183"/>
                </a:cubicBezTo>
                <a:cubicBezTo>
                  <a:pt x="34" y="96"/>
                  <a:pt x="107" y="26"/>
                  <a:pt x="197" y="26"/>
                </a:cubicBezTo>
                <a:cubicBezTo>
                  <a:pt x="256" y="26"/>
                  <a:pt x="309" y="56"/>
                  <a:pt x="340" y="105"/>
                </a:cubicBezTo>
                <a:cubicBezTo>
                  <a:pt x="331" y="101"/>
                  <a:pt x="331" y="101"/>
                  <a:pt x="331" y="101"/>
                </a:cubicBezTo>
                <a:cubicBezTo>
                  <a:pt x="324" y="99"/>
                  <a:pt x="316" y="102"/>
                  <a:pt x="314" y="109"/>
                </a:cubicBezTo>
                <a:cubicBezTo>
                  <a:pt x="311" y="116"/>
                  <a:pt x="315" y="124"/>
                  <a:pt x="322" y="126"/>
                </a:cubicBezTo>
                <a:cubicBezTo>
                  <a:pt x="369" y="143"/>
                  <a:pt x="369" y="143"/>
                  <a:pt x="369" y="143"/>
                </a:cubicBezTo>
                <a:cubicBezTo>
                  <a:pt x="369" y="143"/>
                  <a:pt x="369" y="143"/>
                  <a:pt x="369" y="143"/>
                </a:cubicBezTo>
                <a:cubicBezTo>
                  <a:pt x="369" y="143"/>
                  <a:pt x="369" y="143"/>
                  <a:pt x="369" y="143"/>
                </a:cubicBezTo>
                <a:cubicBezTo>
                  <a:pt x="369" y="143"/>
                  <a:pt x="369" y="143"/>
                  <a:pt x="369" y="143"/>
                </a:cubicBezTo>
                <a:cubicBezTo>
                  <a:pt x="370" y="143"/>
                  <a:pt x="370" y="143"/>
                  <a:pt x="370" y="144"/>
                </a:cubicBezTo>
                <a:cubicBezTo>
                  <a:pt x="370" y="144"/>
                  <a:pt x="371" y="144"/>
                  <a:pt x="371" y="144"/>
                </a:cubicBezTo>
                <a:cubicBezTo>
                  <a:pt x="371" y="144"/>
                  <a:pt x="371" y="144"/>
                  <a:pt x="371" y="144"/>
                </a:cubicBezTo>
                <a:cubicBezTo>
                  <a:pt x="372" y="144"/>
                  <a:pt x="372" y="144"/>
                  <a:pt x="372" y="144"/>
                </a:cubicBezTo>
                <a:cubicBezTo>
                  <a:pt x="373" y="144"/>
                  <a:pt x="373" y="144"/>
                  <a:pt x="373" y="144"/>
                </a:cubicBezTo>
                <a:cubicBezTo>
                  <a:pt x="373" y="144"/>
                  <a:pt x="373" y="144"/>
                  <a:pt x="373" y="144"/>
                </a:cubicBezTo>
                <a:cubicBezTo>
                  <a:pt x="373" y="144"/>
                  <a:pt x="373" y="144"/>
                  <a:pt x="373" y="144"/>
                </a:cubicBezTo>
                <a:cubicBezTo>
                  <a:pt x="374" y="144"/>
                  <a:pt x="374" y="144"/>
                  <a:pt x="375" y="144"/>
                </a:cubicBezTo>
                <a:cubicBezTo>
                  <a:pt x="375" y="144"/>
                  <a:pt x="375" y="144"/>
                  <a:pt x="375" y="144"/>
                </a:cubicBezTo>
                <a:cubicBezTo>
                  <a:pt x="375" y="144"/>
                  <a:pt x="375" y="144"/>
                  <a:pt x="376" y="144"/>
                </a:cubicBezTo>
                <a:cubicBezTo>
                  <a:pt x="376" y="144"/>
                  <a:pt x="376" y="144"/>
                  <a:pt x="376" y="144"/>
                </a:cubicBezTo>
                <a:cubicBezTo>
                  <a:pt x="376" y="144"/>
                  <a:pt x="377" y="144"/>
                  <a:pt x="377" y="143"/>
                </a:cubicBezTo>
                <a:cubicBezTo>
                  <a:pt x="377" y="143"/>
                  <a:pt x="377" y="143"/>
                  <a:pt x="377" y="143"/>
                </a:cubicBezTo>
                <a:cubicBezTo>
                  <a:pt x="378" y="143"/>
                  <a:pt x="378" y="143"/>
                  <a:pt x="378" y="143"/>
                </a:cubicBezTo>
                <a:cubicBezTo>
                  <a:pt x="378" y="143"/>
                  <a:pt x="378" y="143"/>
                  <a:pt x="379" y="143"/>
                </a:cubicBezTo>
                <a:cubicBezTo>
                  <a:pt x="379" y="143"/>
                  <a:pt x="379" y="143"/>
                  <a:pt x="379" y="143"/>
                </a:cubicBezTo>
                <a:cubicBezTo>
                  <a:pt x="380" y="142"/>
                  <a:pt x="380" y="142"/>
                  <a:pt x="380" y="142"/>
                </a:cubicBezTo>
                <a:cubicBezTo>
                  <a:pt x="380" y="142"/>
                  <a:pt x="380" y="142"/>
                  <a:pt x="380" y="142"/>
                </a:cubicBezTo>
                <a:cubicBezTo>
                  <a:pt x="381" y="142"/>
                  <a:pt x="381" y="142"/>
                  <a:pt x="381" y="142"/>
                </a:cubicBezTo>
                <a:cubicBezTo>
                  <a:pt x="381" y="142"/>
                  <a:pt x="381" y="141"/>
                  <a:pt x="381" y="141"/>
                </a:cubicBezTo>
                <a:cubicBezTo>
                  <a:pt x="381" y="141"/>
                  <a:pt x="382" y="141"/>
                  <a:pt x="382" y="141"/>
                </a:cubicBezTo>
                <a:cubicBezTo>
                  <a:pt x="382" y="141"/>
                  <a:pt x="382" y="141"/>
                  <a:pt x="382" y="140"/>
                </a:cubicBezTo>
                <a:cubicBezTo>
                  <a:pt x="383" y="140"/>
                  <a:pt x="383" y="140"/>
                  <a:pt x="383" y="140"/>
                </a:cubicBezTo>
                <a:cubicBezTo>
                  <a:pt x="383" y="140"/>
                  <a:pt x="383" y="140"/>
                  <a:pt x="383" y="139"/>
                </a:cubicBezTo>
                <a:cubicBezTo>
                  <a:pt x="383" y="139"/>
                  <a:pt x="383" y="139"/>
                  <a:pt x="383" y="139"/>
                </a:cubicBezTo>
                <a:cubicBezTo>
                  <a:pt x="384" y="139"/>
                  <a:pt x="384" y="139"/>
                  <a:pt x="384" y="139"/>
                </a:cubicBezTo>
                <a:cubicBezTo>
                  <a:pt x="384" y="139"/>
                  <a:pt x="384" y="138"/>
                  <a:pt x="384" y="138"/>
                </a:cubicBezTo>
                <a:cubicBezTo>
                  <a:pt x="384" y="138"/>
                  <a:pt x="385" y="138"/>
                  <a:pt x="385" y="138"/>
                </a:cubicBezTo>
                <a:cubicBezTo>
                  <a:pt x="385" y="138"/>
                  <a:pt x="385" y="137"/>
                  <a:pt x="385" y="137"/>
                </a:cubicBezTo>
                <a:cubicBezTo>
                  <a:pt x="385" y="137"/>
                  <a:pt x="385" y="137"/>
                  <a:pt x="385" y="137"/>
                </a:cubicBezTo>
                <a:cubicBezTo>
                  <a:pt x="385" y="137"/>
                  <a:pt x="385" y="136"/>
                  <a:pt x="385" y="136"/>
                </a:cubicBezTo>
                <a:cubicBezTo>
                  <a:pt x="386" y="136"/>
                  <a:pt x="386" y="136"/>
                  <a:pt x="386" y="136"/>
                </a:cubicBezTo>
                <a:cubicBezTo>
                  <a:pt x="386" y="135"/>
                  <a:pt x="386" y="135"/>
                  <a:pt x="386" y="135"/>
                </a:cubicBezTo>
                <a:cubicBezTo>
                  <a:pt x="386" y="135"/>
                  <a:pt x="386" y="135"/>
                  <a:pt x="386" y="135"/>
                </a:cubicBezTo>
                <a:cubicBezTo>
                  <a:pt x="386" y="135"/>
                  <a:pt x="386" y="135"/>
                  <a:pt x="386" y="135"/>
                </a:cubicBezTo>
                <a:cubicBezTo>
                  <a:pt x="386" y="135"/>
                  <a:pt x="386" y="134"/>
                  <a:pt x="386" y="134"/>
                </a:cubicBezTo>
                <a:cubicBezTo>
                  <a:pt x="386" y="134"/>
                  <a:pt x="386" y="134"/>
                  <a:pt x="386" y="133"/>
                </a:cubicBezTo>
                <a:cubicBezTo>
                  <a:pt x="386" y="133"/>
                  <a:pt x="387" y="133"/>
                  <a:pt x="387" y="133"/>
                </a:cubicBezTo>
                <a:cubicBezTo>
                  <a:pt x="387" y="132"/>
                  <a:pt x="387" y="132"/>
                  <a:pt x="387" y="132"/>
                </a:cubicBezTo>
                <a:cubicBezTo>
                  <a:pt x="387" y="132"/>
                  <a:pt x="387" y="132"/>
                  <a:pt x="387" y="131"/>
                </a:cubicBezTo>
                <a:cubicBezTo>
                  <a:pt x="387" y="131"/>
                  <a:pt x="387" y="131"/>
                  <a:pt x="387" y="131"/>
                </a:cubicBezTo>
                <a:cubicBezTo>
                  <a:pt x="387" y="131"/>
                  <a:pt x="387" y="131"/>
                  <a:pt x="387" y="131"/>
                </a:cubicBezTo>
                <a:cubicBezTo>
                  <a:pt x="390" y="81"/>
                  <a:pt x="390" y="81"/>
                  <a:pt x="390" y="81"/>
                </a:cubicBezTo>
                <a:cubicBezTo>
                  <a:pt x="390" y="73"/>
                  <a:pt x="385" y="67"/>
                  <a:pt x="377" y="66"/>
                </a:cubicBezTo>
                <a:cubicBezTo>
                  <a:pt x="370" y="66"/>
                  <a:pt x="364" y="72"/>
                  <a:pt x="363" y="79"/>
                </a:cubicBezTo>
                <a:cubicBezTo>
                  <a:pt x="363" y="90"/>
                  <a:pt x="363" y="90"/>
                  <a:pt x="363" y="90"/>
                </a:cubicBezTo>
                <a:cubicBezTo>
                  <a:pt x="347" y="66"/>
                  <a:pt x="327" y="46"/>
                  <a:pt x="303" y="30"/>
                </a:cubicBezTo>
                <a:cubicBezTo>
                  <a:pt x="271" y="10"/>
                  <a:pt x="234" y="0"/>
                  <a:pt x="197" y="0"/>
                </a:cubicBezTo>
                <a:cubicBezTo>
                  <a:pt x="88" y="0"/>
                  <a:pt x="0" y="88"/>
                  <a:pt x="0" y="197"/>
                </a:cubicBezTo>
                <a:cubicBezTo>
                  <a:pt x="0" y="204"/>
                  <a:pt x="6" y="210"/>
                  <a:pt x="13" y="210"/>
                </a:cubicBezTo>
                <a:cubicBezTo>
                  <a:pt x="86" y="210"/>
                  <a:pt x="86" y="210"/>
                  <a:pt x="86" y="210"/>
                </a:cubicBezTo>
                <a:cubicBezTo>
                  <a:pt x="92" y="210"/>
                  <a:pt x="97" y="206"/>
                  <a:pt x="99" y="199"/>
                </a:cubicBezTo>
                <a:cubicBezTo>
                  <a:pt x="99" y="199"/>
                  <a:pt x="103" y="175"/>
                  <a:pt x="112" y="152"/>
                </a:cubicBezTo>
                <a:cubicBezTo>
                  <a:pt x="124" y="122"/>
                  <a:pt x="135" y="111"/>
                  <a:pt x="141" y="111"/>
                </a:cubicBezTo>
                <a:cubicBezTo>
                  <a:pt x="141" y="111"/>
                  <a:pt x="141" y="111"/>
                  <a:pt x="141" y="111"/>
                </a:cubicBezTo>
                <a:cubicBezTo>
                  <a:pt x="162" y="111"/>
                  <a:pt x="175" y="161"/>
                  <a:pt x="182" y="187"/>
                </a:cubicBezTo>
                <a:cubicBezTo>
                  <a:pt x="183" y="192"/>
                  <a:pt x="184" y="196"/>
                  <a:pt x="185" y="200"/>
                </a:cubicBezTo>
                <a:cubicBezTo>
                  <a:pt x="186" y="205"/>
                  <a:pt x="186" y="205"/>
                  <a:pt x="186" y="205"/>
                </a:cubicBezTo>
                <a:cubicBezTo>
                  <a:pt x="196" y="239"/>
                  <a:pt x="212" y="295"/>
                  <a:pt x="256" y="295"/>
                </a:cubicBezTo>
                <a:cubicBezTo>
                  <a:pt x="277" y="295"/>
                  <a:pt x="294" y="278"/>
                  <a:pt x="307" y="244"/>
                </a:cubicBezTo>
                <a:cubicBezTo>
                  <a:pt x="312" y="231"/>
                  <a:pt x="316" y="219"/>
                  <a:pt x="318" y="210"/>
                </a:cubicBezTo>
                <a:cubicBezTo>
                  <a:pt x="367" y="210"/>
                  <a:pt x="367" y="210"/>
                  <a:pt x="367" y="210"/>
                </a:cubicBezTo>
                <a:cubicBezTo>
                  <a:pt x="360" y="298"/>
                  <a:pt x="286" y="367"/>
                  <a:pt x="197" y="367"/>
                </a:cubicBezTo>
                <a:cubicBezTo>
                  <a:pt x="140" y="367"/>
                  <a:pt x="87" y="338"/>
                  <a:pt x="55" y="292"/>
                </a:cubicBezTo>
                <a:cubicBezTo>
                  <a:pt x="63" y="295"/>
                  <a:pt x="63" y="295"/>
                  <a:pt x="63" y="295"/>
                </a:cubicBezTo>
                <a:cubicBezTo>
                  <a:pt x="65" y="296"/>
                  <a:pt x="67" y="297"/>
                  <a:pt x="69" y="297"/>
                </a:cubicBezTo>
                <a:cubicBezTo>
                  <a:pt x="74" y="297"/>
                  <a:pt x="78" y="294"/>
                  <a:pt x="81" y="289"/>
                </a:cubicBezTo>
                <a:cubicBezTo>
                  <a:pt x="84" y="282"/>
                  <a:pt x="81" y="274"/>
                  <a:pt x="74" y="271"/>
                </a:cubicBezTo>
                <a:cubicBezTo>
                  <a:pt x="29" y="251"/>
                  <a:pt x="29" y="251"/>
                  <a:pt x="29" y="251"/>
                </a:cubicBezTo>
                <a:cubicBezTo>
                  <a:pt x="29" y="250"/>
                  <a:pt x="28" y="250"/>
                  <a:pt x="28" y="250"/>
                </a:cubicBezTo>
                <a:cubicBezTo>
                  <a:pt x="28" y="250"/>
                  <a:pt x="28" y="250"/>
                  <a:pt x="27" y="250"/>
                </a:cubicBezTo>
                <a:cubicBezTo>
                  <a:pt x="27" y="250"/>
                  <a:pt x="27" y="250"/>
                  <a:pt x="27" y="250"/>
                </a:cubicBezTo>
                <a:cubicBezTo>
                  <a:pt x="25" y="249"/>
                  <a:pt x="24" y="249"/>
                  <a:pt x="23" y="249"/>
                </a:cubicBezTo>
                <a:cubicBezTo>
                  <a:pt x="22" y="249"/>
                  <a:pt x="22" y="250"/>
                  <a:pt x="22" y="250"/>
                </a:cubicBezTo>
                <a:cubicBezTo>
                  <a:pt x="22" y="250"/>
                  <a:pt x="21" y="250"/>
                  <a:pt x="21" y="250"/>
                </a:cubicBezTo>
                <a:cubicBezTo>
                  <a:pt x="21" y="250"/>
                  <a:pt x="21" y="250"/>
                  <a:pt x="20" y="250"/>
                </a:cubicBezTo>
                <a:cubicBezTo>
                  <a:pt x="20" y="250"/>
                  <a:pt x="20" y="250"/>
                  <a:pt x="20" y="250"/>
                </a:cubicBezTo>
                <a:cubicBezTo>
                  <a:pt x="20" y="250"/>
                  <a:pt x="19" y="250"/>
                  <a:pt x="19" y="250"/>
                </a:cubicBezTo>
                <a:cubicBezTo>
                  <a:pt x="19" y="250"/>
                  <a:pt x="19" y="250"/>
                  <a:pt x="19" y="250"/>
                </a:cubicBezTo>
                <a:cubicBezTo>
                  <a:pt x="19" y="250"/>
                  <a:pt x="18" y="250"/>
                  <a:pt x="18" y="251"/>
                </a:cubicBezTo>
                <a:cubicBezTo>
                  <a:pt x="18" y="251"/>
                  <a:pt x="18" y="251"/>
                  <a:pt x="18" y="251"/>
                </a:cubicBezTo>
                <a:cubicBezTo>
                  <a:pt x="18" y="251"/>
                  <a:pt x="17" y="251"/>
                  <a:pt x="17" y="251"/>
                </a:cubicBezTo>
                <a:cubicBezTo>
                  <a:pt x="17" y="251"/>
                  <a:pt x="17" y="251"/>
                  <a:pt x="17" y="251"/>
                </a:cubicBezTo>
                <a:cubicBezTo>
                  <a:pt x="16" y="252"/>
                  <a:pt x="16" y="252"/>
                  <a:pt x="16" y="252"/>
                </a:cubicBezTo>
                <a:cubicBezTo>
                  <a:pt x="16" y="252"/>
                  <a:pt x="16" y="252"/>
                  <a:pt x="15" y="252"/>
                </a:cubicBezTo>
                <a:cubicBezTo>
                  <a:pt x="15" y="252"/>
                  <a:pt x="15" y="252"/>
                  <a:pt x="15" y="252"/>
                </a:cubicBezTo>
                <a:cubicBezTo>
                  <a:pt x="15" y="253"/>
                  <a:pt x="15" y="253"/>
                  <a:pt x="15" y="253"/>
                </a:cubicBezTo>
                <a:cubicBezTo>
                  <a:pt x="14" y="253"/>
                  <a:pt x="14" y="253"/>
                  <a:pt x="14" y="253"/>
                </a:cubicBezTo>
                <a:cubicBezTo>
                  <a:pt x="14" y="253"/>
                  <a:pt x="14" y="254"/>
                  <a:pt x="14" y="254"/>
                </a:cubicBezTo>
                <a:cubicBezTo>
                  <a:pt x="14" y="254"/>
                  <a:pt x="14" y="254"/>
                  <a:pt x="13" y="254"/>
                </a:cubicBezTo>
                <a:cubicBezTo>
                  <a:pt x="13" y="254"/>
                  <a:pt x="13" y="255"/>
                  <a:pt x="13" y="255"/>
                </a:cubicBezTo>
                <a:cubicBezTo>
                  <a:pt x="12" y="256"/>
                  <a:pt x="11" y="257"/>
                  <a:pt x="11" y="258"/>
                </a:cubicBezTo>
                <a:cubicBezTo>
                  <a:pt x="11" y="259"/>
                  <a:pt x="11" y="259"/>
                  <a:pt x="11" y="259"/>
                </a:cubicBezTo>
                <a:cubicBezTo>
                  <a:pt x="11" y="259"/>
                  <a:pt x="11" y="260"/>
                  <a:pt x="11" y="260"/>
                </a:cubicBezTo>
                <a:cubicBezTo>
                  <a:pt x="11" y="260"/>
                  <a:pt x="10" y="261"/>
                  <a:pt x="10" y="261"/>
                </a:cubicBezTo>
                <a:cubicBezTo>
                  <a:pt x="4" y="312"/>
                  <a:pt x="4" y="312"/>
                  <a:pt x="4" y="312"/>
                </a:cubicBezTo>
                <a:cubicBezTo>
                  <a:pt x="3" y="319"/>
                  <a:pt x="8" y="326"/>
                  <a:pt x="15" y="327"/>
                </a:cubicBezTo>
                <a:cubicBezTo>
                  <a:pt x="16" y="327"/>
                  <a:pt x="16" y="327"/>
                  <a:pt x="17" y="327"/>
                </a:cubicBezTo>
                <a:cubicBezTo>
                  <a:pt x="24" y="327"/>
                  <a:pt x="29" y="322"/>
                  <a:pt x="30" y="315"/>
                </a:cubicBezTo>
                <a:cubicBezTo>
                  <a:pt x="32" y="304"/>
                  <a:pt x="32" y="304"/>
                  <a:pt x="32" y="304"/>
                </a:cubicBezTo>
                <a:cubicBezTo>
                  <a:pt x="47" y="328"/>
                  <a:pt x="67" y="347"/>
                  <a:pt x="90" y="363"/>
                </a:cubicBezTo>
                <a:cubicBezTo>
                  <a:pt x="122" y="383"/>
                  <a:pt x="159" y="394"/>
                  <a:pt x="197" y="394"/>
                </a:cubicBezTo>
                <a:cubicBezTo>
                  <a:pt x="305" y="394"/>
                  <a:pt x="394" y="305"/>
                  <a:pt x="394" y="197"/>
                </a:cubicBezTo>
                <a:cubicBezTo>
                  <a:pt x="394" y="189"/>
                  <a:pt x="388" y="183"/>
                  <a:pt x="380" y="183"/>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339" name="TextBox 338"/>
          <p:cNvSpPr txBox="1"/>
          <p:nvPr userDrawn="1"/>
        </p:nvSpPr>
        <p:spPr>
          <a:xfrm>
            <a:off x="9132751" y="4284676"/>
            <a:ext cx="1045826" cy="246221"/>
          </a:xfrm>
          <a:prstGeom prst="rect">
            <a:avLst/>
          </a:prstGeom>
          <a:noFill/>
        </p:spPr>
        <p:txBody>
          <a:bodyPr wrap="square" lIns="91432" tIns="0" rIns="91432" bIns="0" rtlCol="0" anchor="b" anchorCtr="0">
            <a:spAutoFit/>
          </a:bodyPr>
          <a:lstStyle/>
          <a:p>
            <a:pPr algn="ctr"/>
            <a:r>
              <a:rPr lang="en-US" sz="800" b="1" dirty="0" err="1">
                <a:solidFill>
                  <a:prstClr val="white"/>
                </a:solidFill>
                <a:cs typeface="Arial" pitchFamily="34" charset="0"/>
              </a:rPr>
              <a:t>Prosumer</a:t>
            </a:r>
            <a:r>
              <a:rPr lang="en-US" sz="800" b="1" dirty="0">
                <a:solidFill>
                  <a:prstClr val="white"/>
                </a:solidFill>
                <a:cs typeface="Arial" pitchFamily="34" charset="0"/>
              </a:rPr>
              <a:t> </a:t>
            </a:r>
            <a:r>
              <a:rPr lang="en-US" sz="800" b="1" dirty="0" err="1">
                <a:solidFill>
                  <a:prstClr val="white"/>
                </a:solidFill>
                <a:cs typeface="Arial" pitchFamily="34" charset="0"/>
              </a:rPr>
              <a:t>microgrid</a:t>
            </a:r>
            <a:endParaRPr lang="en-US" sz="800" b="1" dirty="0">
              <a:solidFill>
                <a:prstClr val="white"/>
              </a:solidFill>
              <a:cs typeface="Arial" pitchFamily="34" charset="0"/>
            </a:endParaRPr>
          </a:p>
        </p:txBody>
      </p:sp>
      <p:sp>
        <p:nvSpPr>
          <p:cNvPr id="340" name="TextBox 339"/>
          <p:cNvSpPr txBox="1"/>
          <p:nvPr userDrawn="1"/>
        </p:nvSpPr>
        <p:spPr>
          <a:xfrm>
            <a:off x="7204194" y="4284676"/>
            <a:ext cx="1045826" cy="246221"/>
          </a:xfrm>
          <a:prstGeom prst="rect">
            <a:avLst/>
          </a:prstGeom>
          <a:noFill/>
        </p:spPr>
        <p:txBody>
          <a:bodyPr wrap="square" lIns="91432" tIns="0" rIns="91432" bIns="0" rtlCol="0" anchor="b" anchorCtr="0">
            <a:spAutoFit/>
          </a:bodyPr>
          <a:lstStyle/>
          <a:p>
            <a:pPr algn="ctr"/>
            <a:r>
              <a:rPr lang="en-US" sz="800" b="1" dirty="0">
                <a:solidFill>
                  <a:prstClr val="white"/>
                </a:solidFill>
                <a:cs typeface="Arial" pitchFamily="34" charset="0"/>
              </a:rPr>
              <a:t>Packaging control</a:t>
            </a:r>
          </a:p>
        </p:txBody>
      </p:sp>
      <p:sp>
        <p:nvSpPr>
          <p:cNvPr id="341" name="TextBox 340"/>
          <p:cNvSpPr txBox="1"/>
          <p:nvPr userDrawn="1"/>
        </p:nvSpPr>
        <p:spPr>
          <a:xfrm>
            <a:off x="11024266" y="3463580"/>
            <a:ext cx="1045826" cy="246221"/>
          </a:xfrm>
          <a:prstGeom prst="rect">
            <a:avLst/>
          </a:prstGeom>
          <a:noFill/>
        </p:spPr>
        <p:txBody>
          <a:bodyPr wrap="square" lIns="91432" tIns="0" rIns="91432" bIns="0" rtlCol="0" anchor="b" anchorCtr="0">
            <a:spAutoFit/>
          </a:bodyPr>
          <a:lstStyle/>
          <a:p>
            <a:pPr algn="ctr"/>
            <a:r>
              <a:rPr lang="en-US" sz="800" b="1" dirty="0">
                <a:solidFill>
                  <a:prstClr val="white"/>
                </a:solidFill>
                <a:cs typeface="Arial" pitchFamily="34" charset="0"/>
              </a:rPr>
              <a:t>Material</a:t>
            </a:r>
            <a:br>
              <a:rPr lang="en-US" sz="800" b="1" dirty="0">
                <a:solidFill>
                  <a:prstClr val="white"/>
                </a:solidFill>
                <a:cs typeface="Arial" pitchFamily="34" charset="0"/>
              </a:rPr>
            </a:br>
            <a:r>
              <a:rPr lang="en-US" sz="800" b="1" dirty="0">
                <a:solidFill>
                  <a:prstClr val="white"/>
                </a:solidFill>
                <a:cs typeface="Arial" pitchFamily="34" charset="0"/>
              </a:rPr>
              <a:t>working</a:t>
            </a:r>
          </a:p>
        </p:txBody>
      </p:sp>
      <p:sp>
        <p:nvSpPr>
          <p:cNvPr id="342" name="Freeform 673"/>
          <p:cNvSpPr>
            <a:spLocks noEditPoints="1"/>
          </p:cNvSpPr>
          <p:nvPr userDrawn="1"/>
        </p:nvSpPr>
        <p:spPr bwMode="auto">
          <a:xfrm>
            <a:off x="7572051" y="5579233"/>
            <a:ext cx="386319" cy="504067"/>
          </a:xfrm>
          <a:custGeom>
            <a:avLst/>
            <a:gdLst/>
            <a:ahLst/>
            <a:cxnLst>
              <a:cxn ang="0">
                <a:pos x="313" y="120"/>
              </a:cxn>
              <a:cxn ang="0">
                <a:pos x="299" y="120"/>
              </a:cxn>
              <a:cxn ang="0">
                <a:pos x="196" y="181"/>
              </a:cxn>
              <a:cxn ang="0">
                <a:pos x="191" y="199"/>
              </a:cxn>
              <a:cxn ang="0">
                <a:pos x="210" y="204"/>
              </a:cxn>
              <a:cxn ang="0">
                <a:pos x="291" y="156"/>
              </a:cxn>
              <a:cxn ang="0">
                <a:pos x="279" y="343"/>
              </a:cxn>
              <a:cxn ang="0">
                <a:pos x="179" y="421"/>
              </a:cxn>
              <a:cxn ang="0">
                <a:pos x="179" y="172"/>
              </a:cxn>
              <a:cxn ang="0">
                <a:pos x="313" y="94"/>
              </a:cxn>
              <a:cxn ang="0">
                <a:pos x="320" y="82"/>
              </a:cxn>
              <a:cxn ang="0">
                <a:pos x="320" y="82"/>
              </a:cxn>
              <a:cxn ang="0">
                <a:pos x="312" y="70"/>
              </a:cxn>
              <a:cxn ang="0">
                <a:pos x="157" y="2"/>
              </a:cxn>
              <a:cxn ang="0">
                <a:pos x="145" y="2"/>
              </a:cxn>
              <a:cxn ang="0">
                <a:pos x="8" y="69"/>
              </a:cxn>
              <a:cxn ang="0">
                <a:pos x="1" y="82"/>
              </a:cxn>
              <a:cxn ang="0">
                <a:pos x="18" y="362"/>
              </a:cxn>
              <a:cxn ang="0">
                <a:pos x="24" y="373"/>
              </a:cxn>
              <a:cxn ang="0">
                <a:pos x="115" y="437"/>
              </a:cxn>
              <a:cxn ang="0">
                <a:pos x="129" y="438"/>
              </a:cxn>
              <a:cxn ang="0">
                <a:pos x="136" y="426"/>
              </a:cxn>
              <a:cxn ang="0">
                <a:pos x="136" y="177"/>
              </a:cxn>
              <a:cxn ang="0">
                <a:pos x="123" y="163"/>
              </a:cxn>
              <a:cxn ang="0">
                <a:pos x="110" y="177"/>
              </a:cxn>
              <a:cxn ang="0">
                <a:pos x="110" y="400"/>
              </a:cxn>
              <a:cxn ang="0">
                <a:pos x="44" y="354"/>
              </a:cxn>
              <a:cxn ang="0">
                <a:pos x="28" y="89"/>
              </a:cxn>
              <a:cxn ang="0">
                <a:pos x="151" y="29"/>
              </a:cxn>
              <a:cxn ang="0">
                <a:pos x="277" y="84"/>
              </a:cxn>
              <a:cxn ang="0">
                <a:pos x="159" y="152"/>
              </a:cxn>
              <a:cxn ang="0">
                <a:pos x="153" y="164"/>
              </a:cxn>
              <a:cxn ang="0">
                <a:pos x="152" y="449"/>
              </a:cxn>
              <a:cxn ang="0">
                <a:pos x="160" y="461"/>
              </a:cxn>
              <a:cxn ang="0">
                <a:pos x="174" y="459"/>
              </a:cxn>
              <a:cxn ang="0">
                <a:pos x="300" y="360"/>
              </a:cxn>
              <a:cxn ang="0">
                <a:pos x="305" y="350"/>
              </a:cxn>
              <a:cxn ang="0">
                <a:pos x="319" y="132"/>
              </a:cxn>
              <a:cxn ang="0">
                <a:pos x="313" y="120"/>
              </a:cxn>
              <a:cxn ang="0">
                <a:pos x="274" y="279"/>
              </a:cxn>
              <a:cxn ang="0">
                <a:pos x="275" y="256"/>
              </a:cxn>
              <a:cxn ang="0">
                <a:pos x="262" y="242"/>
              </a:cxn>
              <a:cxn ang="0">
                <a:pos x="248" y="255"/>
              </a:cxn>
              <a:cxn ang="0">
                <a:pos x="247" y="278"/>
              </a:cxn>
              <a:cxn ang="0">
                <a:pos x="260" y="292"/>
              </a:cxn>
              <a:cxn ang="0">
                <a:pos x="274" y="279"/>
              </a:cxn>
            </a:cxnLst>
            <a:rect l="0" t="0" r="r" b="b"/>
            <a:pathLst>
              <a:path w="320" h="463">
                <a:moveTo>
                  <a:pt x="313" y="120"/>
                </a:moveTo>
                <a:cubicBezTo>
                  <a:pt x="309" y="117"/>
                  <a:pt x="303" y="117"/>
                  <a:pt x="299" y="120"/>
                </a:cubicBezTo>
                <a:cubicBezTo>
                  <a:pt x="196" y="181"/>
                  <a:pt x="196" y="181"/>
                  <a:pt x="196" y="181"/>
                </a:cubicBezTo>
                <a:cubicBezTo>
                  <a:pt x="190" y="185"/>
                  <a:pt x="188" y="193"/>
                  <a:pt x="191" y="199"/>
                </a:cubicBezTo>
                <a:cubicBezTo>
                  <a:pt x="195" y="206"/>
                  <a:pt x="203" y="208"/>
                  <a:pt x="210" y="204"/>
                </a:cubicBezTo>
                <a:cubicBezTo>
                  <a:pt x="210" y="204"/>
                  <a:pt x="264" y="172"/>
                  <a:pt x="291" y="156"/>
                </a:cubicBezTo>
                <a:cubicBezTo>
                  <a:pt x="288" y="194"/>
                  <a:pt x="279" y="333"/>
                  <a:pt x="279" y="343"/>
                </a:cubicBezTo>
                <a:cubicBezTo>
                  <a:pt x="271" y="348"/>
                  <a:pt x="207" y="399"/>
                  <a:pt x="179" y="421"/>
                </a:cubicBezTo>
                <a:cubicBezTo>
                  <a:pt x="179" y="378"/>
                  <a:pt x="179" y="185"/>
                  <a:pt x="179" y="172"/>
                </a:cubicBezTo>
                <a:cubicBezTo>
                  <a:pt x="191" y="165"/>
                  <a:pt x="313" y="94"/>
                  <a:pt x="313" y="94"/>
                </a:cubicBezTo>
                <a:cubicBezTo>
                  <a:pt x="317" y="91"/>
                  <a:pt x="320" y="87"/>
                  <a:pt x="320" y="82"/>
                </a:cubicBezTo>
                <a:cubicBezTo>
                  <a:pt x="320" y="82"/>
                  <a:pt x="320" y="82"/>
                  <a:pt x="320" y="82"/>
                </a:cubicBezTo>
                <a:cubicBezTo>
                  <a:pt x="320" y="77"/>
                  <a:pt x="317" y="72"/>
                  <a:pt x="312" y="70"/>
                </a:cubicBezTo>
                <a:cubicBezTo>
                  <a:pt x="157" y="2"/>
                  <a:pt x="157" y="2"/>
                  <a:pt x="157" y="2"/>
                </a:cubicBezTo>
                <a:cubicBezTo>
                  <a:pt x="153" y="0"/>
                  <a:pt x="149" y="0"/>
                  <a:pt x="145" y="2"/>
                </a:cubicBezTo>
                <a:cubicBezTo>
                  <a:pt x="8" y="69"/>
                  <a:pt x="8" y="69"/>
                  <a:pt x="8" y="69"/>
                </a:cubicBezTo>
                <a:cubicBezTo>
                  <a:pt x="3" y="71"/>
                  <a:pt x="0" y="77"/>
                  <a:pt x="1" y="82"/>
                </a:cubicBezTo>
                <a:cubicBezTo>
                  <a:pt x="18" y="362"/>
                  <a:pt x="18" y="362"/>
                  <a:pt x="18" y="362"/>
                </a:cubicBezTo>
                <a:cubicBezTo>
                  <a:pt x="19" y="367"/>
                  <a:pt x="21" y="370"/>
                  <a:pt x="24" y="373"/>
                </a:cubicBezTo>
                <a:cubicBezTo>
                  <a:pt x="115" y="437"/>
                  <a:pt x="115" y="437"/>
                  <a:pt x="115" y="437"/>
                </a:cubicBezTo>
                <a:cubicBezTo>
                  <a:pt x="119" y="439"/>
                  <a:pt x="125" y="440"/>
                  <a:pt x="129" y="438"/>
                </a:cubicBezTo>
                <a:cubicBezTo>
                  <a:pt x="134" y="435"/>
                  <a:pt x="136" y="431"/>
                  <a:pt x="136" y="426"/>
                </a:cubicBezTo>
                <a:cubicBezTo>
                  <a:pt x="136" y="177"/>
                  <a:pt x="136" y="177"/>
                  <a:pt x="136" y="177"/>
                </a:cubicBezTo>
                <a:cubicBezTo>
                  <a:pt x="136" y="169"/>
                  <a:pt x="130" y="163"/>
                  <a:pt x="123" y="163"/>
                </a:cubicBezTo>
                <a:cubicBezTo>
                  <a:pt x="116" y="163"/>
                  <a:pt x="110" y="169"/>
                  <a:pt x="110" y="177"/>
                </a:cubicBezTo>
                <a:cubicBezTo>
                  <a:pt x="110" y="177"/>
                  <a:pt x="110" y="359"/>
                  <a:pt x="110" y="400"/>
                </a:cubicBezTo>
                <a:cubicBezTo>
                  <a:pt x="87" y="384"/>
                  <a:pt x="52" y="359"/>
                  <a:pt x="44" y="354"/>
                </a:cubicBezTo>
                <a:cubicBezTo>
                  <a:pt x="44" y="343"/>
                  <a:pt x="29" y="105"/>
                  <a:pt x="28" y="89"/>
                </a:cubicBezTo>
                <a:cubicBezTo>
                  <a:pt x="41" y="83"/>
                  <a:pt x="142" y="33"/>
                  <a:pt x="151" y="29"/>
                </a:cubicBezTo>
                <a:cubicBezTo>
                  <a:pt x="160" y="32"/>
                  <a:pt x="244" y="69"/>
                  <a:pt x="277" y="84"/>
                </a:cubicBezTo>
                <a:cubicBezTo>
                  <a:pt x="245" y="102"/>
                  <a:pt x="159" y="152"/>
                  <a:pt x="159" y="152"/>
                </a:cubicBezTo>
                <a:cubicBezTo>
                  <a:pt x="155" y="155"/>
                  <a:pt x="153" y="159"/>
                  <a:pt x="153" y="164"/>
                </a:cubicBezTo>
                <a:cubicBezTo>
                  <a:pt x="153" y="164"/>
                  <a:pt x="152" y="449"/>
                  <a:pt x="152" y="449"/>
                </a:cubicBezTo>
                <a:cubicBezTo>
                  <a:pt x="152" y="454"/>
                  <a:pt x="155" y="459"/>
                  <a:pt x="160" y="461"/>
                </a:cubicBezTo>
                <a:cubicBezTo>
                  <a:pt x="164" y="463"/>
                  <a:pt x="170" y="462"/>
                  <a:pt x="174" y="459"/>
                </a:cubicBezTo>
                <a:cubicBezTo>
                  <a:pt x="300" y="360"/>
                  <a:pt x="300" y="360"/>
                  <a:pt x="300" y="360"/>
                </a:cubicBezTo>
                <a:cubicBezTo>
                  <a:pt x="303" y="358"/>
                  <a:pt x="304" y="354"/>
                  <a:pt x="305" y="350"/>
                </a:cubicBezTo>
                <a:cubicBezTo>
                  <a:pt x="319" y="132"/>
                  <a:pt x="319" y="132"/>
                  <a:pt x="319" y="132"/>
                </a:cubicBezTo>
                <a:cubicBezTo>
                  <a:pt x="320" y="127"/>
                  <a:pt x="317" y="122"/>
                  <a:pt x="313" y="120"/>
                </a:cubicBezTo>
                <a:close/>
                <a:moveTo>
                  <a:pt x="274" y="279"/>
                </a:moveTo>
                <a:cubicBezTo>
                  <a:pt x="275" y="256"/>
                  <a:pt x="275" y="256"/>
                  <a:pt x="275" y="256"/>
                </a:cubicBezTo>
                <a:cubicBezTo>
                  <a:pt x="275" y="249"/>
                  <a:pt x="270" y="242"/>
                  <a:pt x="262" y="242"/>
                </a:cubicBezTo>
                <a:cubicBezTo>
                  <a:pt x="255" y="242"/>
                  <a:pt x="249" y="247"/>
                  <a:pt x="248" y="255"/>
                </a:cubicBezTo>
                <a:cubicBezTo>
                  <a:pt x="247" y="278"/>
                  <a:pt x="247" y="278"/>
                  <a:pt x="247" y="278"/>
                </a:cubicBezTo>
                <a:cubicBezTo>
                  <a:pt x="247" y="285"/>
                  <a:pt x="253" y="291"/>
                  <a:pt x="260" y="292"/>
                </a:cubicBezTo>
                <a:cubicBezTo>
                  <a:pt x="267" y="292"/>
                  <a:pt x="273" y="286"/>
                  <a:pt x="274" y="279"/>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solidFill>
                <a:srgbClr val="87D200"/>
              </a:solidFill>
            </a:endParaRPr>
          </a:p>
        </p:txBody>
      </p:sp>
      <p:sp>
        <p:nvSpPr>
          <p:cNvPr id="343" name="TextBox 342"/>
          <p:cNvSpPr txBox="1"/>
          <p:nvPr userDrawn="1"/>
        </p:nvSpPr>
        <p:spPr>
          <a:xfrm>
            <a:off x="7310738" y="6054247"/>
            <a:ext cx="908937" cy="215444"/>
          </a:xfrm>
          <a:prstGeom prst="rect">
            <a:avLst/>
          </a:prstGeom>
          <a:noFill/>
        </p:spPr>
        <p:txBody>
          <a:bodyPr wrap="square" lIns="91432" tIns="45717" rIns="91432" bIns="45717" rtlCol="0" anchor="b" anchorCtr="0">
            <a:spAutoFit/>
          </a:bodyPr>
          <a:lstStyle/>
          <a:p>
            <a:pPr algn="ctr"/>
            <a:r>
              <a:rPr lang="en-US" sz="800" b="1" dirty="0">
                <a:solidFill>
                  <a:prstClr val="white"/>
                </a:solidFill>
                <a:cs typeface="Arial" pitchFamily="34" charset="0"/>
              </a:rPr>
              <a:t>Panel builders</a:t>
            </a:r>
          </a:p>
        </p:txBody>
      </p:sp>
      <p:sp>
        <p:nvSpPr>
          <p:cNvPr id="344" name="Rounded Rectangle 343"/>
          <p:cNvSpPr/>
          <p:nvPr userDrawn="1"/>
        </p:nvSpPr>
        <p:spPr>
          <a:xfrm>
            <a:off x="609441" y="4684277"/>
            <a:ext cx="5291299" cy="1611135"/>
          </a:xfrm>
          <a:prstGeom prst="roundRect">
            <a:avLst>
              <a:gd name="adj" fmla="val 9427"/>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45717" rIns="0" bIns="45717" rtlCol="0" anchor="ctr"/>
          <a:lstStyle/>
          <a:p>
            <a:pPr marL="520657" indent="-292076">
              <a:spcAft>
                <a:spcPts val="200"/>
              </a:spcAft>
              <a:tabLst>
                <a:tab pos="173024" algn="l"/>
                <a:tab pos="457161" algn="l"/>
              </a:tabLst>
            </a:pPr>
            <a:r>
              <a:rPr lang="en-US" sz="1600" b="1" dirty="0">
                <a:solidFill>
                  <a:srgbClr val="009530"/>
                </a:solidFill>
              </a:rPr>
              <a:t>To add a </a:t>
            </a:r>
            <a:r>
              <a:rPr lang="en-US" sz="1600" b="1" dirty="0" err="1">
                <a:solidFill>
                  <a:srgbClr val="009530"/>
                </a:solidFill>
              </a:rPr>
              <a:t>picto</a:t>
            </a:r>
            <a:r>
              <a:rPr lang="en-US" sz="1600" b="1" dirty="0">
                <a:solidFill>
                  <a:srgbClr val="009530"/>
                </a:solidFill>
              </a:rPr>
              <a:t> to your presentation:</a:t>
            </a:r>
          </a:p>
          <a:p>
            <a:pPr marL="520657" indent="-292076">
              <a:spcAft>
                <a:spcPts val="200"/>
              </a:spcAft>
              <a:buFont typeface="+mj-lt"/>
              <a:buAutoNum type="arabicPeriod"/>
              <a:tabLst>
                <a:tab pos="173024" algn="l"/>
                <a:tab pos="457161" algn="l"/>
              </a:tabLst>
            </a:pPr>
            <a:r>
              <a:rPr lang="en-US" sz="1500" dirty="0">
                <a:solidFill>
                  <a:srgbClr val="009530"/>
                </a:solidFill>
              </a:rPr>
              <a:t>Select view/slide master</a:t>
            </a:r>
          </a:p>
          <a:p>
            <a:pPr marL="520657" indent="-292076">
              <a:spcAft>
                <a:spcPts val="200"/>
              </a:spcAft>
              <a:buFont typeface="+mj-lt"/>
              <a:buAutoNum type="arabicPeriod"/>
              <a:tabLst>
                <a:tab pos="173024" algn="l"/>
                <a:tab pos="457161" algn="l"/>
              </a:tabLst>
            </a:pPr>
            <a:r>
              <a:rPr lang="en-US" sz="1500" dirty="0">
                <a:solidFill>
                  <a:srgbClr val="009530"/>
                </a:solidFill>
              </a:rPr>
              <a:t>Go to slide with </a:t>
            </a:r>
            <a:r>
              <a:rPr lang="en-US" sz="1500" dirty="0" err="1">
                <a:solidFill>
                  <a:srgbClr val="009530"/>
                </a:solidFill>
              </a:rPr>
              <a:t>pictos</a:t>
            </a:r>
            <a:endParaRPr lang="en-US" sz="1500" dirty="0">
              <a:solidFill>
                <a:srgbClr val="009530"/>
              </a:solidFill>
            </a:endParaRPr>
          </a:p>
          <a:p>
            <a:pPr marL="520657" indent="-292076">
              <a:spcAft>
                <a:spcPts val="200"/>
              </a:spcAft>
              <a:buFont typeface="+mj-lt"/>
              <a:buAutoNum type="arabicPeriod"/>
              <a:tabLst>
                <a:tab pos="173024" algn="l"/>
                <a:tab pos="457161" algn="l"/>
              </a:tabLst>
            </a:pPr>
            <a:r>
              <a:rPr lang="en-US" sz="1500" dirty="0">
                <a:solidFill>
                  <a:srgbClr val="009530"/>
                </a:solidFill>
              </a:rPr>
              <a:t>Select and copy the </a:t>
            </a:r>
            <a:r>
              <a:rPr lang="en-US" sz="1500" dirty="0" err="1">
                <a:solidFill>
                  <a:srgbClr val="009530"/>
                </a:solidFill>
              </a:rPr>
              <a:t>picto</a:t>
            </a:r>
            <a:r>
              <a:rPr lang="en-US" sz="1500" dirty="0">
                <a:solidFill>
                  <a:srgbClr val="009530"/>
                </a:solidFill>
              </a:rPr>
              <a:t> that you would like to add (ctrl-c)</a:t>
            </a:r>
          </a:p>
          <a:p>
            <a:pPr marL="520657" indent="-292076">
              <a:spcAft>
                <a:spcPts val="200"/>
              </a:spcAft>
              <a:buFont typeface="+mj-lt"/>
              <a:buAutoNum type="arabicPeriod"/>
              <a:tabLst>
                <a:tab pos="173024" algn="l"/>
                <a:tab pos="457161" algn="l"/>
              </a:tabLst>
            </a:pPr>
            <a:r>
              <a:rPr lang="en-US" sz="1500" dirty="0">
                <a:solidFill>
                  <a:srgbClr val="009530"/>
                </a:solidFill>
              </a:rPr>
              <a:t>Close master view</a:t>
            </a:r>
          </a:p>
          <a:p>
            <a:pPr marL="520657" indent="-292076">
              <a:spcAft>
                <a:spcPts val="200"/>
              </a:spcAft>
              <a:buFont typeface="+mj-lt"/>
              <a:buAutoNum type="arabicPeriod"/>
              <a:tabLst>
                <a:tab pos="173024" algn="l"/>
                <a:tab pos="457161" algn="l"/>
              </a:tabLst>
            </a:pPr>
            <a:r>
              <a:rPr lang="en-US" sz="1500" dirty="0">
                <a:solidFill>
                  <a:srgbClr val="009530"/>
                </a:solidFill>
              </a:rPr>
              <a:t>Paste </a:t>
            </a:r>
            <a:r>
              <a:rPr lang="en-US" sz="1500" dirty="0" err="1">
                <a:solidFill>
                  <a:srgbClr val="009530"/>
                </a:solidFill>
              </a:rPr>
              <a:t>picto</a:t>
            </a:r>
            <a:r>
              <a:rPr lang="en-US" sz="1500" dirty="0">
                <a:solidFill>
                  <a:srgbClr val="009530"/>
                </a:solidFill>
              </a:rPr>
              <a:t> onto your slide (ctrl-p)</a:t>
            </a:r>
          </a:p>
        </p:txBody>
      </p:sp>
      <p:sp>
        <p:nvSpPr>
          <p:cNvPr id="345" name="TextBox 344"/>
          <p:cNvSpPr txBox="1"/>
          <p:nvPr userDrawn="1"/>
        </p:nvSpPr>
        <p:spPr>
          <a:xfrm>
            <a:off x="477406" y="1235455"/>
            <a:ext cx="869142" cy="323163"/>
          </a:xfrm>
          <a:prstGeom prst="rect">
            <a:avLst/>
          </a:prstGeom>
          <a:noFill/>
        </p:spPr>
        <p:txBody>
          <a:bodyPr wrap="none" lIns="91432" tIns="45717" rIns="91432" bIns="45717" rtlCol="0">
            <a:spAutoFit/>
          </a:bodyPr>
          <a:lstStyle/>
          <a:p>
            <a:pPr algn="r"/>
            <a:r>
              <a:rPr lang="en-US" sz="1500" dirty="0">
                <a:solidFill>
                  <a:prstClr val="white"/>
                </a:solidFill>
                <a:cs typeface="Arial" pitchFamily="34" charset="0"/>
              </a:rPr>
              <a:t>Markets</a:t>
            </a:r>
          </a:p>
        </p:txBody>
      </p:sp>
      <p:sp>
        <p:nvSpPr>
          <p:cNvPr id="346" name="TextBox 345"/>
          <p:cNvSpPr txBox="1"/>
          <p:nvPr userDrawn="1"/>
        </p:nvSpPr>
        <p:spPr>
          <a:xfrm>
            <a:off x="307371" y="2195140"/>
            <a:ext cx="1051875" cy="553992"/>
          </a:xfrm>
          <a:prstGeom prst="rect">
            <a:avLst/>
          </a:prstGeom>
          <a:noFill/>
        </p:spPr>
        <p:txBody>
          <a:bodyPr wrap="none" lIns="91432" tIns="45717" rIns="91432" bIns="45717" rtlCol="0">
            <a:spAutoFit/>
          </a:bodyPr>
          <a:lstStyle/>
          <a:p>
            <a:pPr algn="r"/>
            <a:r>
              <a:rPr lang="en-US" sz="1500" dirty="0">
                <a:solidFill>
                  <a:prstClr val="white"/>
                </a:solidFill>
                <a:cs typeface="Arial" pitchFamily="34" charset="0"/>
              </a:rPr>
              <a:t>Market </a:t>
            </a:r>
          </a:p>
          <a:p>
            <a:pPr algn="r"/>
            <a:r>
              <a:rPr lang="en-US" sz="1500" dirty="0">
                <a:solidFill>
                  <a:prstClr val="white"/>
                </a:solidFill>
                <a:cs typeface="Arial" pitchFamily="34" charset="0"/>
              </a:rPr>
              <a:t>Segments</a:t>
            </a:r>
          </a:p>
        </p:txBody>
      </p:sp>
      <p:sp>
        <p:nvSpPr>
          <p:cNvPr id="347" name="TextBox 346"/>
          <p:cNvSpPr txBox="1"/>
          <p:nvPr userDrawn="1"/>
        </p:nvSpPr>
        <p:spPr>
          <a:xfrm>
            <a:off x="6423194" y="1231273"/>
            <a:ext cx="946086" cy="323163"/>
          </a:xfrm>
          <a:prstGeom prst="rect">
            <a:avLst/>
          </a:prstGeom>
          <a:noFill/>
        </p:spPr>
        <p:txBody>
          <a:bodyPr wrap="none" lIns="91432" tIns="45717" rIns="91432" bIns="45717" rtlCol="0">
            <a:spAutoFit/>
          </a:bodyPr>
          <a:lstStyle/>
          <a:p>
            <a:pPr algn="r"/>
            <a:r>
              <a:rPr lang="en-US" sz="1500" dirty="0">
                <a:solidFill>
                  <a:prstClr val="white"/>
                </a:solidFill>
                <a:cs typeface="Arial" pitchFamily="34" charset="0"/>
              </a:rPr>
              <a:t>Domains</a:t>
            </a:r>
          </a:p>
        </p:txBody>
      </p:sp>
      <p:sp>
        <p:nvSpPr>
          <p:cNvPr id="348" name="TextBox 347"/>
          <p:cNvSpPr txBox="1"/>
          <p:nvPr userDrawn="1"/>
        </p:nvSpPr>
        <p:spPr>
          <a:xfrm>
            <a:off x="6423194" y="2187143"/>
            <a:ext cx="946086" cy="323163"/>
          </a:xfrm>
          <a:prstGeom prst="rect">
            <a:avLst/>
          </a:prstGeom>
          <a:noFill/>
        </p:spPr>
        <p:txBody>
          <a:bodyPr wrap="none" lIns="91432" tIns="45717" rIns="91432" bIns="45717" rtlCol="0">
            <a:spAutoFit/>
          </a:bodyPr>
          <a:lstStyle/>
          <a:p>
            <a:pPr algn="r"/>
            <a:r>
              <a:rPr lang="en-US" sz="1500" dirty="0" err="1">
                <a:solidFill>
                  <a:prstClr val="white"/>
                </a:solidFill>
                <a:cs typeface="Arial" pitchFamily="34" charset="0"/>
              </a:rPr>
              <a:t>Aplicațiis</a:t>
            </a:r>
            <a:endParaRPr lang="en-US" sz="1500" dirty="0">
              <a:solidFill>
                <a:prstClr val="white"/>
              </a:solidFill>
              <a:cs typeface="Arial" pitchFamily="34" charset="0"/>
            </a:endParaRPr>
          </a:p>
        </p:txBody>
      </p:sp>
      <p:sp>
        <p:nvSpPr>
          <p:cNvPr id="349" name="TextBox 348"/>
          <p:cNvSpPr txBox="1"/>
          <p:nvPr userDrawn="1"/>
        </p:nvSpPr>
        <p:spPr>
          <a:xfrm>
            <a:off x="5963132" y="5723025"/>
            <a:ext cx="1406146" cy="323163"/>
          </a:xfrm>
          <a:prstGeom prst="rect">
            <a:avLst/>
          </a:prstGeom>
          <a:noFill/>
        </p:spPr>
        <p:txBody>
          <a:bodyPr wrap="none" lIns="91432" tIns="45717" rIns="91432" bIns="45717" rtlCol="0">
            <a:spAutoFit/>
          </a:bodyPr>
          <a:lstStyle/>
          <a:p>
            <a:pPr algn="r"/>
            <a:r>
              <a:rPr lang="en-US" sz="1500" dirty="0">
                <a:solidFill>
                  <a:prstClr val="white"/>
                </a:solidFill>
                <a:cs typeface="Arial" pitchFamily="34" charset="0"/>
              </a:rPr>
              <a:t>Intermediaries</a:t>
            </a:r>
          </a:p>
        </p:txBody>
      </p:sp>
      <p:sp>
        <p:nvSpPr>
          <p:cNvPr id="94" name="TextBox 93"/>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prstClr val="white"/>
                </a:solidFill>
                <a:cs typeface="Arial" pitchFamily="34" charset="0"/>
              </a:rPr>
              <a:t>Confidential Property of Schneider Electric</a:t>
            </a:r>
          </a:p>
        </p:txBody>
      </p:sp>
      <p:sp>
        <p:nvSpPr>
          <p:cNvPr id="95"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1406363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eneric Pictos_Gree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lvl1pPr>
          </a:lstStyle>
          <a:p>
            <a:r>
              <a:rPr lang="en-US" dirty="0"/>
              <a:t>Generic Pictograms and Symbols</a:t>
            </a:r>
            <a:endParaRPr lang="en-US" noProof="0" dirty="0"/>
          </a:p>
        </p:txBody>
      </p:sp>
      <p:sp>
        <p:nvSpPr>
          <p:cNvPr id="5" name="Freeform 171"/>
          <p:cNvSpPr>
            <a:spLocks/>
          </p:cNvSpPr>
          <p:nvPr userDrawn="1"/>
        </p:nvSpPr>
        <p:spPr bwMode="auto">
          <a:xfrm>
            <a:off x="553115" y="1163252"/>
            <a:ext cx="466725" cy="517525"/>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 name="Freeform 175"/>
          <p:cNvSpPr>
            <a:spLocks/>
          </p:cNvSpPr>
          <p:nvPr userDrawn="1"/>
        </p:nvSpPr>
        <p:spPr bwMode="auto">
          <a:xfrm>
            <a:off x="584858" y="1746153"/>
            <a:ext cx="403226" cy="515939"/>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 name="Freeform 191"/>
          <p:cNvSpPr>
            <a:spLocks/>
          </p:cNvSpPr>
          <p:nvPr userDrawn="1"/>
        </p:nvSpPr>
        <p:spPr bwMode="auto">
          <a:xfrm>
            <a:off x="572159" y="2383860"/>
            <a:ext cx="428626" cy="515937"/>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8" name="Freeform 195"/>
          <p:cNvSpPr>
            <a:spLocks/>
          </p:cNvSpPr>
          <p:nvPr userDrawn="1"/>
        </p:nvSpPr>
        <p:spPr bwMode="auto">
          <a:xfrm>
            <a:off x="537234" y="2997309"/>
            <a:ext cx="498474" cy="501651"/>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9" name="Freeform 199"/>
          <p:cNvSpPr>
            <a:spLocks/>
          </p:cNvSpPr>
          <p:nvPr userDrawn="1"/>
        </p:nvSpPr>
        <p:spPr bwMode="auto">
          <a:xfrm>
            <a:off x="556285" y="3677907"/>
            <a:ext cx="460375" cy="517525"/>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 name="Freeform 207"/>
          <p:cNvSpPr>
            <a:spLocks/>
          </p:cNvSpPr>
          <p:nvPr userDrawn="1"/>
        </p:nvSpPr>
        <p:spPr bwMode="auto">
          <a:xfrm>
            <a:off x="551522" y="4419885"/>
            <a:ext cx="469900" cy="48260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 name="Freeform 230"/>
          <p:cNvSpPr>
            <a:spLocks/>
          </p:cNvSpPr>
          <p:nvPr userDrawn="1"/>
        </p:nvSpPr>
        <p:spPr bwMode="auto">
          <a:xfrm>
            <a:off x="527709" y="5089736"/>
            <a:ext cx="517527" cy="466725"/>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2" name="Freeform 151"/>
          <p:cNvSpPr>
            <a:spLocks/>
          </p:cNvSpPr>
          <p:nvPr userDrawn="1"/>
        </p:nvSpPr>
        <p:spPr bwMode="auto">
          <a:xfrm>
            <a:off x="1203146" y="1164037"/>
            <a:ext cx="384175" cy="515939"/>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 name="Freeform 183"/>
          <p:cNvSpPr>
            <a:spLocks/>
          </p:cNvSpPr>
          <p:nvPr userDrawn="1"/>
        </p:nvSpPr>
        <p:spPr bwMode="auto">
          <a:xfrm>
            <a:off x="1139652" y="1741394"/>
            <a:ext cx="511175" cy="525463"/>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 name="Freeform 187"/>
          <p:cNvSpPr>
            <a:spLocks/>
          </p:cNvSpPr>
          <p:nvPr userDrawn="1"/>
        </p:nvSpPr>
        <p:spPr bwMode="auto">
          <a:xfrm>
            <a:off x="1140441" y="2457667"/>
            <a:ext cx="509589" cy="368300"/>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 name="Freeform 203"/>
          <p:cNvSpPr>
            <a:spLocks/>
          </p:cNvSpPr>
          <p:nvPr userDrawn="1"/>
        </p:nvSpPr>
        <p:spPr bwMode="auto">
          <a:xfrm>
            <a:off x="1130914" y="4404013"/>
            <a:ext cx="528638" cy="514351"/>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6" name="Freeform 211"/>
          <p:cNvSpPr>
            <a:spLocks/>
          </p:cNvSpPr>
          <p:nvPr userDrawn="1"/>
        </p:nvSpPr>
        <p:spPr bwMode="auto">
          <a:xfrm>
            <a:off x="1158699" y="3076683"/>
            <a:ext cx="473075" cy="342900"/>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7" name="Freeform 234"/>
          <p:cNvSpPr>
            <a:spLocks/>
          </p:cNvSpPr>
          <p:nvPr userDrawn="1"/>
        </p:nvSpPr>
        <p:spPr bwMode="auto">
          <a:xfrm>
            <a:off x="1133301" y="5102436"/>
            <a:ext cx="523876" cy="441325"/>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8" name="Freeform 300"/>
          <p:cNvSpPr>
            <a:spLocks/>
          </p:cNvSpPr>
          <p:nvPr userDrawn="1"/>
        </p:nvSpPr>
        <p:spPr bwMode="auto">
          <a:xfrm>
            <a:off x="1178547" y="3719966"/>
            <a:ext cx="433387" cy="433388"/>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9" name="Freeform 179"/>
          <p:cNvSpPr>
            <a:spLocks/>
          </p:cNvSpPr>
          <p:nvPr userDrawn="1"/>
        </p:nvSpPr>
        <p:spPr bwMode="auto">
          <a:xfrm>
            <a:off x="2545294" y="1160077"/>
            <a:ext cx="520700" cy="523875"/>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0" name="Freeform 221"/>
          <p:cNvSpPr>
            <a:spLocks/>
          </p:cNvSpPr>
          <p:nvPr userDrawn="1"/>
        </p:nvSpPr>
        <p:spPr bwMode="auto">
          <a:xfrm>
            <a:off x="2561958" y="4446885"/>
            <a:ext cx="487364" cy="428625"/>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1" name="Freeform 267"/>
          <p:cNvSpPr>
            <a:spLocks/>
          </p:cNvSpPr>
          <p:nvPr userDrawn="1"/>
        </p:nvSpPr>
        <p:spPr bwMode="auto">
          <a:xfrm>
            <a:off x="2550845" y="2387033"/>
            <a:ext cx="509589" cy="509587"/>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2" name="Freeform 276"/>
          <p:cNvSpPr>
            <a:spLocks/>
          </p:cNvSpPr>
          <p:nvPr userDrawn="1"/>
        </p:nvSpPr>
        <p:spPr bwMode="auto">
          <a:xfrm>
            <a:off x="2561963" y="2991761"/>
            <a:ext cx="487362" cy="512763"/>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3" name="Freeform 280"/>
          <p:cNvSpPr>
            <a:spLocks noEditPoints="1"/>
          </p:cNvSpPr>
          <p:nvPr userDrawn="1"/>
        </p:nvSpPr>
        <p:spPr bwMode="auto">
          <a:xfrm>
            <a:off x="2546090" y="1762823"/>
            <a:ext cx="519113" cy="48260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4" name="Freeform 316"/>
          <p:cNvSpPr>
            <a:spLocks/>
          </p:cNvSpPr>
          <p:nvPr userDrawn="1"/>
        </p:nvSpPr>
        <p:spPr bwMode="auto">
          <a:xfrm>
            <a:off x="2542114" y="5070689"/>
            <a:ext cx="527049" cy="504825"/>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5" name="Freeform 341"/>
          <p:cNvSpPr>
            <a:spLocks/>
          </p:cNvSpPr>
          <p:nvPr userDrawn="1"/>
        </p:nvSpPr>
        <p:spPr bwMode="auto">
          <a:xfrm>
            <a:off x="2548465" y="3718388"/>
            <a:ext cx="514350" cy="436563"/>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6" name="Freeform 155"/>
          <p:cNvSpPr>
            <a:spLocks/>
          </p:cNvSpPr>
          <p:nvPr userDrawn="1"/>
        </p:nvSpPr>
        <p:spPr bwMode="auto">
          <a:xfrm>
            <a:off x="3199295" y="1190233"/>
            <a:ext cx="438150" cy="463551"/>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7" name="Freeform 238"/>
          <p:cNvSpPr>
            <a:spLocks/>
          </p:cNvSpPr>
          <p:nvPr userDrawn="1"/>
        </p:nvSpPr>
        <p:spPr bwMode="auto">
          <a:xfrm>
            <a:off x="3154845" y="4423073"/>
            <a:ext cx="527049" cy="476249"/>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8" name="Freeform 284"/>
          <p:cNvSpPr>
            <a:spLocks/>
          </p:cNvSpPr>
          <p:nvPr userDrawn="1"/>
        </p:nvSpPr>
        <p:spPr bwMode="auto">
          <a:xfrm>
            <a:off x="3262797" y="1795367"/>
            <a:ext cx="311150" cy="417512"/>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9" name="Freeform 288"/>
          <p:cNvSpPr>
            <a:spLocks/>
          </p:cNvSpPr>
          <p:nvPr userDrawn="1"/>
        </p:nvSpPr>
        <p:spPr bwMode="auto">
          <a:xfrm>
            <a:off x="3185802" y="2421155"/>
            <a:ext cx="465138" cy="441324"/>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30" name="Freeform 304"/>
          <p:cNvSpPr>
            <a:spLocks noEditPoints="1"/>
          </p:cNvSpPr>
          <p:nvPr userDrawn="1"/>
        </p:nvSpPr>
        <p:spPr bwMode="auto">
          <a:xfrm>
            <a:off x="3220728" y="2998905"/>
            <a:ext cx="395288" cy="498475"/>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31" name="Freeform 337"/>
          <p:cNvSpPr>
            <a:spLocks noEditPoints="1"/>
          </p:cNvSpPr>
          <p:nvPr userDrawn="1"/>
        </p:nvSpPr>
        <p:spPr bwMode="auto">
          <a:xfrm>
            <a:off x="3168339" y="3678690"/>
            <a:ext cx="500062" cy="515939"/>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32" name="Freeform 353"/>
          <p:cNvSpPr>
            <a:spLocks/>
          </p:cNvSpPr>
          <p:nvPr userDrawn="1"/>
        </p:nvSpPr>
        <p:spPr bwMode="auto">
          <a:xfrm>
            <a:off x="3181042" y="5101645"/>
            <a:ext cx="474663" cy="442913"/>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33" name="Freeform 365"/>
          <p:cNvSpPr>
            <a:spLocks/>
          </p:cNvSpPr>
          <p:nvPr userDrawn="1"/>
        </p:nvSpPr>
        <p:spPr bwMode="auto">
          <a:xfrm>
            <a:off x="4852549" y="1785047"/>
            <a:ext cx="220663" cy="442912"/>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grpSp>
        <p:nvGrpSpPr>
          <p:cNvPr id="3" name="Group 214"/>
          <p:cNvGrpSpPr>
            <a:grpSpLocks noChangeAspect="1"/>
          </p:cNvGrpSpPr>
          <p:nvPr userDrawn="1"/>
        </p:nvGrpSpPr>
        <p:grpSpPr bwMode="auto">
          <a:xfrm>
            <a:off x="3835964" y="4300834"/>
            <a:ext cx="390281" cy="553711"/>
            <a:chOff x="1257" y="2375"/>
            <a:chExt cx="320" cy="454"/>
          </a:xfrm>
          <a:solidFill>
            <a:srgbClr val="009530"/>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grpSp>
      <p:sp>
        <p:nvSpPr>
          <p:cNvPr id="38" name="Freeform 259"/>
          <p:cNvSpPr>
            <a:spLocks noEditPoints="1"/>
          </p:cNvSpPr>
          <p:nvPr userDrawn="1"/>
        </p:nvSpPr>
        <p:spPr bwMode="auto">
          <a:xfrm>
            <a:off x="3767576" y="1210877"/>
            <a:ext cx="527049" cy="422275"/>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39" name="Freeform 292"/>
          <p:cNvSpPr>
            <a:spLocks/>
          </p:cNvSpPr>
          <p:nvPr userDrawn="1"/>
        </p:nvSpPr>
        <p:spPr bwMode="auto">
          <a:xfrm>
            <a:off x="3771548" y="2996515"/>
            <a:ext cx="519111" cy="503239"/>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0" name="Freeform 325"/>
          <p:cNvSpPr>
            <a:spLocks/>
          </p:cNvSpPr>
          <p:nvPr userDrawn="1"/>
        </p:nvSpPr>
        <p:spPr bwMode="auto">
          <a:xfrm>
            <a:off x="3802503" y="1745364"/>
            <a:ext cx="457200" cy="517525"/>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1" name="Freeform 329"/>
          <p:cNvSpPr>
            <a:spLocks/>
          </p:cNvSpPr>
          <p:nvPr userDrawn="1"/>
        </p:nvSpPr>
        <p:spPr bwMode="auto">
          <a:xfrm>
            <a:off x="3774722" y="2433072"/>
            <a:ext cx="512762" cy="417513"/>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2" name="Freeform 381"/>
          <p:cNvSpPr>
            <a:spLocks/>
          </p:cNvSpPr>
          <p:nvPr userDrawn="1"/>
        </p:nvSpPr>
        <p:spPr bwMode="auto">
          <a:xfrm>
            <a:off x="3794567" y="3677907"/>
            <a:ext cx="473075" cy="517525"/>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3" name="Freeform 410"/>
          <p:cNvSpPr>
            <a:spLocks noEditPoints="1"/>
          </p:cNvSpPr>
          <p:nvPr userDrawn="1"/>
        </p:nvSpPr>
        <p:spPr bwMode="auto">
          <a:xfrm>
            <a:off x="3805675" y="5098470"/>
            <a:ext cx="450851" cy="449263"/>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4" name="Freeform 255"/>
          <p:cNvSpPr>
            <a:spLocks/>
          </p:cNvSpPr>
          <p:nvPr userDrawn="1"/>
        </p:nvSpPr>
        <p:spPr bwMode="auto">
          <a:xfrm>
            <a:off x="4380307" y="1105308"/>
            <a:ext cx="603250" cy="633413"/>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5" name="Freeform 312"/>
          <p:cNvSpPr>
            <a:spLocks/>
          </p:cNvSpPr>
          <p:nvPr userDrawn="1"/>
        </p:nvSpPr>
        <p:spPr bwMode="auto">
          <a:xfrm>
            <a:off x="4454129" y="4434185"/>
            <a:ext cx="455613" cy="454025"/>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6" name="Freeform 333"/>
          <p:cNvSpPr>
            <a:spLocks/>
          </p:cNvSpPr>
          <p:nvPr userDrawn="1"/>
        </p:nvSpPr>
        <p:spPr bwMode="auto">
          <a:xfrm>
            <a:off x="4447782" y="3013183"/>
            <a:ext cx="468311" cy="469900"/>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7" name="Freeform 361"/>
          <p:cNvSpPr>
            <a:spLocks noEditPoints="1"/>
          </p:cNvSpPr>
          <p:nvPr userDrawn="1"/>
        </p:nvSpPr>
        <p:spPr bwMode="auto">
          <a:xfrm>
            <a:off x="4581134" y="1746158"/>
            <a:ext cx="201613" cy="515937"/>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8" name="Freeform 377"/>
          <p:cNvSpPr>
            <a:spLocks/>
          </p:cNvSpPr>
          <p:nvPr userDrawn="1"/>
        </p:nvSpPr>
        <p:spPr bwMode="auto">
          <a:xfrm>
            <a:off x="4475557" y="2382272"/>
            <a:ext cx="412750" cy="519113"/>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9" name="Freeform 393"/>
          <p:cNvSpPr>
            <a:spLocks/>
          </p:cNvSpPr>
          <p:nvPr userDrawn="1"/>
        </p:nvSpPr>
        <p:spPr bwMode="auto">
          <a:xfrm>
            <a:off x="4424757" y="5181017"/>
            <a:ext cx="514350" cy="284163"/>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50" name="Freeform 433"/>
          <p:cNvSpPr>
            <a:spLocks/>
          </p:cNvSpPr>
          <p:nvPr userDrawn="1"/>
        </p:nvSpPr>
        <p:spPr bwMode="auto">
          <a:xfrm>
            <a:off x="4532707" y="3676310"/>
            <a:ext cx="298450" cy="520700"/>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51" name="Freeform 251"/>
          <p:cNvSpPr>
            <a:spLocks/>
          </p:cNvSpPr>
          <p:nvPr userDrawn="1"/>
        </p:nvSpPr>
        <p:spPr bwMode="auto">
          <a:xfrm>
            <a:off x="5070032" y="1189437"/>
            <a:ext cx="514350" cy="465139"/>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52" name="Freeform 345"/>
          <p:cNvSpPr>
            <a:spLocks/>
          </p:cNvSpPr>
          <p:nvPr userDrawn="1"/>
        </p:nvSpPr>
        <p:spPr bwMode="auto">
          <a:xfrm>
            <a:off x="5069239" y="3083033"/>
            <a:ext cx="515938" cy="33020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53" name="Freeform 349"/>
          <p:cNvSpPr>
            <a:spLocks/>
          </p:cNvSpPr>
          <p:nvPr userDrawn="1"/>
        </p:nvSpPr>
        <p:spPr bwMode="auto">
          <a:xfrm>
            <a:off x="5135913" y="4398457"/>
            <a:ext cx="382588" cy="525463"/>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54" name="Freeform 369"/>
          <p:cNvSpPr>
            <a:spLocks/>
          </p:cNvSpPr>
          <p:nvPr userDrawn="1"/>
        </p:nvSpPr>
        <p:spPr bwMode="auto">
          <a:xfrm>
            <a:off x="5251008" y="2397343"/>
            <a:ext cx="152400" cy="488951"/>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grpSp>
        <p:nvGrpSpPr>
          <p:cNvPr id="4" name="Group 54"/>
          <p:cNvGrpSpPr/>
          <p:nvPr userDrawn="1"/>
        </p:nvGrpSpPr>
        <p:grpSpPr>
          <a:xfrm>
            <a:off x="5093851" y="5090521"/>
            <a:ext cx="466725" cy="465139"/>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59" name="Line 404"/>
            <p:cNvSpPr>
              <a:spLocks noChangeShapeType="1"/>
            </p:cNvSpPr>
            <p:nvPr/>
          </p:nvSpPr>
          <p:spPr bwMode="auto">
            <a:xfrm flipH="1">
              <a:off x="5492751" y="5551488"/>
              <a:ext cx="7938" cy="635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60" name="Line 405"/>
            <p:cNvSpPr>
              <a:spLocks noChangeShapeType="1"/>
            </p:cNvSpPr>
            <p:nvPr/>
          </p:nvSpPr>
          <p:spPr bwMode="auto">
            <a:xfrm>
              <a:off x="5500688" y="5551488"/>
              <a:ext cx="57150" cy="25400"/>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grpSp>
      <p:sp>
        <p:nvSpPr>
          <p:cNvPr id="61" name="Freeform 441"/>
          <p:cNvSpPr>
            <a:spLocks/>
          </p:cNvSpPr>
          <p:nvPr userDrawn="1"/>
        </p:nvSpPr>
        <p:spPr bwMode="auto">
          <a:xfrm>
            <a:off x="5182750" y="1746153"/>
            <a:ext cx="288925" cy="515939"/>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2" name="Freeform 497"/>
          <p:cNvSpPr>
            <a:spLocks noEditPoints="1"/>
          </p:cNvSpPr>
          <p:nvPr userDrawn="1"/>
        </p:nvSpPr>
        <p:spPr bwMode="auto">
          <a:xfrm>
            <a:off x="5073208" y="3772363"/>
            <a:ext cx="508001" cy="328613"/>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3" name="Freeform 263"/>
          <p:cNvSpPr>
            <a:spLocks/>
          </p:cNvSpPr>
          <p:nvPr userDrawn="1"/>
        </p:nvSpPr>
        <p:spPr bwMode="auto">
          <a:xfrm>
            <a:off x="5732774" y="1160863"/>
            <a:ext cx="409575" cy="522288"/>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4" name="Freeform 357"/>
          <p:cNvSpPr>
            <a:spLocks/>
          </p:cNvSpPr>
          <p:nvPr userDrawn="1"/>
        </p:nvSpPr>
        <p:spPr bwMode="auto">
          <a:xfrm>
            <a:off x="5670857" y="4389732"/>
            <a:ext cx="533400" cy="542925"/>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5" name="Freeform 373"/>
          <p:cNvSpPr>
            <a:spLocks/>
          </p:cNvSpPr>
          <p:nvPr userDrawn="1"/>
        </p:nvSpPr>
        <p:spPr bwMode="auto">
          <a:xfrm>
            <a:off x="5751824" y="2381467"/>
            <a:ext cx="371475" cy="520700"/>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6" name="Freeform 429"/>
          <p:cNvSpPr>
            <a:spLocks/>
          </p:cNvSpPr>
          <p:nvPr userDrawn="1"/>
        </p:nvSpPr>
        <p:spPr bwMode="auto">
          <a:xfrm>
            <a:off x="5722456" y="3090980"/>
            <a:ext cx="430213" cy="314325"/>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7" name="Freeform 445"/>
          <p:cNvSpPr>
            <a:spLocks noEditPoints="1"/>
          </p:cNvSpPr>
          <p:nvPr userDrawn="1"/>
        </p:nvSpPr>
        <p:spPr bwMode="auto">
          <a:xfrm>
            <a:off x="5685938" y="1744570"/>
            <a:ext cx="503238" cy="519113"/>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8" name="Freeform 485"/>
          <p:cNvSpPr>
            <a:spLocks/>
          </p:cNvSpPr>
          <p:nvPr userDrawn="1"/>
        </p:nvSpPr>
        <p:spPr bwMode="auto">
          <a:xfrm>
            <a:off x="5680382" y="3815216"/>
            <a:ext cx="514350" cy="242888"/>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9" name="Freeform 505"/>
          <p:cNvSpPr>
            <a:spLocks/>
          </p:cNvSpPr>
          <p:nvPr userDrawn="1"/>
        </p:nvSpPr>
        <p:spPr bwMode="auto">
          <a:xfrm>
            <a:off x="5688320" y="5100047"/>
            <a:ext cx="498474" cy="446088"/>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0" name="Freeform 167"/>
          <p:cNvSpPr>
            <a:spLocks/>
          </p:cNvSpPr>
          <p:nvPr userDrawn="1"/>
        </p:nvSpPr>
        <p:spPr bwMode="auto">
          <a:xfrm>
            <a:off x="6303433" y="1163252"/>
            <a:ext cx="490538" cy="517525"/>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1" name="Freeform 385"/>
          <p:cNvSpPr>
            <a:spLocks noEditPoints="1"/>
          </p:cNvSpPr>
          <p:nvPr userDrawn="1"/>
        </p:nvSpPr>
        <p:spPr bwMode="auto">
          <a:xfrm>
            <a:off x="6292321" y="4427029"/>
            <a:ext cx="512762" cy="468312"/>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2" name="Freeform 437"/>
          <p:cNvSpPr>
            <a:spLocks/>
          </p:cNvSpPr>
          <p:nvPr userDrawn="1"/>
        </p:nvSpPr>
        <p:spPr bwMode="auto">
          <a:xfrm>
            <a:off x="6341535" y="2391797"/>
            <a:ext cx="414337" cy="500063"/>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3" name="Freeform 453"/>
          <p:cNvSpPr>
            <a:spLocks/>
          </p:cNvSpPr>
          <p:nvPr userDrawn="1"/>
        </p:nvSpPr>
        <p:spPr bwMode="auto">
          <a:xfrm>
            <a:off x="6289940" y="1835058"/>
            <a:ext cx="517527" cy="338137"/>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4" name="Freeform 461"/>
          <p:cNvSpPr>
            <a:spLocks noEditPoints="1"/>
          </p:cNvSpPr>
          <p:nvPr userDrawn="1"/>
        </p:nvSpPr>
        <p:spPr bwMode="auto">
          <a:xfrm>
            <a:off x="6392333" y="2995732"/>
            <a:ext cx="312739" cy="504825"/>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5" name="Freeform 489"/>
          <p:cNvSpPr>
            <a:spLocks/>
          </p:cNvSpPr>
          <p:nvPr userDrawn="1"/>
        </p:nvSpPr>
        <p:spPr bwMode="auto">
          <a:xfrm>
            <a:off x="6289940" y="3765210"/>
            <a:ext cx="517527" cy="342900"/>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6" name="Freeform 509"/>
          <p:cNvSpPr>
            <a:spLocks/>
          </p:cNvSpPr>
          <p:nvPr userDrawn="1"/>
        </p:nvSpPr>
        <p:spPr bwMode="auto">
          <a:xfrm>
            <a:off x="6328041" y="5200861"/>
            <a:ext cx="441325" cy="244475"/>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7" name="Freeform 296"/>
          <p:cNvSpPr>
            <a:spLocks/>
          </p:cNvSpPr>
          <p:nvPr userDrawn="1"/>
        </p:nvSpPr>
        <p:spPr bwMode="auto">
          <a:xfrm>
            <a:off x="6893146" y="1160863"/>
            <a:ext cx="525463" cy="522288"/>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8" name="Freeform 397"/>
          <p:cNvSpPr>
            <a:spLocks noEditPoints="1"/>
          </p:cNvSpPr>
          <p:nvPr userDrawn="1"/>
        </p:nvSpPr>
        <p:spPr bwMode="auto">
          <a:xfrm>
            <a:off x="6963790" y="4400041"/>
            <a:ext cx="384175" cy="522288"/>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9" name="Freeform 449"/>
          <p:cNvSpPr>
            <a:spLocks/>
          </p:cNvSpPr>
          <p:nvPr userDrawn="1"/>
        </p:nvSpPr>
        <p:spPr bwMode="auto">
          <a:xfrm>
            <a:off x="7020938" y="2386231"/>
            <a:ext cx="269876" cy="511175"/>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80" name="Freeform 469"/>
          <p:cNvSpPr>
            <a:spLocks/>
          </p:cNvSpPr>
          <p:nvPr userDrawn="1"/>
        </p:nvSpPr>
        <p:spPr bwMode="auto">
          <a:xfrm>
            <a:off x="6898701" y="1839820"/>
            <a:ext cx="514350" cy="328613"/>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81" name="Freeform 477"/>
          <p:cNvSpPr>
            <a:spLocks noEditPoints="1"/>
          </p:cNvSpPr>
          <p:nvPr userDrawn="1"/>
        </p:nvSpPr>
        <p:spPr bwMode="auto">
          <a:xfrm>
            <a:off x="6893943" y="3112413"/>
            <a:ext cx="523876" cy="271463"/>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91" name="Freeform 552"/>
          <p:cNvSpPr>
            <a:spLocks/>
          </p:cNvSpPr>
          <p:nvPr userDrawn="1"/>
        </p:nvSpPr>
        <p:spPr bwMode="auto">
          <a:xfrm>
            <a:off x="6984425" y="5076245"/>
            <a:ext cx="342900" cy="493713"/>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grpSp>
        <p:nvGrpSpPr>
          <p:cNvPr id="34" name="Group 319"/>
          <p:cNvGrpSpPr>
            <a:grpSpLocks noChangeAspect="1"/>
          </p:cNvGrpSpPr>
          <p:nvPr userDrawn="1"/>
        </p:nvGrpSpPr>
        <p:grpSpPr bwMode="auto">
          <a:xfrm>
            <a:off x="7631290" y="1168808"/>
            <a:ext cx="266700" cy="506413"/>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grpSp>
      <p:sp>
        <p:nvSpPr>
          <p:cNvPr id="95" name="Freeform 389"/>
          <p:cNvSpPr>
            <a:spLocks/>
          </p:cNvSpPr>
          <p:nvPr userDrawn="1"/>
        </p:nvSpPr>
        <p:spPr bwMode="auto">
          <a:xfrm>
            <a:off x="7549539" y="4511960"/>
            <a:ext cx="430213" cy="298451"/>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96" name="Freeform 457"/>
          <p:cNvSpPr>
            <a:spLocks noEditPoints="1"/>
          </p:cNvSpPr>
          <p:nvPr userDrawn="1"/>
        </p:nvSpPr>
        <p:spPr bwMode="auto">
          <a:xfrm>
            <a:off x="7596362" y="2405289"/>
            <a:ext cx="336550" cy="473075"/>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97" name="Freeform 465"/>
          <p:cNvSpPr>
            <a:spLocks/>
          </p:cNvSpPr>
          <p:nvPr userDrawn="1"/>
        </p:nvSpPr>
        <p:spPr bwMode="auto">
          <a:xfrm>
            <a:off x="7504290" y="1737426"/>
            <a:ext cx="520700" cy="53340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98" name="Freeform 481"/>
          <p:cNvSpPr>
            <a:spLocks/>
          </p:cNvSpPr>
          <p:nvPr userDrawn="1"/>
        </p:nvSpPr>
        <p:spPr bwMode="auto">
          <a:xfrm>
            <a:off x="7524928" y="2999701"/>
            <a:ext cx="479424" cy="496887"/>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99" name="Freeform 537"/>
          <p:cNvSpPr>
            <a:spLocks noEditPoints="1"/>
          </p:cNvSpPr>
          <p:nvPr userDrawn="1"/>
        </p:nvSpPr>
        <p:spPr bwMode="auto">
          <a:xfrm>
            <a:off x="7582872" y="3681876"/>
            <a:ext cx="363539" cy="509587"/>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0" name="Freeform 556"/>
          <p:cNvSpPr>
            <a:spLocks/>
          </p:cNvSpPr>
          <p:nvPr userDrawn="1"/>
        </p:nvSpPr>
        <p:spPr bwMode="auto">
          <a:xfrm>
            <a:off x="7534454" y="5128621"/>
            <a:ext cx="460375" cy="388939"/>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1" name="Freeform 163"/>
          <p:cNvSpPr>
            <a:spLocks/>
          </p:cNvSpPr>
          <p:nvPr userDrawn="1"/>
        </p:nvSpPr>
        <p:spPr bwMode="auto">
          <a:xfrm>
            <a:off x="8135280" y="1183096"/>
            <a:ext cx="474662" cy="477837"/>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2" name="Freeform 425"/>
          <p:cNvSpPr>
            <a:spLocks/>
          </p:cNvSpPr>
          <p:nvPr userDrawn="1"/>
        </p:nvSpPr>
        <p:spPr bwMode="auto">
          <a:xfrm>
            <a:off x="8170994" y="4488941"/>
            <a:ext cx="403226" cy="344488"/>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3" name="Freeform 473"/>
          <p:cNvSpPr>
            <a:spLocks/>
          </p:cNvSpPr>
          <p:nvPr userDrawn="1"/>
        </p:nvSpPr>
        <p:spPr bwMode="auto">
          <a:xfrm>
            <a:off x="8110674" y="2506097"/>
            <a:ext cx="523876" cy="271463"/>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4" name="Freeform 501"/>
          <p:cNvSpPr>
            <a:spLocks/>
          </p:cNvSpPr>
          <p:nvPr userDrawn="1"/>
        </p:nvSpPr>
        <p:spPr bwMode="auto">
          <a:xfrm>
            <a:off x="8115432" y="3068757"/>
            <a:ext cx="514350" cy="358775"/>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5" name="Freeform 521"/>
          <p:cNvSpPr>
            <a:spLocks/>
          </p:cNvSpPr>
          <p:nvPr userDrawn="1"/>
        </p:nvSpPr>
        <p:spPr bwMode="auto">
          <a:xfrm>
            <a:off x="8192432" y="1835058"/>
            <a:ext cx="360363" cy="338137"/>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6" name="Freeform 560"/>
          <p:cNvSpPr>
            <a:spLocks/>
          </p:cNvSpPr>
          <p:nvPr userDrawn="1"/>
        </p:nvSpPr>
        <p:spPr bwMode="auto">
          <a:xfrm>
            <a:off x="8246407" y="5065121"/>
            <a:ext cx="252413" cy="515939"/>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7" name="Freeform 580"/>
          <p:cNvSpPr>
            <a:spLocks/>
          </p:cNvSpPr>
          <p:nvPr userDrawn="1"/>
        </p:nvSpPr>
        <p:spPr bwMode="auto">
          <a:xfrm>
            <a:off x="8124167" y="3689010"/>
            <a:ext cx="496888" cy="495300"/>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8" name="Freeform 159"/>
          <p:cNvSpPr>
            <a:spLocks/>
          </p:cNvSpPr>
          <p:nvPr userDrawn="1"/>
        </p:nvSpPr>
        <p:spPr bwMode="auto">
          <a:xfrm>
            <a:off x="1745239" y="1165625"/>
            <a:ext cx="711201" cy="512763"/>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9" name="Freeform 226"/>
          <p:cNvSpPr>
            <a:spLocks/>
          </p:cNvSpPr>
          <p:nvPr userDrawn="1"/>
        </p:nvSpPr>
        <p:spPr bwMode="auto">
          <a:xfrm>
            <a:off x="1845248" y="4401641"/>
            <a:ext cx="511175" cy="519113"/>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3" name="Freeform 247"/>
          <p:cNvSpPr>
            <a:spLocks/>
          </p:cNvSpPr>
          <p:nvPr userDrawn="1"/>
        </p:nvSpPr>
        <p:spPr bwMode="auto">
          <a:xfrm>
            <a:off x="1892878" y="2385445"/>
            <a:ext cx="415925" cy="512763"/>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grpSp>
        <p:nvGrpSpPr>
          <p:cNvPr id="55" name="Group 270"/>
          <p:cNvGrpSpPr>
            <a:grpSpLocks noChangeAspect="1"/>
          </p:cNvGrpSpPr>
          <p:nvPr userDrawn="1"/>
        </p:nvGrpSpPr>
        <p:grpSpPr bwMode="auto">
          <a:xfrm>
            <a:off x="1885733" y="3016359"/>
            <a:ext cx="430213" cy="463551"/>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grpSp>
      <p:sp>
        <p:nvSpPr>
          <p:cNvPr id="117" name="Freeform 308"/>
          <p:cNvSpPr>
            <a:spLocks/>
          </p:cNvSpPr>
          <p:nvPr userDrawn="1"/>
        </p:nvSpPr>
        <p:spPr bwMode="auto">
          <a:xfrm>
            <a:off x="1842866" y="3673134"/>
            <a:ext cx="515938" cy="527051"/>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8" name="Freeform 636"/>
          <p:cNvSpPr>
            <a:spLocks/>
          </p:cNvSpPr>
          <p:nvPr userDrawn="1"/>
        </p:nvSpPr>
        <p:spPr bwMode="auto">
          <a:xfrm>
            <a:off x="1876997" y="1780287"/>
            <a:ext cx="447674" cy="447672"/>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9" name="Freeform 147"/>
          <p:cNvSpPr>
            <a:spLocks noEditPoints="1"/>
          </p:cNvSpPr>
          <p:nvPr userDrawn="1"/>
        </p:nvSpPr>
        <p:spPr bwMode="auto">
          <a:xfrm>
            <a:off x="8732925" y="1162461"/>
            <a:ext cx="492125" cy="519113"/>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20" name="Freeform 421"/>
          <p:cNvSpPr>
            <a:spLocks noEditPoints="1"/>
          </p:cNvSpPr>
          <p:nvPr userDrawn="1"/>
        </p:nvSpPr>
        <p:spPr bwMode="auto">
          <a:xfrm>
            <a:off x="8796432" y="4405610"/>
            <a:ext cx="365125" cy="511175"/>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21" name="Freeform 533"/>
          <p:cNvSpPr>
            <a:spLocks/>
          </p:cNvSpPr>
          <p:nvPr userDrawn="1"/>
        </p:nvSpPr>
        <p:spPr bwMode="auto">
          <a:xfrm>
            <a:off x="8720227" y="3086209"/>
            <a:ext cx="517527" cy="323851"/>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22" name="Freeform 568"/>
          <p:cNvSpPr>
            <a:spLocks/>
          </p:cNvSpPr>
          <p:nvPr userDrawn="1"/>
        </p:nvSpPr>
        <p:spPr bwMode="auto">
          <a:xfrm>
            <a:off x="8754363" y="5098470"/>
            <a:ext cx="449263" cy="449263"/>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23" name="Freeform 572"/>
          <p:cNvSpPr>
            <a:spLocks/>
          </p:cNvSpPr>
          <p:nvPr userDrawn="1"/>
        </p:nvSpPr>
        <p:spPr bwMode="auto">
          <a:xfrm>
            <a:off x="8749595" y="3741407"/>
            <a:ext cx="458788" cy="390525"/>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24" name="Freeform 632"/>
          <p:cNvSpPr>
            <a:spLocks/>
          </p:cNvSpPr>
          <p:nvPr userDrawn="1"/>
        </p:nvSpPr>
        <p:spPr bwMode="auto">
          <a:xfrm>
            <a:off x="8837701" y="2499745"/>
            <a:ext cx="282574" cy="284163"/>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25" name="Freeform 640"/>
          <p:cNvSpPr>
            <a:spLocks noEditPoints="1"/>
          </p:cNvSpPr>
          <p:nvPr userDrawn="1"/>
        </p:nvSpPr>
        <p:spPr bwMode="auto">
          <a:xfrm>
            <a:off x="8838492" y="1818389"/>
            <a:ext cx="280988" cy="371475"/>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grpSp>
        <p:nvGrpSpPr>
          <p:cNvPr id="82" name="Group 413"/>
          <p:cNvGrpSpPr>
            <a:grpSpLocks noChangeAspect="1"/>
          </p:cNvGrpSpPr>
          <p:nvPr userDrawn="1"/>
        </p:nvGrpSpPr>
        <p:grpSpPr bwMode="auto">
          <a:xfrm>
            <a:off x="9352800" y="4510385"/>
            <a:ext cx="457200" cy="301625"/>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128" name="Line 415"/>
            <p:cNvSpPr>
              <a:spLocks noChangeShapeType="1"/>
            </p:cNvSpPr>
            <p:nvPr/>
          </p:nvSpPr>
          <p:spPr bwMode="auto">
            <a:xfrm flipH="1" flipV="1">
              <a:off x="4232" y="3235"/>
              <a:ext cx="20" cy="19"/>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129" name="Line 416"/>
            <p:cNvSpPr>
              <a:spLocks noChangeShapeType="1"/>
            </p:cNvSpPr>
            <p:nvPr/>
          </p:nvSpPr>
          <p:spPr bwMode="auto">
            <a:xfrm flipV="1">
              <a:off x="4335" y="3192"/>
              <a:ext cx="1" cy="28"/>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130" name="Line 417"/>
            <p:cNvSpPr>
              <a:spLocks noChangeShapeType="1"/>
            </p:cNvSpPr>
            <p:nvPr/>
          </p:nvSpPr>
          <p:spPr bwMode="auto">
            <a:xfrm flipV="1">
              <a:off x="4424" y="3235"/>
              <a:ext cx="17" cy="21"/>
            </a:xfrm>
            <a:prstGeom prst="line">
              <a:avLst/>
            </a:prstGeom>
            <a:grpFill/>
            <a:ln w="31750" cap="rnd">
              <a:solidFill>
                <a:srgbClr val="009530"/>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grpSp>
      <p:sp>
        <p:nvSpPr>
          <p:cNvPr id="131" name="Freeform 513"/>
          <p:cNvSpPr>
            <a:spLocks/>
          </p:cNvSpPr>
          <p:nvPr userDrawn="1"/>
        </p:nvSpPr>
        <p:spPr bwMode="auto">
          <a:xfrm>
            <a:off x="9328196" y="2448143"/>
            <a:ext cx="506412" cy="387351"/>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2" name="Freeform 517"/>
          <p:cNvSpPr>
            <a:spLocks noEditPoints="1"/>
          </p:cNvSpPr>
          <p:nvPr userDrawn="1"/>
        </p:nvSpPr>
        <p:spPr bwMode="auto">
          <a:xfrm>
            <a:off x="9425032" y="1183089"/>
            <a:ext cx="312739" cy="477839"/>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3" name="Freeform 564"/>
          <p:cNvSpPr>
            <a:spLocks/>
          </p:cNvSpPr>
          <p:nvPr userDrawn="1"/>
        </p:nvSpPr>
        <p:spPr bwMode="auto">
          <a:xfrm>
            <a:off x="9382171" y="5161970"/>
            <a:ext cx="398462" cy="322263"/>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4" name="Freeform 584"/>
          <p:cNvSpPr>
            <a:spLocks/>
          </p:cNvSpPr>
          <p:nvPr userDrawn="1"/>
        </p:nvSpPr>
        <p:spPr bwMode="auto">
          <a:xfrm>
            <a:off x="9399632" y="3681876"/>
            <a:ext cx="363539" cy="509587"/>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5" name="Freeform 592"/>
          <p:cNvSpPr>
            <a:spLocks/>
          </p:cNvSpPr>
          <p:nvPr userDrawn="1"/>
        </p:nvSpPr>
        <p:spPr bwMode="auto">
          <a:xfrm>
            <a:off x="9323431" y="3061603"/>
            <a:ext cx="515938" cy="373063"/>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6" name="Freeform 644"/>
          <p:cNvSpPr>
            <a:spLocks/>
          </p:cNvSpPr>
          <p:nvPr userDrawn="1"/>
        </p:nvSpPr>
        <p:spPr bwMode="auto">
          <a:xfrm>
            <a:off x="9440113" y="1838231"/>
            <a:ext cx="282574" cy="331788"/>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7" name="Freeform 493"/>
          <p:cNvSpPr>
            <a:spLocks/>
          </p:cNvSpPr>
          <p:nvPr userDrawn="1"/>
        </p:nvSpPr>
        <p:spPr bwMode="auto">
          <a:xfrm>
            <a:off x="10006013" y="4403229"/>
            <a:ext cx="317500" cy="515937"/>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8" name="Freeform 529"/>
          <p:cNvSpPr>
            <a:spLocks noEditPoints="1"/>
          </p:cNvSpPr>
          <p:nvPr userDrawn="1"/>
        </p:nvSpPr>
        <p:spPr bwMode="auto">
          <a:xfrm>
            <a:off x="9975060" y="2498943"/>
            <a:ext cx="379413" cy="285751"/>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9" name="Freeform 588"/>
          <p:cNvSpPr>
            <a:spLocks/>
          </p:cNvSpPr>
          <p:nvPr userDrawn="1"/>
        </p:nvSpPr>
        <p:spPr bwMode="auto">
          <a:xfrm>
            <a:off x="9934577" y="3740614"/>
            <a:ext cx="460375" cy="392113"/>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0" name="Freeform 608"/>
          <p:cNvSpPr>
            <a:spLocks/>
          </p:cNvSpPr>
          <p:nvPr userDrawn="1"/>
        </p:nvSpPr>
        <p:spPr bwMode="auto">
          <a:xfrm>
            <a:off x="9982207" y="5066717"/>
            <a:ext cx="365125" cy="512763"/>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1" name="Freeform 628"/>
          <p:cNvSpPr>
            <a:spLocks/>
          </p:cNvSpPr>
          <p:nvPr userDrawn="1"/>
        </p:nvSpPr>
        <p:spPr bwMode="auto">
          <a:xfrm>
            <a:off x="9925050" y="3066376"/>
            <a:ext cx="479424" cy="363537"/>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2" name="Freeform 648"/>
          <p:cNvSpPr>
            <a:spLocks/>
          </p:cNvSpPr>
          <p:nvPr userDrawn="1"/>
        </p:nvSpPr>
        <p:spPr bwMode="auto">
          <a:xfrm>
            <a:off x="10011569" y="1263258"/>
            <a:ext cx="306388" cy="317500"/>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3" name="Freeform 652"/>
          <p:cNvSpPr>
            <a:spLocks/>
          </p:cNvSpPr>
          <p:nvPr userDrawn="1"/>
        </p:nvSpPr>
        <p:spPr bwMode="auto">
          <a:xfrm>
            <a:off x="9954418" y="1888239"/>
            <a:ext cx="420688" cy="231775"/>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rgbClr val="009530"/>
          </a:solidFill>
          <a:ln w="1588" cap="flat">
            <a:noFill/>
            <a:prstDash val="solid"/>
            <a:miter lim="800000"/>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4" name="Freeform 525"/>
          <p:cNvSpPr>
            <a:spLocks/>
          </p:cNvSpPr>
          <p:nvPr userDrawn="1"/>
        </p:nvSpPr>
        <p:spPr bwMode="auto">
          <a:xfrm>
            <a:off x="10561591" y="2500541"/>
            <a:ext cx="369888" cy="282575"/>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5" name="Freeform 576"/>
          <p:cNvSpPr>
            <a:spLocks noEditPoints="1"/>
          </p:cNvSpPr>
          <p:nvPr userDrawn="1"/>
        </p:nvSpPr>
        <p:spPr bwMode="auto">
          <a:xfrm>
            <a:off x="10502065" y="4473076"/>
            <a:ext cx="488951" cy="376237"/>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6" name="Freeform 596"/>
          <p:cNvSpPr>
            <a:spLocks noEditPoints="1"/>
          </p:cNvSpPr>
          <p:nvPr userDrawn="1"/>
        </p:nvSpPr>
        <p:spPr bwMode="auto">
          <a:xfrm>
            <a:off x="10513966" y="3677104"/>
            <a:ext cx="465138" cy="519112"/>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7" name="Freeform 604"/>
          <p:cNvSpPr>
            <a:spLocks/>
          </p:cNvSpPr>
          <p:nvPr userDrawn="1"/>
        </p:nvSpPr>
        <p:spPr bwMode="auto">
          <a:xfrm>
            <a:off x="10533022" y="5197689"/>
            <a:ext cx="427037" cy="250825"/>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8" name="Freeform 620"/>
          <p:cNvSpPr>
            <a:spLocks/>
          </p:cNvSpPr>
          <p:nvPr userDrawn="1"/>
        </p:nvSpPr>
        <p:spPr bwMode="auto">
          <a:xfrm>
            <a:off x="10510800" y="3107639"/>
            <a:ext cx="471487" cy="280988"/>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9" name="Freeform 656"/>
          <p:cNvSpPr>
            <a:spLocks/>
          </p:cNvSpPr>
          <p:nvPr userDrawn="1"/>
        </p:nvSpPr>
        <p:spPr bwMode="auto">
          <a:xfrm>
            <a:off x="10490156" y="1748539"/>
            <a:ext cx="512762" cy="511175"/>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0" name="Freeform 660"/>
          <p:cNvSpPr>
            <a:spLocks/>
          </p:cNvSpPr>
          <p:nvPr userDrawn="1"/>
        </p:nvSpPr>
        <p:spPr bwMode="auto">
          <a:xfrm>
            <a:off x="10610013" y="1191033"/>
            <a:ext cx="273050" cy="461963"/>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1" name="Freeform 143"/>
          <p:cNvSpPr>
            <a:spLocks noEditPoints="1"/>
          </p:cNvSpPr>
          <p:nvPr userDrawn="1"/>
        </p:nvSpPr>
        <p:spPr bwMode="auto">
          <a:xfrm>
            <a:off x="11197612" y="5171494"/>
            <a:ext cx="294750" cy="303199"/>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2" name="Freeform 600"/>
          <p:cNvSpPr>
            <a:spLocks/>
          </p:cNvSpPr>
          <p:nvPr userDrawn="1"/>
        </p:nvSpPr>
        <p:spPr bwMode="auto">
          <a:xfrm>
            <a:off x="11088608" y="3816010"/>
            <a:ext cx="512762" cy="241300"/>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3" name="Freeform 612"/>
          <p:cNvSpPr>
            <a:spLocks/>
          </p:cNvSpPr>
          <p:nvPr userDrawn="1"/>
        </p:nvSpPr>
        <p:spPr bwMode="auto">
          <a:xfrm>
            <a:off x="11114799" y="4431010"/>
            <a:ext cx="460376" cy="460375"/>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4" name="Freeform 616"/>
          <p:cNvSpPr>
            <a:spLocks/>
          </p:cNvSpPr>
          <p:nvPr userDrawn="1"/>
        </p:nvSpPr>
        <p:spPr bwMode="auto">
          <a:xfrm>
            <a:off x="11096546" y="3043347"/>
            <a:ext cx="496888" cy="409575"/>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009530"/>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5" name="Freeform 624"/>
          <p:cNvSpPr>
            <a:spLocks/>
          </p:cNvSpPr>
          <p:nvPr userDrawn="1"/>
        </p:nvSpPr>
        <p:spPr bwMode="auto">
          <a:xfrm>
            <a:off x="11115596" y="2407672"/>
            <a:ext cx="458788" cy="468313"/>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6" name="Freeform 664"/>
          <p:cNvSpPr>
            <a:spLocks noEditPoints="1"/>
          </p:cNvSpPr>
          <p:nvPr userDrawn="1"/>
        </p:nvSpPr>
        <p:spPr bwMode="auto">
          <a:xfrm>
            <a:off x="11088608" y="1205314"/>
            <a:ext cx="512762" cy="433388"/>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7" name="Freeform 668"/>
          <p:cNvSpPr>
            <a:spLocks/>
          </p:cNvSpPr>
          <p:nvPr userDrawn="1"/>
        </p:nvSpPr>
        <p:spPr bwMode="auto">
          <a:xfrm>
            <a:off x="11159254" y="1815214"/>
            <a:ext cx="371475" cy="377825"/>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33" name="Freeform 9"/>
          <p:cNvSpPr>
            <a:spLocks/>
          </p:cNvSpPr>
          <p:nvPr userDrawn="1"/>
        </p:nvSpPr>
        <p:spPr bwMode="auto">
          <a:xfrm>
            <a:off x="447682" y="5857907"/>
            <a:ext cx="69731" cy="331423"/>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37" name="Freeform 13"/>
          <p:cNvSpPr>
            <a:spLocks/>
          </p:cNvSpPr>
          <p:nvPr userDrawn="1"/>
        </p:nvSpPr>
        <p:spPr bwMode="auto">
          <a:xfrm>
            <a:off x="611753" y="5857907"/>
            <a:ext cx="72465" cy="331423"/>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41" name="Freeform 17"/>
          <p:cNvSpPr>
            <a:spLocks noEditPoints="1"/>
          </p:cNvSpPr>
          <p:nvPr userDrawn="1"/>
        </p:nvSpPr>
        <p:spPr bwMode="auto">
          <a:xfrm>
            <a:off x="887415" y="6024573"/>
            <a:ext cx="174625" cy="92075"/>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45" name="Freeform 21"/>
          <p:cNvSpPr>
            <a:spLocks noEditPoints="1"/>
          </p:cNvSpPr>
          <p:nvPr userDrawn="1"/>
        </p:nvSpPr>
        <p:spPr bwMode="auto">
          <a:xfrm>
            <a:off x="1243013" y="6003936"/>
            <a:ext cx="160337" cy="117475"/>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49" name="Freeform 25"/>
          <p:cNvSpPr>
            <a:spLocks/>
          </p:cNvSpPr>
          <p:nvPr userDrawn="1"/>
        </p:nvSpPr>
        <p:spPr bwMode="auto">
          <a:xfrm>
            <a:off x="1579567" y="5995996"/>
            <a:ext cx="171449" cy="147637"/>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53" name="Freeform 29"/>
          <p:cNvSpPr>
            <a:spLocks/>
          </p:cNvSpPr>
          <p:nvPr userDrawn="1"/>
        </p:nvSpPr>
        <p:spPr bwMode="auto">
          <a:xfrm>
            <a:off x="1920882" y="5983296"/>
            <a:ext cx="171449" cy="150813"/>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grpSp>
        <p:nvGrpSpPr>
          <p:cNvPr id="83" name="Group 32"/>
          <p:cNvGrpSpPr>
            <a:grpSpLocks noChangeAspect="1"/>
          </p:cNvGrpSpPr>
          <p:nvPr userDrawn="1"/>
        </p:nvGrpSpPr>
        <p:grpSpPr bwMode="auto">
          <a:xfrm>
            <a:off x="2262188" y="6015045"/>
            <a:ext cx="142875" cy="96839"/>
            <a:chOff x="1425" y="3789"/>
            <a:chExt cx="90" cy="61"/>
          </a:xfrm>
          <a:solidFill>
            <a:srgbClr val="009530"/>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grpSp>
      <p:sp>
        <p:nvSpPr>
          <p:cNvPr id="1062" name="Freeform 38"/>
          <p:cNvSpPr>
            <a:spLocks/>
          </p:cNvSpPr>
          <p:nvPr userDrawn="1"/>
        </p:nvSpPr>
        <p:spPr bwMode="auto">
          <a:xfrm>
            <a:off x="2584449" y="6048377"/>
            <a:ext cx="141289" cy="31751"/>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66" name="Freeform 42"/>
          <p:cNvSpPr>
            <a:spLocks/>
          </p:cNvSpPr>
          <p:nvPr userDrawn="1"/>
        </p:nvSpPr>
        <p:spPr bwMode="auto">
          <a:xfrm>
            <a:off x="2901952" y="5992815"/>
            <a:ext cx="142875" cy="144463"/>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grpSp>
        <p:nvGrpSpPr>
          <p:cNvPr id="84" name="Group 45"/>
          <p:cNvGrpSpPr>
            <a:grpSpLocks noChangeAspect="1"/>
          </p:cNvGrpSpPr>
          <p:nvPr userDrawn="1"/>
        </p:nvGrpSpPr>
        <p:grpSpPr bwMode="auto">
          <a:xfrm>
            <a:off x="3222630" y="5999161"/>
            <a:ext cx="134937" cy="131763"/>
            <a:chOff x="2030" y="3779"/>
            <a:chExt cx="85" cy="83"/>
          </a:xfrm>
          <a:solidFill>
            <a:srgbClr val="009530"/>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grpSp>
      <p:grpSp>
        <p:nvGrpSpPr>
          <p:cNvPr id="85" name="Group 50"/>
          <p:cNvGrpSpPr>
            <a:grpSpLocks noChangeAspect="1"/>
          </p:cNvGrpSpPr>
          <p:nvPr userDrawn="1"/>
        </p:nvGrpSpPr>
        <p:grpSpPr bwMode="auto">
          <a:xfrm>
            <a:off x="3535353" y="5994403"/>
            <a:ext cx="136524" cy="141288"/>
            <a:chOff x="2227" y="3776"/>
            <a:chExt cx="86" cy="89"/>
          </a:xfrm>
          <a:solidFill>
            <a:srgbClr val="009530"/>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grpSp>
      <p:sp>
        <p:nvSpPr>
          <p:cNvPr id="1081" name="Freeform 57"/>
          <p:cNvSpPr>
            <a:spLocks/>
          </p:cNvSpPr>
          <p:nvPr userDrawn="1"/>
        </p:nvSpPr>
        <p:spPr bwMode="auto">
          <a:xfrm>
            <a:off x="3856038" y="5995988"/>
            <a:ext cx="109537" cy="138112"/>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85" name="Freeform 61"/>
          <p:cNvSpPr>
            <a:spLocks/>
          </p:cNvSpPr>
          <p:nvPr userDrawn="1"/>
        </p:nvSpPr>
        <p:spPr bwMode="auto">
          <a:xfrm>
            <a:off x="4160842" y="6000761"/>
            <a:ext cx="100013" cy="130175"/>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89" name="Freeform 65"/>
          <p:cNvSpPr>
            <a:spLocks noEditPoints="1"/>
          </p:cNvSpPr>
          <p:nvPr userDrawn="1"/>
        </p:nvSpPr>
        <p:spPr bwMode="auto">
          <a:xfrm>
            <a:off x="4456117" y="6002339"/>
            <a:ext cx="109538" cy="12700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93" name="Freeform 69"/>
          <p:cNvSpPr>
            <a:spLocks/>
          </p:cNvSpPr>
          <p:nvPr userDrawn="1"/>
        </p:nvSpPr>
        <p:spPr bwMode="auto">
          <a:xfrm>
            <a:off x="4764093" y="6002339"/>
            <a:ext cx="96837" cy="12700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97" name="Freeform 73"/>
          <p:cNvSpPr>
            <a:spLocks noEditPoints="1"/>
          </p:cNvSpPr>
          <p:nvPr userDrawn="1"/>
        </p:nvSpPr>
        <p:spPr bwMode="auto">
          <a:xfrm>
            <a:off x="5060950" y="6000761"/>
            <a:ext cx="103188" cy="130175"/>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01" name="Freeform 77"/>
          <p:cNvSpPr>
            <a:spLocks/>
          </p:cNvSpPr>
          <p:nvPr userDrawn="1"/>
        </p:nvSpPr>
        <p:spPr bwMode="auto">
          <a:xfrm>
            <a:off x="5365750" y="6002339"/>
            <a:ext cx="95250" cy="125412"/>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05" name="Freeform 81"/>
          <p:cNvSpPr>
            <a:spLocks noEditPoints="1"/>
          </p:cNvSpPr>
          <p:nvPr userDrawn="1"/>
        </p:nvSpPr>
        <p:spPr bwMode="auto">
          <a:xfrm>
            <a:off x="5662616" y="6000761"/>
            <a:ext cx="103188" cy="130175"/>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09" name="Freeform 85"/>
          <p:cNvSpPr>
            <a:spLocks noEditPoints="1"/>
          </p:cNvSpPr>
          <p:nvPr userDrawn="1"/>
        </p:nvSpPr>
        <p:spPr bwMode="auto">
          <a:xfrm>
            <a:off x="5962650" y="6000761"/>
            <a:ext cx="103188" cy="130175"/>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13" name="Freeform 89"/>
          <p:cNvSpPr>
            <a:spLocks noEditPoints="1"/>
          </p:cNvSpPr>
          <p:nvPr userDrawn="1"/>
        </p:nvSpPr>
        <p:spPr bwMode="auto">
          <a:xfrm>
            <a:off x="6257933" y="5976937"/>
            <a:ext cx="117475" cy="160339"/>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17" name="Freeform 93"/>
          <p:cNvSpPr>
            <a:spLocks/>
          </p:cNvSpPr>
          <p:nvPr userDrawn="1"/>
        </p:nvSpPr>
        <p:spPr bwMode="auto">
          <a:xfrm>
            <a:off x="6559559" y="6000761"/>
            <a:ext cx="112713" cy="130175"/>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21" name="Freeform 97"/>
          <p:cNvSpPr>
            <a:spLocks noEditPoints="1"/>
          </p:cNvSpPr>
          <p:nvPr userDrawn="1"/>
        </p:nvSpPr>
        <p:spPr bwMode="auto">
          <a:xfrm>
            <a:off x="6850069" y="5997576"/>
            <a:ext cx="131763" cy="134939"/>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25" name="Freeform 101"/>
          <p:cNvSpPr>
            <a:spLocks noEditPoints="1"/>
          </p:cNvSpPr>
          <p:nvPr userDrawn="1"/>
        </p:nvSpPr>
        <p:spPr bwMode="auto">
          <a:xfrm>
            <a:off x="7158038" y="6000751"/>
            <a:ext cx="106362" cy="12700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29" name="Freeform 105"/>
          <p:cNvSpPr>
            <a:spLocks/>
          </p:cNvSpPr>
          <p:nvPr userDrawn="1"/>
        </p:nvSpPr>
        <p:spPr bwMode="auto">
          <a:xfrm>
            <a:off x="7453313" y="6000751"/>
            <a:ext cx="95250" cy="125412"/>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33" name="Freeform 109"/>
          <p:cNvSpPr>
            <a:spLocks/>
          </p:cNvSpPr>
          <p:nvPr userDrawn="1"/>
        </p:nvSpPr>
        <p:spPr bwMode="auto">
          <a:xfrm>
            <a:off x="7732720" y="6010275"/>
            <a:ext cx="112713" cy="112712"/>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37" name="Freeform 113"/>
          <p:cNvSpPr>
            <a:spLocks/>
          </p:cNvSpPr>
          <p:nvPr userDrawn="1"/>
        </p:nvSpPr>
        <p:spPr bwMode="auto">
          <a:xfrm>
            <a:off x="8024812" y="5999163"/>
            <a:ext cx="107951" cy="12700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41" name="Freeform 117"/>
          <p:cNvSpPr>
            <a:spLocks/>
          </p:cNvSpPr>
          <p:nvPr userDrawn="1"/>
        </p:nvSpPr>
        <p:spPr bwMode="auto">
          <a:xfrm>
            <a:off x="8310563" y="6000761"/>
            <a:ext cx="107951" cy="130175"/>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45" name="Freeform 121"/>
          <p:cNvSpPr>
            <a:spLocks/>
          </p:cNvSpPr>
          <p:nvPr userDrawn="1"/>
        </p:nvSpPr>
        <p:spPr bwMode="auto">
          <a:xfrm>
            <a:off x="8596318" y="5983298"/>
            <a:ext cx="96837" cy="163513"/>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49" name="Freeform 125"/>
          <p:cNvSpPr>
            <a:spLocks/>
          </p:cNvSpPr>
          <p:nvPr userDrawn="1"/>
        </p:nvSpPr>
        <p:spPr bwMode="auto">
          <a:xfrm>
            <a:off x="8861386" y="6003927"/>
            <a:ext cx="107948" cy="130175"/>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53" name="Freeform 129"/>
          <p:cNvSpPr>
            <a:spLocks noEditPoints="1"/>
          </p:cNvSpPr>
          <p:nvPr userDrawn="1"/>
        </p:nvSpPr>
        <p:spPr bwMode="auto">
          <a:xfrm>
            <a:off x="9142416" y="6002348"/>
            <a:ext cx="85724" cy="128587"/>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57" name="Freeform 133"/>
          <p:cNvSpPr>
            <a:spLocks noEditPoints="1"/>
          </p:cNvSpPr>
          <p:nvPr userDrawn="1"/>
        </p:nvSpPr>
        <p:spPr bwMode="auto">
          <a:xfrm>
            <a:off x="9405943" y="6034089"/>
            <a:ext cx="87311" cy="58739"/>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61" name="Freeform 137"/>
          <p:cNvSpPr>
            <a:spLocks/>
          </p:cNvSpPr>
          <p:nvPr userDrawn="1"/>
        </p:nvSpPr>
        <p:spPr bwMode="auto">
          <a:xfrm>
            <a:off x="9667880" y="5981702"/>
            <a:ext cx="74613" cy="165100"/>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65" name="Freeform 141"/>
          <p:cNvSpPr>
            <a:spLocks/>
          </p:cNvSpPr>
          <p:nvPr userDrawn="1"/>
        </p:nvSpPr>
        <p:spPr bwMode="auto">
          <a:xfrm>
            <a:off x="9923463" y="5980115"/>
            <a:ext cx="74613" cy="165100"/>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69" name="Freeform 145"/>
          <p:cNvSpPr>
            <a:spLocks/>
          </p:cNvSpPr>
          <p:nvPr userDrawn="1"/>
        </p:nvSpPr>
        <p:spPr bwMode="auto">
          <a:xfrm>
            <a:off x="10174296" y="6002339"/>
            <a:ext cx="55563" cy="125412"/>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73" name="Freeform 149"/>
          <p:cNvSpPr>
            <a:spLocks/>
          </p:cNvSpPr>
          <p:nvPr userDrawn="1"/>
        </p:nvSpPr>
        <p:spPr bwMode="auto">
          <a:xfrm>
            <a:off x="10418765" y="5983288"/>
            <a:ext cx="52388" cy="163512"/>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77" name="Freeform 153"/>
          <p:cNvSpPr>
            <a:spLocks/>
          </p:cNvSpPr>
          <p:nvPr userDrawn="1"/>
        </p:nvSpPr>
        <p:spPr bwMode="auto">
          <a:xfrm>
            <a:off x="10650538" y="5981702"/>
            <a:ext cx="52388" cy="165100"/>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81" name="Freeform 157"/>
          <p:cNvSpPr>
            <a:spLocks/>
          </p:cNvSpPr>
          <p:nvPr userDrawn="1"/>
        </p:nvSpPr>
        <p:spPr bwMode="auto">
          <a:xfrm>
            <a:off x="10887075" y="5992813"/>
            <a:ext cx="34926" cy="146051"/>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85" name="Freeform 161"/>
          <p:cNvSpPr>
            <a:spLocks/>
          </p:cNvSpPr>
          <p:nvPr userDrawn="1"/>
        </p:nvSpPr>
        <p:spPr bwMode="auto">
          <a:xfrm>
            <a:off x="11114094" y="5992813"/>
            <a:ext cx="41275" cy="146051"/>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89" name="Freeform 165"/>
          <p:cNvSpPr>
            <a:spLocks noEditPoints="1"/>
          </p:cNvSpPr>
          <p:nvPr userDrawn="1"/>
        </p:nvSpPr>
        <p:spPr bwMode="auto">
          <a:xfrm>
            <a:off x="11333167" y="6000751"/>
            <a:ext cx="34926" cy="12700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93" name="Freeform 169"/>
          <p:cNvSpPr>
            <a:spLocks/>
          </p:cNvSpPr>
          <p:nvPr userDrawn="1"/>
        </p:nvSpPr>
        <p:spPr bwMode="auto">
          <a:xfrm>
            <a:off x="11542713" y="6030915"/>
            <a:ext cx="74613" cy="68263"/>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04" name="Freeform 6"/>
          <p:cNvSpPr>
            <a:spLocks/>
          </p:cNvSpPr>
          <p:nvPr userDrawn="1"/>
        </p:nvSpPr>
        <p:spPr bwMode="auto">
          <a:xfrm>
            <a:off x="1828060" y="5070689"/>
            <a:ext cx="509315" cy="554783"/>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05" name="Freeform 6"/>
          <p:cNvSpPr>
            <a:spLocks/>
          </p:cNvSpPr>
          <p:nvPr userDrawn="1"/>
        </p:nvSpPr>
        <p:spPr bwMode="auto">
          <a:xfrm>
            <a:off x="6935214" y="3718379"/>
            <a:ext cx="544462" cy="3536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dirty="0">
              <a:solidFill>
                <a:srgbClr val="009530"/>
              </a:solidFill>
            </a:endParaRPr>
          </a:p>
        </p:txBody>
      </p:sp>
      <p:sp>
        <p:nvSpPr>
          <p:cNvPr id="194" name="TextBox 193"/>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rgbClr val="626469"/>
                </a:solidFill>
                <a:cs typeface="Arial" pitchFamily="34" charset="0"/>
              </a:rPr>
              <a:t>Confidential Property of Schneider Electric</a:t>
            </a:r>
          </a:p>
        </p:txBody>
      </p:sp>
    </p:spTree>
    <p:extLst>
      <p:ext uri="{BB962C8B-B14F-4D97-AF65-F5344CB8AC3E}">
        <p14:creationId xmlns:p14="http://schemas.microsoft.com/office/powerpoint/2010/main" val="14063633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eneric Pictos_White">
    <p:bg>
      <p:bgPr>
        <a:solidFill>
          <a:srgbClr val="00953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solidFill>
                  <a:srgbClr val="FFFFFF"/>
                </a:solidFill>
              </a:defRPr>
            </a:lvl1pPr>
          </a:lstStyle>
          <a:p>
            <a:r>
              <a:rPr lang="en-US" dirty="0"/>
              <a:t>Generic Pictograms and symbols</a:t>
            </a:r>
            <a:endParaRPr lang="en-US" noProof="0" dirty="0"/>
          </a:p>
        </p:txBody>
      </p:sp>
      <p:sp>
        <p:nvSpPr>
          <p:cNvPr id="5" name="Freeform 171"/>
          <p:cNvSpPr>
            <a:spLocks/>
          </p:cNvSpPr>
          <p:nvPr userDrawn="1"/>
        </p:nvSpPr>
        <p:spPr bwMode="auto">
          <a:xfrm>
            <a:off x="553115" y="1163252"/>
            <a:ext cx="466725" cy="517525"/>
          </a:xfrm>
          <a:custGeom>
            <a:avLst/>
            <a:gdLst/>
            <a:ahLst/>
            <a:cxnLst>
              <a:cxn ang="0">
                <a:pos x="201" y="427"/>
              </a:cxn>
              <a:cxn ang="0">
                <a:pos x="166" y="301"/>
              </a:cxn>
              <a:cxn ang="0">
                <a:pos x="141" y="194"/>
              </a:cxn>
              <a:cxn ang="0">
                <a:pos x="128" y="238"/>
              </a:cxn>
              <a:cxn ang="0">
                <a:pos x="50" y="224"/>
              </a:cxn>
              <a:cxn ang="0">
                <a:pos x="63" y="122"/>
              </a:cxn>
              <a:cxn ang="0">
                <a:pos x="166" y="106"/>
              </a:cxn>
              <a:cxn ang="0">
                <a:pos x="39" y="97"/>
              </a:cxn>
              <a:cxn ang="0">
                <a:pos x="27" y="106"/>
              </a:cxn>
              <a:cxn ang="0">
                <a:pos x="115" y="416"/>
              </a:cxn>
              <a:cxn ang="0">
                <a:pos x="142" y="323"/>
              </a:cxn>
              <a:cxn ang="0">
                <a:pos x="129" y="442"/>
              </a:cxn>
              <a:cxn ang="0">
                <a:pos x="0" y="429"/>
              </a:cxn>
              <a:cxn ang="0">
                <a:pos x="39" y="70"/>
              </a:cxn>
              <a:cxn ang="0">
                <a:pos x="183" y="81"/>
              </a:cxn>
              <a:cxn ang="0">
                <a:pos x="179" y="148"/>
              </a:cxn>
              <a:cxn ang="0">
                <a:pos x="115" y="180"/>
              </a:cxn>
              <a:cxn ang="0">
                <a:pos x="179" y="167"/>
              </a:cxn>
              <a:cxn ang="0">
                <a:pos x="193" y="290"/>
              </a:cxn>
              <a:cxn ang="0">
                <a:pos x="193" y="346"/>
              </a:cxn>
              <a:cxn ang="0">
                <a:pos x="284" y="432"/>
              </a:cxn>
              <a:cxn ang="0">
                <a:pos x="333" y="422"/>
              </a:cxn>
              <a:cxn ang="0">
                <a:pos x="365" y="259"/>
              </a:cxn>
              <a:cxn ang="0">
                <a:pos x="303" y="179"/>
              </a:cxn>
              <a:cxn ang="0">
                <a:pos x="312" y="168"/>
              </a:cxn>
              <a:cxn ang="0">
                <a:pos x="321" y="164"/>
              </a:cxn>
              <a:cxn ang="0">
                <a:pos x="348" y="132"/>
              </a:cxn>
              <a:cxn ang="0">
                <a:pos x="349" y="95"/>
              </a:cxn>
              <a:cxn ang="0">
                <a:pos x="344" y="95"/>
              </a:cxn>
              <a:cxn ang="0">
                <a:pos x="330" y="32"/>
              </a:cxn>
              <a:cxn ang="0">
                <a:pos x="326" y="27"/>
              </a:cxn>
              <a:cxn ang="0">
                <a:pos x="321" y="81"/>
              </a:cxn>
              <a:cxn ang="0">
                <a:pos x="308" y="94"/>
              </a:cxn>
              <a:cxn ang="0">
                <a:pos x="261" y="81"/>
              </a:cxn>
              <a:cxn ang="0">
                <a:pos x="257" y="27"/>
              </a:cxn>
              <a:cxn ang="0">
                <a:pos x="252" y="32"/>
              </a:cxn>
              <a:cxn ang="0">
                <a:pos x="237" y="95"/>
              </a:cxn>
              <a:cxn ang="0">
                <a:pos x="233" y="95"/>
              </a:cxn>
              <a:cxn ang="0">
                <a:pos x="234" y="139"/>
              </a:cxn>
              <a:cxn ang="0">
                <a:pos x="240" y="152"/>
              </a:cxn>
              <a:cxn ang="0">
                <a:pos x="271" y="167"/>
              </a:cxn>
              <a:cxn ang="0">
                <a:pos x="264" y="192"/>
              </a:cxn>
              <a:cxn ang="0">
                <a:pos x="209" y="150"/>
              </a:cxn>
              <a:cxn ang="0">
                <a:pos x="207" y="132"/>
              </a:cxn>
              <a:cxn ang="0">
                <a:pos x="210" y="80"/>
              </a:cxn>
              <a:cxn ang="0">
                <a:pos x="225" y="70"/>
              </a:cxn>
              <a:cxn ang="0">
                <a:pos x="257" y="0"/>
              </a:cxn>
              <a:cxn ang="0">
                <a:pos x="287" y="32"/>
              </a:cxn>
              <a:cxn ang="0">
                <a:pos x="295" y="32"/>
              </a:cxn>
              <a:cxn ang="0">
                <a:pos x="348" y="10"/>
              </a:cxn>
              <a:cxn ang="0">
                <a:pos x="356" y="70"/>
              </a:cxn>
              <a:cxn ang="0">
                <a:pos x="375" y="111"/>
              </a:cxn>
              <a:cxn ang="0">
                <a:pos x="368" y="160"/>
              </a:cxn>
              <a:cxn ang="0">
                <a:pos x="388" y="246"/>
              </a:cxn>
              <a:cxn ang="0">
                <a:pos x="398" y="394"/>
              </a:cxn>
              <a:cxn ang="0">
                <a:pos x="285" y="459"/>
              </a:cxn>
            </a:cxnLst>
            <a:rect l="0" t="0" r="r" b="b"/>
            <a:pathLst>
              <a:path w="413" h="459">
                <a:moveTo>
                  <a:pt x="285" y="459"/>
                </a:moveTo>
                <a:cubicBezTo>
                  <a:pt x="285" y="459"/>
                  <a:pt x="284" y="459"/>
                  <a:pt x="284" y="459"/>
                </a:cubicBezTo>
                <a:cubicBezTo>
                  <a:pt x="284" y="459"/>
                  <a:pt x="284" y="459"/>
                  <a:pt x="284" y="459"/>
                </a:cubicBezTo>
                <a:cubicBezTo>
                  <a:pt x="246" y="459"/>
                  <a:pt x="219" y="445"/>
                  <a:pt x="201" y="427"/>
                </a:cubicBezTo>
                <a:cubicBezTo>
                  <a:pt x="201" y="427"/>
                  <a:pt x="201" y="427"/>
                  <a:pt x="201" y="427"/>
                </a:cubicBezTo>
                <a:cubicBezTo>
                  <a:pt x="183" y="409"/>
                  <a:pt x="175" y="388"/>
                  <a:pt x="171" y="372"/>
                </a:cubicBezTo>
                <a:cubicBezTo>
                  <a:pt x="171" y="372"/>
                  <a:pt x="171" y="372"/>
                  <a:pt x="171" y="372"/>
                </a:cubicBezTo>
                <a:cubicBezTo>
                  <a:pt x="168" y="361"/>
                  <a:pt x="167" y="352"/>
                  <a:pt x="167" y="348"/>
                </a:cubicBezTo>
                <a:cubicBezTo>
                  <a:pt x="167" y="348"/>
                  <a:pt x="167" y="348"/>
                  <a:pt x="167" y="348"/>
                </a:cubicBezTo>
                <a:cubicBezTo>
                  <a:pt x="166" y="335"/>
                  <a:pt x="166" y="314"/>
                  <a:pt x="166" y="301"/>
                </a:cubicBezTo>
                <a:cubicBezTo>
                  <a:pt x="166" y="301"/>
                  <a:pt x="166" y="301"/>
                  <a:pt x="166" y="301"/>
                </a:cubicBezTo>
                <a:cubicBezTo>
                  <a:pt x="166" y="294"/>
                  <a:pt x="166" y="290"/>
                  <a:pt x="166" y="290"/>
                </a:cubicBezTo>
                <a:cubicBezTo>
                  <a:pt x="166" y="290"/>
                  <a:pt x="166" y="290"/>
                  <a:pt x="166" y="290"/>
                </a:cubicBezTo>
                <a:cubicBezTo>
                  <a:pt x="166" y="194"/>
                  <a:pt x="166" y="194"/>
                  <a:pt x="166" y="194"/>
                </a:cubicBezTo>
                <a:cubicBezTo>
                  <a:pt x="141" y="194"/>
                  <a:pt x="141" y="194"/>
                  <a:pt x="141" y="194"/>
                </a:cubicBezTo>
                <a:cubicBezTo>
                  <a:pt x="141" y="224"/>
                  <a:pt x="141" y="224"/>
                  <a:pt x="141" y="224"/>
                </a:cubicBezTo>
                <a:cubicBezTo>
                  <a:pt x="141" y="228"/>
                  <a:pt x="140" y="231"/>
                  <a:pt x="137" y="234"/>
                </a:cubicBezTo>
                <a:cubicBezTo>
                  <a:pt x="137" y="234"/>
                  <a:pt x="137" y="234"/>
                  <a:pt x="137" y="234"/>
                </a:cubicBezTo>
                <a:cubicBezTo>
                  <a:pt x="135" y="236"/>
                  <a:pt x="132" y="238"/>
                  <a:pt x="128" y="238"/>
                </a:cubicBezTo>
                <a:cubicBezTo>
                  <a:pt x="128" y="238"/>
                  <a:pt x="128" y="238"/>
                  <a:pt x="128" y="238"/>
                </a:cubicBezTo>
                <a:cubicBezTo>
                  <a:pt x="63" y="238"/>
                  <a:pt x="63" y="238"/>
                  <a:pt x="63" y="238"/>
                </a:cubicBezTo>
                <a:cubicBezTo>
                  <a:pt x="60" y="238"/>
                  <a:pt x="56" y="236"/>
                  <a:pt x="54" y="234"/>
                </a:cubicBezTo>
                <a:cubicBezTo>
                  <a:pt x="54" y="234"/>
                  <a:pt x="54" y="234"/>
                  <a:pt x="54" y="234"/>
                </a:cubicBezTo>
                <a:cubicBezTo>
                  <a:pt x="51" y="231"/>
                  <a:pt x="50" y="228"/>
                  <a:pt x="50" y="224"/>
                </a:cubicBezTo>
                <a:cubicBezTo>
                  <a:pt x="50" y="224"/>
                  <a:pt x="50" y="224"/>
                  <a:pt x="50" y="224"/>
                </a:cubicBezTo>
                <a:cubicBezTo>
                  <a:pt x="50" y="135"/>
                  <a:pt x="50" y="135"/>
                  <a:pt x="50" y="135"/>
                </a:cubicBezTo>
                <a:cubicBezTo>
                  <a:pt x="50" y="131"/>
                  <a:pt x="51" y="128"/>
                  <a:pt x="54" y="126"/>
                </a:cubicBezTo>
                <a:cubicBezTo>
                  <a:pt x="54" y="126"/>
                  <a:pt x="54" y="126"/>
                  <a:pt x="54" y="126"/>
                </a:cubicBezTo>
                <a:cubicBezTo>
                  <a:pt x="56" y="123"/>
                  <a:pt x="60" y="122"/>
                  <a:pt x="63" y="122"/>
                </a:cubicBezTo>
                <a:cubicBezTo>
                  <a:pt x="63" y="122"/>
                  <a:pt x="63" y="122"/>
                  <a:pt x="63" y="122"/>
                </a:cubicBezTo>
                <a:cubicBezTo>
                  <a:pt x="166" y="122"/>
                  <a:pt x="166" y="122"/>
                  <a:pt x="166" y="122"/>
                </a:cubicBezTo>
                <a:cubicBezTo>
                  <a:pt x="166" y="122"/>
                  <a:pt x="166" y="122"/>
                  <a:pt x="166" y="122"/>
                </a:cubicBezTo>
                <a:cubicBezTo>
                  <a:pt x="166" y="122"/>
                  <a:pt x="166" y="122"/>
                  <a:pt x="166" y="122"/>
                </a:cubicBezTo>
                <a:cubicBezTo>
                  <a:pt x="166" y="115"/>
                  <a:pt x="166" y="107"/>
                  <a:pt x="166" y="106"/>
                </a:cubicBezTo>
                <a:cubicBezTo>
                  <a:pt x="166" y="106"/>
                  <a:pt x="166" y="106"/>
                  <a:pt x="166" y="106"/>
                </a:cubicBezTo>
                <a:cubicBezTo>
                  <a:pt x="166" y="103"/>
                  <a:pt x="165" y="101"/>
                  <a:pt x="164" y="99"/>
                </a:cubicBezTo>
                <a:cubicBezTo>
                  <a:pt x="164" y="99"/>
                  <a:pt x="164" y="99"/>
                  <a:pt x="164" y="99"/>
                </a:cubicBezTo>
                <a:cubicBezTo>
                  <a:pt x="162" y="98"/>
                  <a:pt x="160" y="97"/>
                  <a:pt x="159" y="97"/>
                </a:cubicBezTo>
                <a:cubicBezTo>
                  <a:pt x="159" y="97"/>
                  <a:pt x="159" y="97"/>
                  <a:pt x="159" y="97"/>
                </a:cubicBezTo>
                <a:cubicBezTo>
                  <a:pt x="128" y="97"/>
                  <a:pt x="52" y="97"/>
                  <a:pt x="39" y="97"/>
                </a:cubicBezTo>
                <a:cubicBezTo>
                  <a:pt x="39" y="97"/>
                  <a:pt x="39" y="97"/>
                  <a:pt x="39" y="97"/>
                </a:cubicBezTo>
                <a:cubicBezTo>
                  <a:pt x="32" y="97"/>
                  <a:pt x="30" y="99"/>
                  <a:pt x="29" y="100"/>
                </a:cubicBezTo>
                <a:cubicBezTo>
                  <a:pt x="29" y="100"/>
                  <a:pt x="29" y="100"/>
                  <a:pt x="29" y="100"/>
                </a:cubicBezTo>
                <a:cubicBezTo>
                  <a:pt x="28" y="101"/>
                  <a:pt x="27" y="104"/>
                  <a:pt x="27" y="106"/>
                </a:cubicBezTo>
                <a:cubicBezTo>
                  <a:pt x="27" y="106"/>
                  <a:pt x="27" y="106"/>
                  <a:pt x="27" y="106"/>
                </a:cubicBezTo>
                <a:cubicBezTo>
                  <a:pt x="27" y="108"/>
                  <a:pt x="27" y="188"/>
                  <a:pt x="27" y="269"/>
                </a:cubicBezTo>
                <a:cubicBezTo>
                  <a:pt x="27" y="269"/>
                  <a:pt x="27" y="269"/>
                  <a:pt x="27" y="269"/>
                </a:cubicBezTo>
                <a:cubicBezTo>
                  <a:pt x="27" y="329"/>
                  <a:pt x="27" y="390"/>
                  <a:pt x="27" y="416"/>
                </a:cubicBezTo>
                <a:cubicBezTo>
                  <a:pt x="27" y="416"/>
                  <a:pt x="27" y="416"/>
                  <a:pt x="27" y="416"/>
                </a:cubicBezTo>
                <a:cubicBezTo>
                  <a:pt x="115" y="416"/>
                  <a:pt x="115" y="416"/>
                  <a:pt x="115" y="416"/>
                </a:cubicBezTo>
                <a:cubicBezTo>
                  <a:pt x="115" y="323"/>
                  <a:pt x="115" y="323"/>
                  <a:pt x="115" y="323"/>
                </a:cubicBezTo>
                <a:cubicBezTo>
                  <a:pt x="115" y="316"/>
                  <a:pt x="121" y="310"/>
                  <a:pt x="129" y="310"/>
                </a:cubicBezTo>
                <a:cubicBezTo>
                  <a:pt x="129" y="310"/>
                  <a:pt x="129" y="310"/>
                  <a:pt x="129" y="310"/>
                </a:cubicBezTo>
                <a:cubicBezTo>
                  <a:pt x="136" y="310"/>
                  <a:pt x="142" y="316"/>
                  <a:pt x="142" y="323"/>
                </a:cubicBezTo>
                <a:cubicBezTo>
                  <a:pt x="142" y="323"/>
                  <a:pt x="142" y="323"/>
                  <a:pt x="142" y="323"/>
                </a:cubicBezTo>
                <a:cubicBezTo>
                  <a:pt x="142" y="429"/>
                  <a:pt x="142" y="429"/>
                  <a:pt x="142" y="429"/>
                </a:cubicBezTo>
                <a:cubicBezTo>
                  <a:pt x="142" y="433"/>
                  <a:pt x="141" y="436"/>
                  <a:pt x="138" y="438"/>
                </a:cubicBezTo>
                <a:cubicBezTo>
                  <a:pt x="138" y="438"/>
                  <a:pt x="138" y="438"/>
                  <a:pt x="138" y="438"/>
                </a:cubicBezTo>
                <a:cubicBezTo>
                  <a:pt x="136" y="441"/>
                  <a:pt x="132" y="442"/>
                  <a:pt x="129" y="442"/>
                </a:cubicBezTo>
                <a:cubicBezTo>
                  <a:pt x="129" y="442"/>
                  <a:pt x="129" y="442"/>
                  <a:pt x="129" y="442"/>
                </a:cubicBezTo>
                <a:cubicBezTo>
                  <a:pt x="13" y="442"/>
                  <a:pt x="13" y="442"/>
                  <a:pt x="13" y="442"/>
                </a:cubicBezTo>
                <a:cubicBezTo>
                  <a:pt x="10" y="442"/>
                  <a:pt x="6" y="441"/>
                  <a:pt x="4" y="438"/>
                </a:cubicBezTo>
                <a:cubicBezTo>
                  <a:pt x="4" y="438"/>
                  <a:pt x="4" y="438"/>
                  <a:pt x="4" y="438"/>
                </a:cubicBezTo>
                <a:cubicBezTo>
                  <a:pt x="1" y="436"/>
                  <a:pt x="0" y="433"/>
                  <a:pt x="0" y="429"/>
                </a:cubicBezTo>
                <a:cubicBezTo>
                  <a:pt x="0" y="429"/>
                  <a:pt x="0" y="429"/>
                  <a:pt x="0" y="429"/>
                </a:cubicBezTo>
                <a:cubicBezTo>
                  <a:pt x="0" y="429"/>
                  <a:pt x="0" y="109"/>
                  <a:pt x="0" y="106"/>
                </a:cubicBezTo>
                <a:cubicBezTo>
                  <a:pt x="0" y="106"/>
                  <a:pt x="0" y="106"/>
                  <a:pt x="0" y="106"/>
                </a:cubicBezTo>
                <a:cubicBezTo>
                  <a:pt x="0" y="98"/>
                  <a:pt x="3" y="89"/>
                  <a:pt x="9" y="82"/>
                </a:cubicBezTo>
                <a:cubicBezTo>
                  <a:pt x="9" y="82"/>
                  <a:pt x="9" y="82"/>
                  <a:pt x="9" y="82"/>
                </a:cubicBezTo>
                <a:cubicBezTo>
                  <a:pt x="16" y="75"/>
                  <a:pt x="27" y="70"/>
                  <a:pt x="39" y="70"/>
                </a:cubicBezTo>
                <a:cubicBezTo>
                  <a:pt x="39" y="70"/>
                  <a:pt x="39" y="70"/>
                  <a:pt x="39" y="70"/>
                </a:cubicBezTo>
                <a:cubicBezTo>
                  <a:pt x="52" y="70"/>
                  <a:pt x="128" y="70"/>
                  <a:pt x="159" y="70"/>
                </a:cubicBezTo>
                <a:cubicBezTo>
                  <a:pt x="159" y="70"/>
                  <a:pt x="159" y="70"/>
                  <a:pt x="159" y="70"/>
                </a:cubicBezTo>
                <a:cubicBezTo>
                  <a:pt x="168" y="70"/>
                  <a:pt x="176" y="74"/>
                  <a:pt x="183" y="81"/>
                </a:cubicBezTo>
                <a:cubicBezTo>
                  <a:pt x="183" y="81"/>
                  <a:pt x="183" y="81"/>
                  <a:pt x="183" y="81"/>
                </a:cubicBezTo>
                <a:cubicBezTo>
                  <a:pt x="189" y="87"/>
                  <a:pt x="193" y="96"/>
                  <a:pt x="193" y="106"/>
                </a:cubicBezTo>
                <a:cubicBezTo>
                  <a:pt x="193" y="106"/>
                  <a:pt x="193" y="106"/>
                  <a:pt x="193" y="106"/>
                </a:cubicBezTo>
                <a:cubicBezTo>
                  <a:pt x="193" y="110"/>
                  <a:pt x="193" y="135"/>
                  <a:pt x="193" y="135"/>
                </a:cubicBezTo>
                <a:cubicBezTo>
                  <a:pt x="193" y="135"/>
                  <a:pt x="193" y="135"/>
                  <a:pt x="193" y="135"/>
                </a:cubicBezTo>
                <a:cubicBezTo>
                  <a:pt x="193" y="143"/>
                  <a:pt x="187" y="148"/>
                  <a:pt x="179" y="148"/>
                </a:cubicBezTo>
                <a:cubicBezTo>
                  <a:pt x="179" y="148"/>
                  <a:pt x="179" y="148"/>
                  <a:pt x="179" y="148"/>
                </a:cubicBezTo>
                <a:cubicBezTo>
                  <a:pt x="77" y="148"/>
                  <a:pt x="77" y="148"/>
                  <a:pt x="77" y="148"/>
                </a:cubicBezTo>
                <a:cubicBezTo>
                  <a:pt x="77" y="211"/>
                  <a:pt x="77" y="211"/>
                  <a:pt x="77" y="211"/>
                </a:cubicBezTo>
                <a:cubicBezTo>
                  <a:pt x="115" y="211"/>
                  <a:pt x="115" y="211"/>
                  <a:pt x="115" y="211"/>
                </a:cubicBezTo>
                <a:cubicBezTo>
                  <a:pt x="115" y="180"/>
                  <a:pt x="115" y="180"/>
                  <a:pt x="115" y="180"/>
                </a:cubicBezTo>
                <a:cubicBezTo>
                  <a:pt x="115" y="177"/>
                  <a:pt x="116" y="173"/>
                  <a:pt x="119" y="171"/>
                </a:cubicBezTo>
                <a:cubicBezTo>
                  <a:pt x="119" y="171"/>
                  <a:pt x="119" y="171"/>
                  <a:pt x="119" y="171"/>
                </a:cubicBezTo>
                <a:cubicBezTo>
                  <a:pt x="121" y="168"/>
                  <a:pt x="124" y="167"/>
                  <a:pt x="128" y="167"/>
                </a:cubicBezTo>
                <a:cubicBezTo>
                  <a:pt x="128" y="167"/>
                  <a:pt x="128" y="167"/>
                  <a:pt x="128" y="167"/>
                </a:cubicBezTo>
                <a:cubicBezTo>
                  <a:pt x="179" y="167"/>
                  <a:pt x="179" y="167"/>
                  <a:pt x="179" y="167"/>
                </a:cubicBezTo>
                <a:cubicBezTo>
                  <a:pt x="183" y="167"/>
                  <a:pt x="186" y="168"/>
                  <a:pt x="189" y="171"/>
                </a:cubicBezTo>
                <a:cubicBezTo>
                  <a:pt x="189" y="171"/>
                  <a:pt x="189" y="171"/>
                  <a:pt x="189" y="171"/>
                </a:cubicBezTo>
                <a:cubicBezTo>
                  <a:pt x="191" y="173"/>
                  <a:pt x="193" y="177"/>
                  <a:pt x="193" y="180"/>
                </a:cubicBezTo>
                <a:cubicBezTo>
                  <a:pt x="193" y="180"/>
                  <a:pt x="193" y="180"/>
                  <a:pt x="193" y="180"/>
                </a:cubicBezTo>
                <a:cubicBezTo>
                  <a:pt x="193" y="290"/>
                  <a:pt x="193" y="290"/>
                  <a:pt x="193" y="290"/>
                </a:cubicBezTo>
                <a:cubicBezTo>
                  <a:pt x="193" y="290"/>
                  <a:pt x="193" y="290"/>
                  <a:pt x="193" y="290"/>
                </a:cubicBezTo>
                <a:cubicBezTo>
                  <a:pt x="193" y="290"/>
                  <a:pt x="193" y="294"/>
                  <a:pt x="193" y="301"/>
                </a:cubicBezTo>
                <a:cubicBezTo>
                  <a:pt x="193" y="301"/>
                  <a:pt x="193" y="301"/>
                  <a:pt x="193" y="301"/>
                </a:cubicBezTo>
                <a:cubicBezTo>
                  <a:pt x="193" y="314"/>
                  <a:pt x="193" y="334"/>
                  <a:pt x="193" y="346"/>
                </a:cubicBezTo>
                <a:cubicBezTo>
                  <a:pt x="193" y="346"/>
                  <a:pt x="193" y="346"/>
                  <a:pt x="193" y="346"/>
                </a:cubicBezTo>
                <a:cubicBezTo>
                  <a:pt x="193" y="350"/>
                  <a:pt x="195" y="364"/>
                  <a:pt x="201" y="379"/>
                </a:cubicBezTo>
                <a:cubicBezTo>
                  <a:pt x="201" y="379"/>
                  <a:pt x="201" y="379"/>
                  <a:pt x="201" y="379"/>
                </a:cubicBezTo>
                <a:cubicBezTo>
                  <a:pt x="207" y="394"/>
                  <a:pt x="218" y="410"/>
                  <a:pt x="235" y="420"/>
                </a:cubicBezTo>
                <a:cubicBezTo>
                  <a:pt x="235" y="420"/>
                  <a:pt x="235" y="420"/>
                  <a:pt x="235" y="420"/>
                </a:cubicBezTo>
                <a:cubicBezTo>
                  <a:pt x="247" y="427"/>
                  <a:pt x="263" y="432"/>
                  <a:pt x="284" y="432"/>
                </a:cubicBezTo>
                <a:cubicBezTo>
                  <a:pt x="284" y="432"/>
                  <a:pt x="284" y="432"/>
                  <a:pt x="284" y="432"/>
                </a:cubicBezTo>
                <a:cubicBezTo>
                  <a:pt x="284" y="432"/>
                  <a:pt x="285" y="432"/>
                  <a:pt x="285" y="432"/>
                </a:cubicBezTo>
                <a:cubicBezTo>
                  <a:pt x="285" y="432"/>
                  <a:pt x="285" y="432"/>
                  <a:pt x="285" y="432"/>
                </a:cubicBezTo>
                <a:cubicBezTo>
                  <a:pt x="304" y="432"/>
                  <a:pt x="320" y="429"/>
                  <a:pt x="333" y="422"/>
                </a:cubicBezTo>
                <a:cubicBezTo>
                  <a:pt x="333" y="422"/>
                  <a:pt x="333" y="422"/>
                  <a:pt x="333" y="422"/>
                </a:cubicBezTo>
                <a:cubicBezTo>
                  <a:pt x="345" y="416"/>
                  <a:pt x="356" y="408"/>
                  <a:pt x="364" y="398"/>
                </a:cubicBezTo>
                <a:cubicBezTo>
                  <a:pt x="364" y="398"/>
                  <a:pt x="364" y="398"/>
                  <a:pt x="364" y="398"/>
                </a:cubicBezTo>
                <a:cubicBezTo>
                  <a:pt x="380" y="378"/>
                  <a:pt x="387" y="352"/>
                  <a:pt x="387" y="330"/>
                </a:cubicBezTo>
                <a:cubicBezTo>
                  <a:pt x="387" y="330"/>
                  <a:pt x="387" y="330"/>
                  <a:pt x="387" y="330"/>
                </a:cubicBezTo>
                <a:cubicBezTo>
                  <a:pt x="387" y="308"/>
                  <a:pt x="379" y="283"/>
                  <a:pt x="365" y="259"/>
                </a:cubicBezTo>
                <a:cubicBezTo>
                  <a:pt x="365" y="259"/>
                  <a:pt x="365" y="259"/>
                  <a:pt x="365" y="259"/>
                </a:cubicBezTo>
                <a:cubicBezTo>
                  <a:pt x="351" y="234"/>
                  <a:pt x="331" y="211"/>
                  <a:pt x="308" y="191"/>
                </a:cubicBezTo>
                <a:cubicBezTo>
                  <a:pt x="308" y="191"/>
                  <a:pt x="308" y="191"/>
                  <a:pt x="308" y="191"/>
                </a:cubicBezTo>
                <a:cubicBezTo>
                  <a:pt x="304" y="188"/>
                  <a:pt x="303" y="184"/>
                  <a:pt x="303" y="179"/>
                </a:cubicBezTo>
                <a:cubicBezTo>
                  <a:pt x="303" y="179"/>
                  <a:pt x="303" y="179"/>
                  <a:pt x="303" y="179"/>
                </a:cubicBezTo>
                <a:cubicBezTo>
                  <a:pt x="304" y="174"/>
                  <a:pt x="307" y="170"/>
                  <a:pt x="311" y="169"/>
                </a:cubicBezTo>
                <a:cubicBezTo>
                  <a:pt x="311" y="169"/>
                  <a:pt x="311" y="169"/>
                  <a:pt x="311" y="169"/>
                </a:cubicBezTo>
                <a:cubicBezTo>
                  <a:pt x="311" y="169"/>
                  <a:pt x="311" y="169"/>
                  <a:pt x="312" y="169"/>
                </a:cubicBezTo>
                <a:cubicBezTo>
                  <a:pt x="312" y="169"/>
                  <a:pt x="312" y="169"/>
                  <a:pt x="312" y="169"/>
                </a:cubicBezTo>
                <a:cubicBezTo>
                  <a:pt x="312" y="169"/>
                  <a:pt x="312" y="168"/>
                  <a:pt x="312" y="168"/>
                </a:cubicBezTo>
                <a:cubicBezTo>
                  <a:pt x="312" y="168"/>
                  <a:pt x="312" y="168"/>
                  <a:pt x="312" y="168"/>
                </a:cubicBezTo>
                <a:cubicBezTo>
                  <a:pt x="313" y="168"/>
                  <a:pt x="313" y="168"/>
                  <a:pt x="314" y="168"/>
                </a:cubicBezTo>
                <a:cubicBezTo>
                  <a:pt x="314" y="168"/>
                  <a:pt x="314" y="168"/>
                  <a:pt x="314" y="168"/>
                </a:cubicBezTo>
                <a:cubicBezTo>
                  <a:pt x="316" y="167"/>
                  <a:pt x="318" y="166"/>
                  <a:pt x="321" y="164"/>
                </a:cubicBezTo>
                <a:cubicBezTo>
                  <a:pt x="321" y="164"/>
                  <a:pt x="321" y="164"/>
                  <a:pt x="321" y="164"/>
                </a:cubicBezTo>
                <a:cubicBezTo>
                  <a:pt x="327" y="161"/>
                  <a:pt x="333" y="158"/>
                  <a:pt x="338" y="154"/>
                </a:cubicBezTo>
                <a:cubicBezTo>
                  <a:pt x="338" y="154"/>
                  <a:pt x="338" y="154"/>
                  <a:pt x="338" y="154"/>
                </a:cubicBezTo>
                <a:cubicBezTo>
                  <a:pt x="342" y="151"/>
                  <a:pt x="344" y="148"/>
                  <a:pt x="344" y="147"/>
                </a:cubicBezTo>
                <a:cubicBezTo>
                  <a:pt x="344" y="147"/>
                  <a:pt x="344" y="147"/>
                  <a:pt x="344" y="147"/>
                </a:cubicBezTo>
                <a:cubicBezTo>
                  <a:pt x="346" y="145"/>
                  <a:pt x="347" y="139"/>
                  <a:pt x="348" y="132"/>
                </a:cubicBezTo>
                <a:cubicBezTo>
                  <a:pt x="348" y="132"/>
                  <a:pt x="348" y="132"/>
                  <a:pt x="348" y="132"/>
                </a:cubicBezTo>
                <a:cubicBezTo>
                  <a:pt x="349" y="125"/>
                  <a:pt x="349" y="117"/>
                  <a:pt x="349" y="111"/>
                </a:cubicBezTo>
                <a:cubicBezTo>
                  <a:pt x="349" y="111"/>
                  <a:pt x="349" y="111"/>
                  <a:pt x="349" y="111"/>
                </a:cubicBezTo>
                <a:cubicBezTo>
                  <a:pt x="349" y="104"/>
                  <a:pt x="349" y="99"/>
                  <a:pt x="349" y="95"/>
                </a:cubicBezTo>
                <a:cubicBezTo>
                  <a:pt x="349" y="95"/>
                  <a:pt x="349" y="95"/>
                  <a:pt x="349" y="95"/>
                </a:cubicBezTo>
                <a:cubicBezTo>
                  <a:pt x="348" y="95"/>
                  <a:pt x="346" y="95"/>
                  <a:pt x="345" y="95"/>
                </a:cubicBezTo>
                <a:cubicBezTo>
                  <a:pt x="345" y="95"/>
                  <a:pt x="345" y="95"/>
                  <a:pt x="345" y="95"/>
                </a:cubicBezTo>
                <a:cubicBezTo>
                  <a:pt x="344" y="95"/>
                  <a:pt x="344" y="95"/>
                  <a:pt x="344" y="95"/>
                </a:cubicBezTo>
                <a:cubicBezTo>
                  <a:pt x="344" y="95"/>
                  <a:pt x="344" y="95"/>
                  <a:pt x="344" y="95"/>
                </a:cubicBezTo>
                <a:cubicBezTo>
                  <a:pt x="344" y="95"/>
                  <a:pt x="344" y="95"/>
                  <a:pt x="344" y="95"/>
                </a:cubicBezTo>
                <a:cubicBezTo>
                  <a:pt x="340" y="95"/>
                  <a:pt x="337" y="94"/>
                  <a:pt x="334" y="91"/>
                </a:cubicBezTo>
                <a:cubicBezTo>
                  <a:pt x="334" y="91"/>
                  <a:pt x="334" y="91"/>
                  <a:pt x="334" y="91"/>
                </a:cubicBezTo>
                <a:cubicBezTo>
                  <a:pt x="331" y="89"/>
                  <a:pt x="330" y="85"/>
                  <a:pt x="330" y="81"/>
                </a:cubicBezTo>
                <a:cubicBezTo>
                  <a:pt x="330" y="81"/>
                  <a:pt x="330" y="81"/>
                  <a:pt x="330" y="81"/>
                </a:cubicBezTo>
                <a:cubicBezTo>
                  <a:pt x="330" y="81"/>
                  <a:pt x="330" y="40"/>
                  <a:pt x="330" y="32"/>
                </a:cubicBezTo>
                <a:cubicBezTo>
                  <a:pt x="330" y="32"/>
                  <a:pt x="330" y="32"/>
                  <a:pt x="330" y="32"/>
                </a:cubicBezTo>
                <a:cubicBezTo>
                  <a:pt x="330" y="30"/>
                  <a:pt x="329" y="28"/>
                  <a:pt x="328" y="28"/>
                </a:cubicBezTo>
                <a:cubicBezTo>
                  <a:pt x="328" y="28"/>
                  <a:pt x="328" y="28"/>
                  <a:pt x="328" y="28"/>
                </a:cubicBezTo>
                <a:cubicBezTo>
                  <a:pt x="328" y="27"/>
                  <a:pt x="327" y="27"/>
                  <a:pt x="326" y="27"/>
                </a:cubicBezTo>
                <a:cubicBezTo>
                  <a:pt x="326" y="27"/>
                  <a:pt x="326" y="27"/>
                  <a:pt x="326" y="27"/>
                </a:cubicBezTo>
                <a:cubicBezTo>
                  <a:pt x="324" y="27"/>
                  <a:pt x="323" y="27"/>
                  <a:pt x="323" y="28"/>
                </a:cubicBezTo>
                <a:cubicBezTo>
                  <a:pt x="323" y="28"/>
                  <a:pt x="323" y="28"/>
                  <a:pt x="323" y="28"/>
                </a:cubicBezTo>
                <a:cubicBezTo>
                  <a:pt x="322" y="28"/>
                  <a:pt x="321" y="29"/>
                  <a:pt x="321" y="32"/>
                </a:cubicBezTo>
                <a:cubicBezTo>
                  <a:pt x="321" y="32"/>
                  <a:pt x="321" y="32"/>
                  <a:pt x="321" y="32"/>
                </a:cubicBezTo>
                <a:cubicBezTo>
                  <a:pt x="321" y="41"/>
                  <a:pt x="321" y="76"/>
                  <a:pt x="321" y="81"/>
                </a:cubicBezTo>
                <a:cubicBezTo>
                  <a:pt x="321" y="81"/>
                  <a:pt x="321" y="81"/>
                  <a:pt x="321" y="81"/>
                </a:cubicBezTo>
                <a:cubicBezTo>
                  <a:pt x="321" y="85"/>
                  <a:pt x="320" y="88"/>
                  <a:pt x="317" y="90"/>
                </a:cubicBezTo>
                <a:cubicBezTo>
                  <a:pt x="317" y="90"/>
                  <a:pt x="317" y="90"/>
                  <a:pt x="317" y="90"/>
                </a:cubicBezTo>
                <a:cubicBezTo>
                  <a:pt x="315" y="93"/>
                  <a:pt x="312" y="94"/>
                  <a:pt x="308" y="94"/>
                </a:cubicBezTo>
                <a:cubicBezTo>
                  <a:pt x="308" y="94"/>
                  <a:pt x="308" y="94"/>
                  <a:pt x="308" y="94"/>
                </a:cubicBezTo>
                <a:cubicBezTo>
                  <a:pt x="274" y="94"/>
                  <a:pt x="274" y="94"/>
                  <a:pt x="274" y="94"/>
                </a:cubicBezTo>
                <a:cubicBezTo>
                  <a:pt x="270" y="94"/>
                  <a:pt x="267" y="93"/>
                  <a:pt x="265" y="90"/>
                </a:cubicBezTo>
                <a:cubicBezTo>
                  <a:pt x="265" y="90"/>
                  <a:pt x="265" y="90"/>
                  <a:pt x="265" y="90"/>
                </a:cubicBezTo>
                <a:cubicBezTo>
                  <a:pt x="262" y="88"/>
                  <a:pt x="261" y="85"/>
                  <a:pt x="261" y="81"/>
                </a:cubicBezTo>
                <a:cubicBezTo>
                  <a:pt x="261" y="81"/>
                  <a:pt x="261" y="81"/>
                  <a:pt x="261" y="81"/>
                </a:cubicBezTo>
                <a:cubicBezTo>
                  <a:pt x="261" y="81"/>
                  <a:pt x="261" y="42"/>
                  <a:pt x="261" y="32"/>
                </a:cubicBezTo>
                <a:cubicBezTo>
                  <a:pt x="261" y="32"/>
                  <a:pt x="261" y="32"/>
                  <a:pt x="261" y="32"/>
                </a:cubicBezTo>
                <a:cubicBezTo>
                  <a:pt x="261" y="29"/>
                  <a:pt x="260" y="28"/>
                  <a:pt x="259" y="28"/>
                </a:cubicBezTo>
                <a:cubicBezTo>
                  <a:pt x="259" y="28"/>
                  <a:pt x="259" y="28"/>
                  <a:pt x="259" y="28"/>
                </a:cubicBezTo>
                <a:cubicBezTo>
                  <a:pt x="259" y="27"/>
                  <a:pt x="258" y="27"/>
                  <a:pt x="257" y="27"/>
                </a:cubicBezTo>
                <a:cubicBezTo>
                  <a:pt x="257" y="27"/>
                  <a:pt x="257" y="27"/>
                  <a:pt x="257" y="27"/>
                </a:cubicBezTo>
                <a:cubicBezTo>
                  <a:pt x="255" y="27"/>
                  <a:pt x="254" y="27"/>
                  <a:pt x="253" y="28"/>
                </a:cubicBezTo>
                <a:cubicBezTo>
                  <a:pt x="253" y="28"/>
                  <a:pt x="253" y="28"/>
                  <a:pt x="253" y="28"/>
                </a:cubicBezTo>
                <a:cubicBezTo>
                  <a:pt x="253" y="28"/>
                  <a:pt x="252" y="29"/>
                  <a:pt x="252" y="32"/>
                </a:cubicBezTo>
                <a:cubicBezTo>
                  <a:pt x="252" y="32"/>
                  <a:pt x="252" y="32"/>
                  <a:pt x="252" y="32"/>
                </a:cubicBezTo>
                <a:cubicBezTo>
                  <a:pt x="252" y="41"/>
                  <a:pt x="252" y="74"/>
                  <a:pt x="252" y="82"/>
                </a:cubicBezTo>
                <a:cubicBezTo>
                  <a:pt x="252" y="82"/>
                  <a:pt x="252" y="82"/>
                  <a:pt x="252" y="82"/>
                </a:cubicBezTo>
                <a:cubicBezTo>
                  <a:pt x="252" y="86"/>
                  <a:pt x="250" y="89"/>
                  <a:pt x="247" y="92"/>
                </a:cubicBezTo>
                <a:cubicBezTo>
                  <a:pt x="247" y="92"/>
                  <a:pt x="247" y="92"/>
                  <a:pt x="247" y="92"/>
                </a:cubicBezTo>
                <a:cubicBezTo>
                  <a:pt x="245" y="94"/>
                  <a:pt x="241" y="95"/>
                  <a:pt x="237" y="95"/>
                </a:cubicBezTo>
                <a:cubicBezTo>
                  <a:pt x="237" y="95"/>
                  <a:pt x="237" y="95"/>
                  <a:pt x="237" y="95"/>
                </a:cubicBezTo>
                <a:cubicBezTo>
                  <a:pt x="237" y="95"/>
                  <a:pt x="237" y="95"/>
                  <a:pt x="237" y="95"/>
                </a:cubicBezTo>
                <a:cubicBezTo>
                  <a:pt x="237" y="95"/>
                  <a:pt x="236" y="95"/>
                  <a:pt x="236" y="95"/>
                </a:cubicBezTo>
                <a:cubicBezTo>
                  <a:pt x="236" y="95"/>
                  <a:pt x="236" y="95"/>
                  <a:pt x="236" y="95"/>
                </a:cubicBezTo>
                <a:cubicBezTo>
                  <a:pt x="235" y="95"/>
                  <a:pt x="234" y="95"/>
                  <a:pt x="233" y="95"/>
                </a:cubicBezTo>
                <a:cubicBezTo>
                  <a:pt x="233" y="95"/>
                  <a:pt x="233" y="95"/>
                  <a:pt x="233" y="95"/>
                </a:cubicBezTo>
                <a:cubicBezTo>
                  <a:pt x="233" y="98"/>
                  <a:pt x="233" y="102"/>
                  <a:pt x="233" y="106"/>
                </a:cubicBezTo>
                <a:cubicBezTo>
                  <a:pt x="233" y="106"/>
                  <a:pt x="233" y="106"/>
                  <a:pt x="233" y="106"/>
                </a:cubicBezTo>
                <a:cubicBezTo>
                  <a:pt x="233" y="116"/>
                  <a:pt x="233" y="130"/>
                  <a:pt x="234" y="139"/>
                </a:cubicBezTo>
                <a:cubicBezTo>
                  <a:pt x="234" y="139"/>
                  <a:pt x="234" y="139"/>
                  <a:pt x="234" y="139"/>
                </a:cubicBezTo>
                <a:cubicBezTo>
                  <a:pt x="234" y="142"/>
                  <a:pt x="235" y="144"/>
                  <a:pt x="235" y="145"/>
                </a:cubicBezTo>
                <a:cubicBezTo>
                  <a:pt x="235" y="145"/>
                  <a:pt x="235" y="145"/>
                  <a:pt x="235" y="145"/>
                </a:cubicBezTo>
                <a:cubicBezTo>
                  <a:pt x="235" y="145"/>
                  <a:pt x="235" y="145"/>
                  <a:pt x="235" y="145"/>
                </a:cubicBezTo>
                <a:cubicBezTo>
                  <a:pt x="235" y="145"/>
                  <a:pt x="235" y="145"/>
                  <a:pt x="235" y="145"/>
                </a:cubicBezTo>
                <a:cubicBezTo>
                  <a:pt x="236" y="148"/>
                  <a:pt x="238" y="150"/>
                  <a:pt x="240" y="152"/>
                </a:cubicBezTo>
                <a:cubicBezTo>
                  <a:pt x="240" y="152"/>
                  <a:pt x="240" y="152"/>
                  <a:pt x="240" y="152"/>
                </a:cubicBezTo>
                <a:cubicBezTo>
                  <a:pt x="242" y="154"/>
                  <a:pt x="246" y="156"/>
                  <a:pt x="249" y="158"/>
                </a:cubicBezTo>
                <a:cubicBezTo>
                  <a:pt x="249" y="158"/>
                  <a:pt x="249" y="158"/>
                  <a:pt x="249" y="158"/>
                </a:cubicBezTo>
                <a:cubicBezTo>
                  <a:pt x="256" y="162"/>
                  <a:pt x="265" y="165"/>
                  <a:pt x="271" y="167"/>
                </a:cubicBezTo>
                <a:cubicBezTo>
                  <a:pt x="271" y="167"/>
                  <a:pt x="271" y="167"/>
                  <a:pt x="271" y="167"/>
                </a:cubicBezTo>
                <a:cubicBezTo>
                  <a:pt x="271" y="167"/>
                  <a:pt x="271" y="167"/>
                  <a:pt x="271" y="167"/>
                </a:cubicBezTo>
                <a:cubicBezTo>
                  <a:pt x="279" y="169"/>
                  <a:pt x="283" y="176"/>
                  <a:pt x="281" y="183"/>
                </a:cubicBezTo>
                <a:cubicBezTo>
                  <a:pt x="281" y="183"/>
                  <a:pt x="281" y="183"/>
                  <a:pt x="281" y="183"/>
                </a:cubicBezTo>
                <a:cubicBezTo>
                  <a:pt x="279" y="190"/>
                  <a:pt x="271" y="194"/>
                  <a:pt x="264" y="192"/>
                </a:cubicBezTo>
                <a:cubicBezTo>
                  <a:pt x="264" y="192"/>
                  <a:pt x="264" y="192"/>
                  <a:pt x="264" y="192"/>
                </a:cubicBezTo>
                <a:cubicBezTo>
                  <a:pt x="253" y="189"/>
                  <a:pt x="236" y="184"/>
                  <a:pt x="222" y="172"/>
                </a:cubicBezTo>
                <a:cubicBezTo>
                  <a:pt x="222" y="172"/>
                  <a:pt x="222" y="172"/>
                  <a:pt x="222" y="172"/>
                </a:cubicBezTo>
                <a:cubicBezTo>
                  <a:pt x="217" y="167"/>
                  <a:pt x="213" y="162"/>
                  <a:pt x="210" y="156"/>
                </a:cubicBezTo>
                <a:cubicBezTo>
                  <a:pt x="210" y="156"/>
                  <a:pt x="210" y="156"/>
                  <a:pt x="210" y="156"/>
                </a:cubicBezTo>
                <a:cubicBezTo>
                  <a:pt x="210" y="154"/>
                  <a:pt x="209" y="152"/>
                  <a:pt x="209" y="150"/>
                </a:cubicBezTo>
                <a:cubicBezTo>
                  <a:pt x="209" y="150"/>
                  <a:pt x="209" y="150"/>
                  <a:pt x="209" y="150"/>
                </a:cubicBezTo>
                <a:cubicBezTo>
                  <a:pt x="208" y="148"/>
                  <a:pt x="208" y="147"/>
                  <a:pt x="208" y="145"/>
                </a:cubicBezTo>
                <a:cubicBezTo>
                  <a:pt x="208" y="145"/>
                  <a:pt x="208" y="145"/>
                  <a:pt x="208" y="145"/>
                </a:cubicBezTo>
                <a:cubicBezTo>
                  <a:pt x="207" y="141"/>
                  <a:pt x="207" y="137"/>
                  <a:pt x="207" y="132"/>
                </a:cubicBezTo>
                <a:cubicBezTo>
                  <a:pt x="207" y="132"/>
                  <a:pt x="207" y="132"/>
                  <a:pt x="207" y="132"/>
                </a:cubicBezTo>
                <a:cubicBezTo>
                  <a:pt x="206" y="124"/>
                  <a:pt x="206" y="114"/>
                  <a:pt x="206" y="106"/>
                </a:cubicBezTo>
                <a:cubicBezTo>
                  <a:pt x="206" y="106"/>
                  <a:pt x="206" y="106"/>
                  <a:pt x="206" y="106"/>
                </a:cubicBezTo>
                <a:cubicBezTo>
                  <a:pt x="206" y="101"/>
                  <a:pt x="206" y="97"/>
                  <a:pt x="206" y="94"/>
                </a:cubicBezTo>
                <a:cubicBezTo>
                  <a:pt x="206" y="94"/>
                  <a:pt x="206" y="94"/>
                  <a:pt x="206" y="94"/>
                </a:cubicBezTo>
                <a:cubicBezTo>
                  <a:pt x="206" y="89"/>
                  <a:pt x="208" y="84"/>
                  <a:pt x="210" y="80"/>
                </a:cubicBezTo>
                <a:cubicBezTo>
                  <a:pt x="210" y="80"/>
                  <a:pt x="210" y="80"/>
                  <a:pt x="210" y="80"/>
                </a:cubicBezTo>
                <a:cubicBezTo>
                  <a:pt x="213" y="76"/>
                  <a:pt x="216" y="74"/>
                  <a:pt x="220" y="72"/>
                </a:cubicBezTo>
                <a:cubicBezTo>
                  <a:pt x="220" y="72"/>
                  <a:pt x="220" y="72"/>
                  <a:pt x="220" y="72"/>
                </a:cubicBezTo>
                <a:cubicBezTo>
                  <a:pt x="222" y="71"/>
                  <a:pt x="223" y="70"/>
                  <a:pt x="225" y="70"/>
                </a:cubicBezTo>
                <a:cubicBezTo>
                  <a:pt x="225" y="70"/>
                  <a:pt x="225" y="70"/>
                  <a:pt x="225" y="70"/>
                </a:cubicBezTo>
                <a:cubicBezTo>
                  <a:pt x="225" y="57"/>
                  <a:pt x="225" y="38"/>
                  <a:pt x="225" y="32"/>
                </a:cubicBezTo>
                <a:cubicBezTo>
                  <a:pt x="225" y="32"/>
                  <a:pt x="225" y="32"/>
                  <a:pt x="225" y="32"/>
                </a:cubicBezTo>
                <a:cubicBezTo>
                  <a:pt x="225" y="23"/>
                  <a:pt x="229" y="14"/>
                  <a:pt x="235" y="8"/>
                </a:cubicBezTo>
                <a:cubicBezTo>
                  <a:pt x="235" y="8"/>
                  <a:pt x="235" y="8"/>
                  <a:pt x="235" y="8"/>
                </a:cubicBezTo>
                <a:cubicBezTo>
                  <a:pt x="242" y="2"/>
                  <a:pt x="249" y="0"/>
                  <a:pt x="257" y="0"/>
                </a:cubicBezTo>
                <a:cubicBezTo>
                  <a:pt x="257" y="0"/>
                  <a:pt x="257" y="0"/>
                  <a:pt x="257" y="0"/>
                </a:cubicBezTo>
                <a:cubicBezTo>
                  <a:pt x="265" y="0"/>
                  <a:pt x="273" y="3"/>
                  <a:pt x="278" y="9"/>
                </a:cubicBezTo>
                <a:cubicBezTo>
                  <a:pt x="278" y="9"/>
                  <a:pt x="278" y="9"/>
                  <a:pt x="278" y="9"/>
                </a:cubicBezTo>
                <a:cubicBezTo>
                  <a:pt x="284" y="15"/>
                  <a:pt x="287" y="23"/>
                  <a:pt x="287" y="32"/>
                </a:cubicBezTo>
                <a:cubicBezTo>
                  <a:pt x="287" y="32"/>
                  <a:pt x="287" y="32"/>
                  <a:pt x="287" y="32"/>
                </a:cubicBezTo>
                <a:cubicBezTo>
                  <a:pt x="287" y="38"/>
                  <a:pt x="287" y="55"/>
                  <a:pt x="287" y="68"/>
                </a:cubicBezTo>
                <a:cubicBezTo>
                  <a:pt x="287" y="68"/>
                  <a:pt x="287" y="68"/>
                  <a:pt x="287" y="68"/>
                </a:cubicBezTo>
                <a:cubicBezTo>
                  <a:pt x="295" y="68"/>
                  <a:pt x="295" y="68"/>
                  <a:pt x="295" y="68"/>
                </a:cubicBezTo>
                <a:cubicBezTo>
                  <a:pt x="295" y="55"/>
                  <a:pt x="295" y="38"/>
                  <a:pt x="295" y="32"/>
                </a:cubicBezTo>
                <a:cubicBezTo>
                  <a:pt x="295" y="32"/>
                  <a:pt x="295" y="32"/>
                  <a:pt x="295" y="32"/>
                </a:cubicBezTo>
                <a:cubicBezTo>
                  <a:pt x="295" y="23"/>
                  <a:pt x="298" y="15"/>
                  <a:pt x="304" y="9"/>
                </a:cubicBezTo>
                <a:cubicBezTo>
                  <a:pt x="304" y="9"/>
                  <a:pt x="304" y="9"/>
                  <a:pt x="304" y="9"/>
                </a:cubicBezTo>
                <a:cubicBezTo>
                  <a:pt x="309" y="3"/>
                  <a:pt x="318" y="0"/>
                  <a:pt x="326" y="0"/>
                </a:cubicBezTo>
                <a:cubicBezTo>
                  <a:pt x="326" y="0"/>
                  <a:pt x="326" y="0"/>
                  <a:pt x="326" y="0"/>
                </a:cubicBezTo>
                <a:cubicBezTo>
                  <a:pt x="334" y="0"/>
                  <a:pt x="342" y="4"/>
                  <a:pt x="348" y="10"/>
                </a:cubicBezTo>
                <a:cubicBezTo>
                  <a:pt x="348" y="10"/>
                  <a:pt x="348" y="10"/>
                  <a:pt x="348" y="10"/>
                </a:cubicBezTo>
                <a:cubicBezTo>
                  <a:pt x="353" y="15"/>
                  <a:pt x="356" y="24"/>
                  <a:pt x="356" y="32"/>
                </a:cubicBezTo>
                <a:cubicBezTo>
                  <a:pt x="356" y="32"/>
                  <a:pt x="356" y="32"/>
                  <a:pt x="356" y="32"/>
                </a:cubicBezTo>
                <a:cubicBezTo>
                  <a:pt x="356" y="37"/>
                  <a:pt x="356" y="57"/>
                  <a:pt x="356" y="70"/>
                </a:cubicBezTo>
                <a:cubicBezTo>
                  <a:pt x="356" y="70"/>
                  <a:pt x="356" y="70"/>
                  <a:pt x="356" y="70"/>
                </a:cubicBezTo>
                <a:cubicBezTo>
                  <a:pt x="361" y="71"/>
                  <a:pt x="367" y="74"/>
                  <a:pt x="371" y="80"/>
                </a:cubicBezTo>
                <a:cubicBezTo>
                  <a:pt x="371" y="80"/>
                  <a:pt x="371" y="80"/>
                  <a:pt x="371" y="80"/>
                </a:cubicBezTo>
                <a:cubicBezTo>
                  <a:pt x="374" y="84"/>
                  <a:pt x="375" y="89"/>
                  <a:pt x="375" y="95"/>
                </a:cubicBezTo>
                <a:cubicBezTo>
                  <a:pt x="375" y="95"/>
                  <a:pt x="375" y="95"/>
                  <a:pt x="375" y="95"/>
                </a:cubicBezTo>
                <a:cubicBezTo>
                  <a:pt x="375" y="98"/>
                  <a:pt x="375" y="104"/>
                  <a:pt x="375" y="111"/>
                </a:cubicBezTo>
                <a:cubicBezTo>
                  <a:pt x="375" y="111"/>
                  <a:pt x="375" y="111"/>
                  <a:pt x="375" y="111"/>
                </a:cubicBezTo>
                <a:cubicBezTo>
                  <a:pt x="375" y="118"/>
                  <a:pt x="375" y="127"/>
                  <a:pt x="374" y="135"/>
                </a:cubicBezTo>
                <a:cubicBezTo>
                  <a:pt x="374" y="135"/>
                  <a:pt x="374" y="135"/>
                  <a:pt x="374" y="135"/>
                </a:cubicBezTo>
                <a:cubicBezTo>
                  <a:pt x="373" y="144"/>
                  <a:pt x="372" y="152"/>
                  <a:pt x="368" y="160"/>
                </a:cubicBezTo>
                <a:cubicBezTo>
                  <a:pt x="368" y="160"/>
                  <a:pt x="368" y="160"/>
                  <a:pt x="368" y="160"/>
                </a:cubicBezTo>
                <a:cubicBezTo>
                  <a:pt x="364" y="166"/>
                  <a:pt x="360" y="171"/>
                  <a:pt x="355" y="174"/>
                </a:cubicBezTo>
                <a:cubicBezTo>
                  <a:pt x="355" y="174"/>
                  <a:pt x="355" y="174"/>
                  <a:pt x="355" y="174"/>
                </a:cubicBezTo>
                <a:cubicBezTo>
                  <a:pt x="350" y="178"/>
                  <a:pt x="345" y="182"/>
                  <a:pt x="340" y="184"/>
                </a:cubicBezTo>
                <a:cubicBezTo>
                  <a:pt x="340" y="184"/>
                  <a:pt x="340" y="184"/>
                  <a:pt x="340" y="184"/>
                </a:cubicBezTo>
                <a:cubicBezTo>
                  <a:pt x="359" y="203"/>
                  <a:pt x="376" y="224"/>
                  <a:pt x="388" y="246"/>
                </a:cubicBezTo>
                <a:cubicBezTo>
                  <a:pt x="388" y="246"/>
                  <a:pt x="388" y="246"/>
                  <a:pt x="388" y="246"/>
                </a:cubicBezTo>
                <a:cubicBezTo>
                  <a:pt x="404" y="273"/>
                  <a:pt x="413" y="302"/>
                  <a:pt x="413" y="330"/>
                </a:cubicBezTo>
                <a:cubicBezTo>
                  <a:pt x="413" y="330"/>
                  <a:pt x="413" y="330"/>
                  <a:pt x="413" y="330"/>
                </a:cubicBezTo>
                <a:cubicBezTo>
                  <a:pt x="413" y="351"/>
                  <a:pt x="409" y="373"/>
                  <a:pt x="398" y="394"/>
                </a:cubicBezTo>
                <a:cubicBezTo>
                  <a:pt x="398" y="394"/>
                  <a:pt x="398" y="394"/>
                  <a:pt x="398" y="394"/>
                </a:cubicBezTo>
                <a:cubicBezTo>
                  <a:pt x="387" y="415"/>
                  <a:pt x="369" y="435"/>
                  <a:pt x="344" y="447"/>
                </a:cubicBezTo>
                <a:cubicBezTo>
                  <a:pt x="344" y="447"/>
                  <a:pt x="344" y="447"/>
                  <a:pt x="344" y="447"/>
                </a:cubicBezTo>
                <a:cubicBezTo>
                  <a:pt x="328" y="454"/>
                  <a:pt x="308" y="459"/>
                  <a:pt x="285" y="459"/>
                </a:cubicBezTo>
                <a:cubicBezTo>
                  <a:pt x="285" y="459"/>
                  <a:pt x="285" y="459"/>
                  <a:pt x="285" y="459"/>
                </a:cubicBezTo>
                <a:cubicBezTo>
                  <a:pt x="285" y="459"/>
                  <a:pt x="285" y="459"/>
                  <a:pt x="285" y="459"/>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 name="Freeform 175"/>
          <p:cNvSpPr>
            <a:spLocks/>
          </p:cNvSpPr>
          <p:nvPr userDrawn="1"/>
        </p:nvSpPr>
        <p:spPr bwMode="auto">
          <a:xfrm>
            <a:off x="584858" y="1746153"/>
            <a:ext cx="403226" cy="515939"/>
          </a:xfrm>
          <a:custGeom>
            <a:avLst/>
            <a:gdLst/>
            <a:ahLst/>
            <a:cxnLst>
              <a:cxn ang="0">
                <a:pos x="113" y="28"/>
              </a:cxn>
              <a:cxn ang="0">
                <a:pos x="89" y="84"/>
              </a:cxn>
              <a:cxn ang="0">
                <a:pos x="101" y="134"/>
              </a:cxn>
              <a:cxn ang="0">
                <a:pos x="13" y="134"/>
              </a:cxn>
              <a:cxn ang="0">
                <a:pos x="0" y="147"/>
              </a:cxn>
              <a:cxn ang="0">
                <a:pos x="0" y="266"/>
              </a:cxn>
              <a:cxn ang="0">
                <a:pos x="8" y="278"/>
              </a:cxn>
              <a:cxn ang="0">
                <a:pos x="22" y="276"/>
              </a:cxn>
              <a:cxn ang="0">
                <a:pos x="66" y="268"/>
              </a:cxn>
              <a:cxn ang="0">
                <a:pos x="79" y="329"/>
              </a:cxn>
              <a:cxn ang="0">
                <a:pos x="18" y="337"/>
              </a:cxn>
              <a:cxn ang="0">
                <a:pos x="5" y="338"/>
              </a:cxn>
              <a:cxn ang="0">
                <a:pos x="0" y="349"/>
              </a:cxn>
              <a:cxn ang="0">
                <a:pos x="0" y="444"/>
              </a:cxn>
              <a:cxn ang="0">
                <a:pos x="13" y="457"/>
              </a:cxn>
              <a:cxn ang="0">
                <a:pos x="26" y="444"/>
              </a:cxn>
              <a:cxn ang="0">
                <a:pos x="26" y="367"/>
              </a:cxn>
              <a:cxn ang="0">
                <a:pos x="102" y="342"/>
              </a:cxn>
              <a:cxn ang="0">
                <a:pos x="82" y="247"/>
              </a:cxn>
              <a:cxn ang="0">
                <a:pos x="26" y="241"/>
              </a:cxn>
              <a:cxn ang="0">
                <a:pos x="26" y="161"/>
              </a:cxn>
              <a:cxn ang="0">
                <a:pos x="123" y="161"/>
              </a:cxn>
              <a:cxn ang="0">
                <a:pos x="134" y="154"/>
              </a:cxn>
              <a:cxn ang="0">
                <a:pos x="136" y="147"/>
              </a:cxn>
              <a:cxn ang="0">
                <a:pos x="134" y="141"/>
              </a:cxn>
              <a:cxn ang="0">
                <a:pos x="116" y="83"/>
              </a:cxn>
              <a:cxn ang="0">
                <a:pos x="131" y="47"/>
              </a:cxn>
              <a:cxn ang="0">
                <a:pos x="200" y="44"/>
              </a:cxn>
              <a:cxn ang="0">
                <a:pos x="213" y="142"/>
              </a:cxn>
              <a:cxn ang="0">
                <a:pos x="214" y="155"/>
              </a:cxn>
              <a:cxn ang="0">
                <a:pos x="225" y="161"/>
              </a:cxn>
              <a:cxn ang="0">
                <a:pos x="332" y="161"/>
              </a:cxn>
              <a:cxn ang="0">
                <a:pos x="332" y="226"/>
              </a:cxn>
              <a:cxn ang="0">
                <a:pos x="253" y="245"/>
              </a:cxn>
              <a:cxn ang="0">
                <a:pos x="252" y="330"/>
              </a:cxn>
              <a:cxn ang="0">
                <a:pos x="332" y="356"/>
              </a:cxn>
              <a:cxn ang="0">
                <a:pos x="332" y="431"/>
              </a:cxn>
              <a:cxn ang="0">
                <a:pos x="122" y="431"/>
              </a:cxn>
              <a:cxn ang="0">
                <a:pos x="109" y="444"/>
              </a:cxn>
              <a:cxn ang="0">
                <a:pos x="122" y="457"/>
              </a:cxn>
              <a:cxn ang="0">
                <a:pos x="346" y="457"/>
              </a:cxn>
              <a:cxn ang="0">
                <a:pos x="359" y="444"/>
              </a:cxn>
              <a:cxn ang="0">
                <a:pos x="359" y="338"/>
              </a:cxn>
              <a:cxn ang="0">
                <a:pos x="353" y="327"/>
              </a:cxn>
              <a:cxn ang="0">
                <a:pos x="341" y="326"/>
              </a:cxn>
              <a:cxn ang="0">
                <a:pos x="274" y="314"/>
              </a:cxn>
              <a:cxn ang="0">
                <a:pos x="274" y="262"/>
              </a:cxn>
              <a:cxn ang="0">
                <a:pos x="340" y="258"/>
              </a:cxn>
              <a:cxn ang="0">
                <a:pos x="353" y="257"/>
              </a:cxn>
              <a:cxn ang="0">
                <a:pos x="359" y="245"/>
              </a:cxn>
              <a:cxn ang="0">
                <a:pos x="359" y="147"/>
              </a:cxn>
              <a:cxn ang="0">
                <a:pos x="346" y="134"/>
              </a:cxn>
              <a:cxn ang="0">
                <a:pos x="244" y="134"/>
              </a:cxn>
              <a:cxn ang="0">
                <a:pos x="250" y="93"/>
              </a:cxn>
              <a:cxn ang="0">
                <a:pos x="248" y="72"/>
              </a:cxn>
              <a:cxn ang="0">
                <a:pos x="215" y="22"/>
              </a:cxn>
              <a:cxn ang="0">
                <a:pos x="113" y="28"/>
              </a:cxn>
            </a:cxnLst>
            <a:rect l="0" t="0" r="r" b="b"/>
            <a:pathLst>
              <a:path w="359" h="457">
                <a:moveTo>
                  <a:pt x="113" y="28"/>
                </a:moveTo>
                <a:cubicBezTo>
                  <a:pt x="104" y="36"/>
                  <a:pt x="89" y="54"/>
                  <a:pt x="89" y="84"/>
                </a:cubicBezTo>
                <a:cubicBezTo>
                  <a:pt x="89" y="98"/>
                  <a:pt x="93" y="114"/>
                  <a:pt x="101" y="134"/>
                </a:cubicBezTo>
                <a:cubicBezTo>
                  <a:pt x="73" y="134"/>
                  <a:pt x="13" y="134"/>
                  <a:pt x="13" y="134"/>
                </a:cubicBezTo>
                <a:cubicBezTo>
                  <a:pt x="6" y="134"/>
                  <a:pt x="0" y="140"/>
                  <a:pt x="0" y="147"/>
                </a:cubicBezTo>
                <a:cubicBezTo>
                  <a:pt x="0" y="266"/>
                  <a:pt x="0" y="266"/>
                  <a:pt x="0" y="266"/>
                </a:cubicBezTo>
                <a:cubicBezTo>
                  <a:pt x="0" y="272"/>
                  <a:pt x="3" y="276"/>
                  <a:pt x="8" y="278"/>
                </a:cubicBezTo>
                <a:cubicBezTo>
                  <a:pt x="13" y="281"/>
                  <a:pt x="18" y="280"/>
                  <a:pt x="22" y="276"/>
                </a:cubicBezTo>
                <a:cubicBezTo>
                  <a:pt x="39" y="261"/>
                  <a:pt x="53" y="259"/>
                  <a:pt x="66" y="268"/>
                </a:cubicBezTo>
                <a:cubicBezTo>
                  <a:pt x="82" y="281"/>
                  <a:pt x="89" y="311"/>
                  <a:pt x="79" y="329"/>
                </a:cubicBezTo>
                <a:cubicBezTo>
                  <a:pt x="67" y="350"/>
                  <a:pt x="35" y="343"/>
                  <a:pt x="18" y="337"/>
                </a:cubicBezTo>
                <a:cubicBezTo>
                  <a:pt x="13" y="335"/>
                  <a:pt x="9" y="336"/>
                  <a:pt x="5" y="338"/>
                </a:cubicBezTo>
                <a:cubicBezTo>
                  <a:pt x="2" y="341"/>
                  <a:pt x="0" y="345"/>
                  <a:pt x="0" y="349"/>
                </a:cubicBezTo>
                <a:cubicBezTo>
                  <a:pt x="0" y="444"/>
                  <a:pt x="0" y="444"/>
                  <a:pt x="0" y="444"/>
                </a:cubicBezTo>
                <a:cubicBezTo>
                  <a:pt x="0" y="451"/>
                  <a:pt x="6" y="457"/>
                  <a:pt x="13" y="457"/>
                </a:cubicBezTo>
                <a:cubicBezTo>
                  <a:pt x="20" y="457"/>
                  <a:pt x="26" y="451"/>
                  <a:pt x="26" y="444"/>
                </a:cubicBezTo>
                <a:cubicBezTo>
                  <a:pt x="26" y="444"/>
                  <a:pt x="26" y="390"/>
                  <a:pt x="26" y="367"/>
                </a:cubicBezTo>
                <a:cubicBezTo>
                  <a:pt x="76" y="378"/>
                  <a:pt x="96" y="354"/>
                  <a:pt x="102" y="342"/>
                </a:cubicBezTo>
                <a:cubicBezTo>
                  <a:pt x="118" y="313"/>
                  <a:pt x="109" y="269"/>
                  <a:pt x="82" y="247"/>
                </a:cubicBezTo>
                <a:cubicBezTo>
                  <a:pt x="66" y="234"/>
                  <a:pt x="46" y="233"/>
                  <a:pt x="26" y="241"/>
                </a:cubicBezTo>
                <a:cubicBezTo>
                  <a:pt x="26" y="215"/>
                  <a:pt x="26" y="177"/>
                  <a:pt x="26" y="161"/>
                </a:cubicBezTo>
                <a:cubicBezTo>
                  <a:pt x="47" y="161"/>
                  <a:pt x="123" y="161"/>
                  <a:pt x="123" y="161"/>
                </a:cubicBezTo>
                <a:cubicBezTo>
                  <a:pt x="127" y="161"/>
                  <a:pt x="132" y="158"/>
                  <a:pt x="134" y="154"/>
                </a:cubicBezTo>
                <a:cubicBezTo>
                  <a:pt x="135" y="152"/>
                  <a:pt x="136" y="150"/>
                  <a:pt x="136" y="147"/>
                </a:cubicBezTo>
                <a:cubicBezTo>
                  <a:pt x="136" y="145"/>
                  <a:pt x="135" y="143"/>
                  <a:pt x="134" y="141"/>
                </a:cubicBezTo>
                <a:cubicBezTo>
                  <a:pt x="122" y="119"/>
                  <a:pt x="116" y="100"/>
                  <a:pt x="116" y="83"/>
                </a:cubicBezTo>
                <a:cubicBezTo>
                  <a:pt x="116" y="69"/>
                  <a:pt x="121" y="56"/>
                  <a:pt x="131" y="47"/>
                </a:cubicBezTo>
                <a:cubicBezTo>
                  <a:pt x="149" y="31"/>
                  <a:pt x="179" y="29"/>
                  <a:pt x="200" y="44"/>
                </a:cubicBezTo>
                <a:cubicBezTo>
                  <a:pt x="226" y="61"/>
                  <a:pt x="230" y="97"/>
                  <a:pt x="213" y="142"/>
                </a:cubicBezTo>
                <a:cubicBezTo>
                  <a:pt x="211" y="146"/>
                  <a:pt x="212" y="151"/>
                  <a:pt x="214" y="155"/>
                </a:cubicBezTo>
                <a:cubicBezTo>
                  <a:pt x="216" y="158"/>
                  <a:pt x="221" y="161"/>
                  <a:pt x="225" y="161"/>
                </a:cubicBezTo>
                <a:cubicBezTo>
                  <a:pt x="225" y="161"/>
                  <a:pt x="311" y="161"/>
                  <a:pt x="332" y="161"/>
                </a:cubicBezTo>
                <a:cubicBezTo>
                  <a:pt x="332" y="176"/>
                  <a:pt x="332" y="206"/>
                  <a:pt x="332" y="226"/>
                </a:cubicBezTo>
                <a:cubicBezTo>
                  <a:pt x="286" y="213"/>
                  <a:pt x="262" y="234"/>
                  <a:pt x="253" y="245"/>
                </a:cubicBezTo>
                <a:cubicBezTo>
                  <a:pt x="234" y="268"/>
                  <a:pt x="234" y="305"/>
                  <a:pt x="252" y="330"/>
                </a:cubicBezTo>
                <a:cubicBezTo>
                  <a:pt x="269" y="354"/>
                  <a:pt x="298" y="363"/>
                  <a:pt x="332" y="356"/>
                </a:cubicBezTo>
                <a:cubicBezTo>
                  <a:pt x="332" y="377"/>
                  <a:pt x="332" y="414"/>
                  <a:pt x="332" y="431"/>
                </a:cubicBezTo>
                <a:cubicBezTo>
                  <a:pt x="309" y="431"/>
                  <a:pt x="122" y="431"/>
                  <a:pt x="122" y="431"/>
                </a:cubicBezTo>
                <a:cubicBezTo>
                  <a:pt x="115" y="431"/>
                  <a:pt x="109" y="437"/>
                  <a:pt x="109" y="444"/>
                </a:cubicBezTo>
                <a:cubicBezTo>
                  <a:pt x="109" y="451"/>
                  <a:pt x="115" y="457"/>
                  <a:pt x="122" y="457"/>
                </a:cubicBezTo>
                <a:cubicBezTo>
                  <a:pt x="346" y="457"/>
                  <a:pt x="346" y="457"/>
                  <a:pt x="346" y="457"/>
                </a:cubicBezTo>
                <a:cubicBezTo>
                  <a:pt x="353" y="457"/>
                  <a:pt x="359" y="451"/>
                  <a:pt x="359" y="444"/>
                </a:cubicBezTo>
                <a:cubicBezTo>
                  <a:pt x="359" y="338"/>
                  <a:pt x="359" y="338"/>
                  <a:pt x="359" y="338"/>
                </a:cubicBezTo>
                <a:cubicBezTo>
                  <a:pt x="359" y="334"/>
                  <a:pt x="357" y="330"/>
                  <a:pt x="353" y="327"/>
                </a:cubicBezTo>
                <a:cubicBezTo>
                  <a:pt x="350" y="325"/>
                  <a:pt x="345" y="324"/>
                  <a:pt x="341" y="326"/>
                </a:cubicBezTo>
                <a:cubicBezTo>
                  <a:pt x="311" y="337"/>
                  <a:pt x="286" y="333"/>
                  <a:pt x="274" y="314"/>
                </a:cubicBezTo>
                <a:cubicBezTo>
                  <a:pt x="262" y="299"/>
                  <a:pt x="263" y="276"/>
                  <a:pt x="274" y="262"/>
                </a:cubicBezTo>
                <a:cubicBezTo>
                  <a:pt x="286" y="246"/>
                  <a:pt x="311" y="245"/>
                  <a:pt x="340" y="258"/>
                </a:cubicBezTo>
                <a:cubicBezTo>
                  <a:pt x="344" y="259"/>
                  <a:pt x="349" y="259"/>
                  <a:pt x="353" y="257"/>
                </a:cubicBezTo>
                <a:cubicBezTo>
                  <a:pt x="357" y="254"/>
                  <a:pt x="359" y="250"/>
                  <a:pt x="359" y="245"/>
                </a:cubicBezTo>
                <a:cubicBezTo>
                  <a:pt x="359" y="147"/>
                  <a:pt x="359" y="147"/>
                  <a:pt x="359" y="147"/>
                </a:cubicBezTo>
                <a:cubicBezTo>
                  <a:pt x="359" y="140"/>
                  <a:pt x="353" y="134"/>
                  <a:pt x="346" y="134"/>
                </a:cubicBezTo>
                <a:cubicBezTo>
                  <a:pt x="346" y="134"/>
                  <a:pt x="270" y="134"/>
                  <a:pt x="244" y="134"/>
                </a:cubicBezTo>
                <a:cubicBezTo>
                  <a:pt x="248" y="119"/>
                  <a:pt x="250" y="106"/>
                  <a:pt x="250" y="93"/>
                </a:cubicBezTo>
                <a:cubicBezTo>
                  <a:pt x="250" y="86"/>
                  <a:pt x="249" y="79"/>
                  <a:pt x="248" y="72"/>
                </a:cubicBezTo>
                <a:cubicBezTo>
                  <a:pt x="243" y="51"/>
                  <a:pt x="232" y="34"/>
                  <a:pt x="215" y="22"/>
                </a:cubicBezTo>
                <a:cubicBezTo>
                  <a:pt x="184" y="0"/>
                  <a:pt x="140" y="3"/>
                  <a:pt x="113" y="2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 name="Freeform 191"/>
          <p:cNvSpPr>
            <a:spLocks/>
          </p:cNvSpPr>
          <p:nvPr userDrawn="1"/>
        </p:nvSpPr>
        <p:spPr bwMode="auto">
          <a:xfrm>
            <a:off x="572159" y="2383860"/>
            <a:ext cx="428626" cy="515937"/>
          </a:xfrm>
          <a:custGeom>
            <a:avLst/>
            <a:gdLst/>
            <a:ahLst/>
            <a:cxnLst>
              <a:cxn ang="0">
                <a:pos x="148" y="457"/>
              </a:cxn>
              <a:cxn ang="0">
                <a:pos x="0" y="272"/>
              </a:cxn>
              <a:cxn ang="0">
                <a:pos x="41" y="169"/>
              </a:cxn>
              <a:cxn ang="0">
                <a:pos x="75" y="252"/>
              </a:cxn>
              <a:cxn ang="0">
                <a:pos x="99" y="253"/>
              </a:cxn>
              <a:cxn ang="0">
                <a:pos x="108" y="61"/>
              </a:cxn>
              <a:cxn ang="0">
                <a:pos x="249" y="9"/>
              </a:cxn>
              <a:cxn ang="0">
                <a:pos x="211" y="121"/>
              </a:cxn>
              <a:cxn ang="0">
                <a:pos x="270" y="218"/>
              </a:cxn>
              <a:cxn ang="0">
                <a:pos x="281" y="228"/>
              </a:cxn>
              <a:cxn ang="0">
                <a:pos x="302" y="99"/>
              </a:cxn>
              <a:cxn ang="0">
                <a:pos x="349" y="80"/>
              </a:cxn>
              <a:cxn ang="0">
                <a:pos x="362" y="185"/>
              </a:cxn>
              <a:cxn ang="0">
                <a:pos x="380" y="272"/>
              </a:cxn>
              <a:cxn ang="0">
                <a:pos x="247" y="453"/>
              </a:cxn>
              <a:cxn ang="0">
                <a:pos x="233" y="432"/>
              </a:cxn>
              <a:cxn ang="0">
                <a:pos x="238" y="370"/>
              </a:cxn>
              <a:cxn ang="0">
                <a:pos x="195" y="275"/>
              </a:cxn>
              <a:cxn ang="0">
                <a:pos x="135" y="344"/>
              </a:cxn>
              <a:cxn ang="0">
                <a:pos x="199" y="397"/>
              </a:cxn>
              <a:cxn ang="0">
                <a:pos x="196" y="423"/>
              </a:cxn>
              <a:cxn ang="0">
                <a:pos x="109" y="338"/>
              </a:cxn>
              <a:cxn ang="0">
                <a:pos x="178" y="245"/>
              </a:cxn>
              <a:cxn ang="0">
                <a:pos x="201" y="237"/>
              </a:cxn>
              <a:cxn ang="0">
                <a:pos x="241" y="344"/>
              </a:cxn>
              <a:cxn ang="0">
                <a:pos x="269" y="321"/>
              </a:cxn>
              <a:cxn ang="0">
                <a:pos x="278" y="409"/>
              </a:cxn>
              <a:cxn ang="0">
                <a:pos x="347" y="226"/>
              </a:cxn>
              <a:cxn ang="0">
                <a:pos x="337" y="193"/>
              </a:cxn>
              <a:cxn ang="0">
                <a:pos x="313" y="173"/>
              </a:cxn>
              <a:cxn ang="0">
                <a:pos x="267" y="255"/>
              </a:cxn>
              <a:cxn ang="0">
                <a:pos x="213" y="165"/>
              </a:cxn>
              <a:cxn ang="0">
                <a:pos x="183" y="74"/>
              </a:cxn>
              <a:cxn ang="0">
                <a:pos x="130" y="76"/>
              </a:cxn>
              <a:cxn ang="0">
                <a:pos x="121" y="268"/>
              </a:cxn>
              <a:cxn ang="0">
                <a:pos x="58" y="272"/>
              </a:cxn>
              <a:cxn ang="0">
                <a:pos x="26" y="272"/>
              </a:cxn>
              <a:cxn ang="0">
                <a:pos x="164" y="447"/>
              </a:cxn>
            </a:cxnLst>
            <a:rect l="0" t="0" r="r" b="b"/>
            <a:pathLst>
              <a:path w="380" h="458">
                <a:moveTo>
                  <a:pt x="151" y="458"/>
                </a:moveTo>
                <a:cubicBezTo>
                  <a:pt x="150" y="458"/>
                  <a:pt x="149" y="457"/>
                  <a:pt x="148" y="457"/>
                </a:cubicBezTo>
                <a:cubicBezTo>
                  <a:pt x="107" y="448"/>
                  <a:pt x="69" y="424"/>
                  <a:pt x="42" y="391"/>
                </a:cubicBezTo>
                <a:cubicBezTo>
                  <a:pt x="15" y="358"/>
                  <a:pt x="0" y="315"/>
                  <a:pt x="0" y="272"/>
                </a:cubicBezTo>
                <a:cubicBezTo>
                  <a:pt x="0" y="238"/>
                  <a:pt x="9" y="204"/>
                  <a:pt x="26" y="175"/>
                </a:cubicBezTo>
                <a:cubicBezTo>
                  <a:pt x="29" y="170"/>
                  <a:pt x="35" y="168"/>
                  <a:pt x="41" y="169"/>
                </a:cubicBezTo>
                <a:cubicBezTo>
                  <a:pt x="46" y="170"/>
                  <a:pt x="50" y="175"/>
                  <a:pt x="51" y="181"/>
                </a:cubicBezTo>
                <a:cubicBezTo>
                  <a:pt x="53" y="214"/>
                  <a:pt x="62" y="240"/>
                  <a:pt x="75" y="252"/>
                </a:cubicBezTo>
                <a:cubicBezTo>
                  <a:pt x="80" y="256"/>
                  <a:pt x="85" y="258"/>
                  <a:pt x="91" y="258"/>
                </a:cubicBezTo>
                <a:cubicBezTo>
                  <a:pt x="93" y="258"/>
                  <a:pt x="96" y="257"/>
                  <a:pt x="99" y="253"/>
                </a:cubicBezTo>
                <a:cubicBezTo>
                  <a:pt x="101" y="249"/>
                  <a:pt x="109" y="232"/>
                  <a:pt x="96" y="191"/>
                </a:cubicBezTo>
                <a:cubicBezTo>
                  <a:pt x="75" y="129"/>
                  <a:pt x="85" y="95"/>
                  <a:pt x="108" y="61"/>
                </a:cubicBezTo>
                <a:cubicBezTo>
                  <a:pt x="126" y="36"/>
                  <a:pt x="168" y="6"/>
                  <a:pt x="235" y="0"/>
                </a:cubicBezTo>
                <a:cubicBezTo>
                  <a:pt x="241" y="0"/>
                  <a:pt x="247" y="3"/>
                  <a:pt x="249" y="9"/>
                </a:cubicBezTo>
                <a:cubicBezTo>
                  <a:pt x="251" y="14"/>
                  <a:pt x="250" y="20"/>
                  <a:pt x="245" y="24"/>
                </a:cubicBezTo>
                <a:cubicBezTo>
                  <a:pt x="201" y="61"/>
                  <a:pt x="204" y="103"/>
                  <a:pt x="211" y="121"/>
                </a:cubicBezTo>
                <a:cubicBezTo>
                  <a:pt x="216" y="131"/>
                  <a:pt x="223" y="138"/>
                  <a:pt x="231" y="145"/>
                </a:cubicBezTo>
                <a:cubicBezTo>
                  <a:pt x="246" y="159"/>
                  <a:pt x="263" y="175"/>
                  <a:pt x="270" y="218"/>
                </a:cubicBezTo>
                <a:cubicBezTo>
                  <a:pt x="271" y="225"/>
                  <a:pt x="274" y="229"/>
                  <a:pt x="276" y="230"/>
                </a:cubicBezTo>
                <a:cubicBezTo>
                  <a:pt x="278" y="230"/>
                  <a:pt x="280" y="229"/>
                  <a:pt x="281" y="228"/>
                </a:cubicBezTo>
                <a:cubicBezTo>
                  <a:pt x="288" y="223"/>
                  <a:pt x="293" y="206"/>
                  <a:pt x="287" y="179"/>
                </a:cubicBezTo>
                <a:cubicBezTo>
                  <a:pt x="281" y="150"/>
                  <a:pt x="286" y="121"/>
                  <a:pt x="302" y="99"/>
                </a:cubicBezTo>
                <a:cubicBezTo>
                  <a:pt x="311" y="85"/>
                  <a:pt x="324" y="77"/>
                  <a:pt x="336" y="75"/>
                </a:cubicBezTo>
                <a:cubicBezTo>
                  <a:pt x="341" y="74"/>
                  <a:pt x="346" y="76"/>
                  <a:pt x="349" y="80"/>
                </a:cubicBezTo>
                <a:cubicBezTo>
                  <a:pt x="351" y="83"/>
                  <a:pt x="352" y="88"/>
                  <a:pt x="351" y="93"/>
                </a:cubicBezTo>
                <a:cubicBezTo>
                  <a:pt x="341" y="120"/>
                  <a:pt x="352" y="153"/>
                  <a:pt x="362" y="185"/>
                </a:cubicBezTo>
                <a:cubicBezTo>
                  <a:pt x="366" y="196"/>
                  <a:pt x="370" y="207"/>
                  <a:pt x="373" y="219"/>
                </a:cubicBezTo>
                <a:cubicBezTo>
                  <a:pt x="378" y="236"/>
                  <a:pt x="380" y="254"/>
                  <a:pt x="380" y="272"/>
                </a:cubicBezTo>
                <a:cubicBezTo>
                  <a:pt x="380" y="313"/>
                  <a:pt x="367" y="352"/>
                  <a:pt x="343" y="385"/>
                </a:cubicBezTo>
                <a:cubicBezTo>
                  <a:pt x="319" y="418"/>
                  <a:pt x="286" y="441"/>
                  <a:pt x="247" y="453"/>
                </a:cubicBezTo>
                <a:cubicBezTo>
                  <a:pt x="242" y="455"/>
                  <a:pt x="235" y="453"/>
                  <a:pt x="232" y="448"/>
                </a:cubicBezTo>
                <a:cubicBezTo>
                  <a:pt x="229" y="443"/>
                  <a:pt x="229" y="436"/>
                  <a:pt x="233" y="432"/>
                </a:cubicBezTo>
                <a:cubicBezTo>
                  <a:pt x="255" y="407"/>
                  <a:pt x="261" y="383"/>
                  <a:pt x="261" y="366"/>
                </a:cubicBezTo>
                <a:cubicBezTo>
                  <a:pt x="254" y="370"/>
                  <a:pt x="245" y="371"/>
                  <a:pt x="238" y="370"/>
                </a:cubicBezTo>
                <a:cubicBezTo>
                  <a:pt x="220" y="368"/>
                  <a:pt x="203" y="354"/>
                  <a:pt x="204" y="327"/>
                </a:cubicBezTo>
                <a:cubicBezTo>
                  <a:pt x="205" y="304"/>
                  <a:pt x="202" y="288"/>
                  <a:pt x="195" y="275"/>
                </a:cubicBezTo>
                <a:cubicBezTo>
                  <a:pt x="188" y="287"/>
                  <a:pt x="177" y="295"/>
                  <a:pt x="167" y="303"/>
                </a:cubicBezTo>
                <a:cubicBezTo>
                  <a:pt x="153" y="315"/>
                  <a:pt x="140" y="326"/>
                  <a:pt x="135" y="344"/>
                </a:cubicBezTo>
                <a:cubicBezTo>
                  <a:pt x="132" y="355"/>
                  <a:pt x="133" y="364"/>
                  <a:pt x="138" y="371"/>
                </a:cubicBezTo>
                <a:cubicBezTo>
                  <a:pt x="147" y="384"/>
                  <a:pt x="168" y="393"/>
                  <a:pt x="199" y="397"/>
                </a:cubicBezTo>
                <a:cubicBezTo>
                  <a:pt x="207" y="398"/>
                  <a:pt x="212" y="404"/>
                  <a:pt x="211" y="412"/>
                </a:cubicBezTo>
                <a:cubicBezTo>
                  <a:pt x="210" y="419"/>
                  <a:pt x="203" y="424"/>
                  <a:pt x="196" y="423"/>
                </a:cubicBezTo>
                <a:cubicBezTo>
                  <a:pt x="156" y="418"/>
                  <a:pt x="129" y="406"/>
                  <a:pt x="116" y="386"/>
                </a:cubicBezTo>
                <a:cubicBezTo>
                  <a:pt x="107" y="373"/>
                  <a:pt x="105" y="356"/>
                  <a:pt x="109" y="338"/>
                </a:cubicBezTo>
                <a:cubicBezTo>
                  <a:pt x="116" y="311"/>
                  <a:pt x="134" y="296"/>
                  <a:pt x="150" y="283"/>
                </a:cubicBezTo>
                <a:cubicBezTo>
                  <a:pt x="167" y="269"/>
                  <a:pt x="177" y="260"/>
                  <a:pt x="178" y="245"/>
                </a:cubicBezTo>
                <a:cubicBezTo>
                  <a:pt x="178" y="239"/>
                  <a:pt x="182" y="234"/>
                  <a:pt x="187" y="233"/>
                </a:cubicBezTo>
                <a:cubicBezTo>
                  <a:pt x="192" y="231"/>
                  <a:pt x="198" y="233"/>
                  <a:pt x="201" y="237"/>
                </a:cubicBezTo>
                <a:cubicBezTo>
                  <a:pt x="220" y="260"/>
                  <a:pt x="232" y="283"/>
                  <a:pt x="231" y="327"/>
                </a:cubicBezTo>
                <a:cubicBezTo>
                  <a:pt x="230" y="337"/>
                  <a:pt x="234" y="343"/>
                  <a:pt x="241" y="344"/>
                </a:cubicBezTo>
                <a:cubicBezTo>
                  <a:pt x="246" y="345"/>
                  <a:pt x="255" y="342"/>
                  <a:pt x="257" y="331"/>
                </a:cubicBezTo>
                <a:cubicBezTo>
                  <a:pt x="258" y="325"/>
                  <a:pt x="263" y="321"/>
                  <a:pt x="269" y="321"/>
                </a:cubicBezTo>
                <a:cubicBezTo>
                  <a:pt x="275" y="320"/>
                  <a:pt x="281" y="324"/>
                  <a:pt x="283" y="329"/>
                </a:cubicBezTo>
                <a:cubicBezTo>
                  <a:pt x="290" y="349"/>
                  <a:pt x="291" y="379"/>
                  <a:pt x="278" y="409"/>
                </a:cubicBezTo>
                <a:cubicBezTo>
                  <a:pt x="325" y="380"/>
                  <a:pt x="354" y="329"/>
                  <a:pt x="354" y="272"/>
                </a:cubicBezTo>
                <a:cubicBezTo>
                  <a:pt x="354" y="256"/>
                  <a:pt x="351" y="241"/>
                  <a:pt x="347" y="226"/>
                </a:cubicBezTo>
                <a:cubicBezTo>
                  <a:pt x="347" y="226"/>
                  <a:pt x="347" y="226"/>
                  <a:pt x="347" y="225"/>
                </a:cubicBezTo>
                <a:cubicBezTo>
                  <a:pt x="344" y="215"/>
                  <a:pt x="341" y="205"/>
                  <a:pt x="337" y="193"/>
                </a:cubicBezTo>
                <a:cubicBezTo>
                  <a:pt x="329" y="170"/>
                  <a:pt x="321" y="145"/>
                  <a:pt x="320" y="120"/>
                </a:cubicBezTo>
                <a:cubicBezTo>
                  <a:pt x="315" y="130"/>
                  <a:pt x="308" y="148"/>
                  <a:pt x="313" y="173"/>
                </a:cubicBezTo>
                <a:cubicBezTo>
                  <a:pt x="320" y="207"/>
                  <a:pt x="315" y="234"/>
                  <a:pt x="299" y="248"/>
                </a:cubicBezTo>
                <a:cubicBezTo>
                  <a:pt x="290" y="256"/>
                  <a:pt x="278" y="259"/>
                  <a:pt x="267" y="255"/>
                </a:cubicBezTo>
                <a:cubicBezTo>
                  <a:pt x="254" y="250"/>
                  <a:pt x="246" y="238"/>
                  <a:pt x="243" y="222"/>
                </a:cubicBezTo>
                <a:cubicBezTo>
                  <a:pt x="238" y="188"/>
                  <a:pt x="226" y="178"/>
                  <a:pt x="213" y="165"/>
                </a:cubicBezTo>
                <a:cubicBezTo>
                  <a:pt x="204" y="157"/>
                  <a:pt x="194" y="147"/>
                  <a:pt x="187" y="132"/>
                </a:cubicBezTo>
                <a:cubicBezTo>
                  <a:pt x="180" y="115"/>
                  <a:pt x="178" y="95"/>
                  <a:pt x="183" y="74"/>
                </a:cubicBezTo>
                <a:cubicBezTo>
                  <a:pt x="186" y="60"/>
                  <a:pt x="192" y="46"/>
                  <a:pt x="200" y="33"/>
                </a:cubicBezTo>
                <a:cubicBezTo>
                  <a:pt x="164" y="43"/>
                  <a:pt x="140" y="61"/>
                  <a:pt x="130" y="76"/>
                </a:cubicBezTo>
                <a:cubicBezTo>
                  <a:pt x="114" y="100"/>
                  <a:pt x="102" y="125"/>
                  <a:pt x="121" y="182"/>
                </a:cubicBezTo>
                <a:cubicBezTo>
                  <a:pt x="133" y="219"/>
                  <a:pt x="133" y="249"/>
                  <a:pt x="121" y="268"/>
                </a:cubicBezTo>
                <a:cubicBezTo>
                  <a:pt x="114" y="278"/>
                  <a:pt x="104" y="284"/>
                  <a:pt x="93" y="284"/>
                </a:cubicBezTo>
                <a:cubicBezTo>
                  <a:pt x="80" y="285"/>
                  <a:pt x="68" y="281"/>
                  <a:pt x="58" y="272"/>
                </a:cubicBezTo>
                <a:cubicBezTo>
                  <a:pt x="47" y="262"/>
                  <a:pt x="38" y="247"/>
                  <a:pt x="32" y="229"/>
                </a:cubicBezTo>
                <a:cubicBezTo>
                  <a:pt x="28" y="243"/>
                  <a:pt x="26" y="257"/>
                  <a:pt x="26" y="272"/>
                </a:cubicBezTo>
                <a:cubicBezTo>
                  <a:pt x="26" y="347"/>
                  <a:pt x="80" y="415"/>
                  <a:pt x="154" y="431"/>
                </a:cubicBezTo>
                <a:cubicBezTo>
                  <a:pt x="161" y="433"/>
                  <a:pt x="166" y="440"/>
                  <a:pt x="164" y="447"/>
                </a:cubicBezTo>
                <a:cubicBezTo>
                  <a:pt x="163" y="453"/>
                  <a:pt x="157" y="458"/>
                  <a:pt x="151" y="45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8" name="Freeform 195"/>
          <p:cNvSpPr>
            <a:spLocks/>
          </p:cNvSpPr>
          <p:nvPr userDrawn="1"/>
        </p:nvSpPr>
        <p:spPr bwMode="auto">
          <a:xfrm>
            <a:off x="537234" y="2997309"/>
            <a:ext cx="498474" cy="501651"/>
          </a:xfrm>
          <a:custGeom>
            <a:avLst/>
            <a:gdLst/>
            <a:ahLst/>
            <a:cxnLst>
              <a:cxn ang="0">
                <a:pos x="5" y="5"/>
              </a:cxn>
              <a:cxn ang="0">
                <a:pos x="5" y="24"/>
              </a:cxn>
              <a:cxn ang="0">
                <a:pos x="212" y="231"/>
              </a:cxn>
              <a:cxn ang="0">
                <a:pos x="221" y="235"/>
              </a:cxn>
              <a:cxn ang="0">
                <a:pos x="231" y="231"/>
              </a:cxn>
              <a:cxn ang="0">
                <a:pos x="255" y="207"/>
              </a:cxn>
              <a:cxn ang="0">
                <a:pos x="263" y="215"/>
              </a:cxn>
              <a:cxn ang="0">
                <a:pos x="263" y="234"/>
              </a:cxn>
              <a:cxn ang="0">
                <a:pos x="270" y="246"/>
              </a:cxn>
              <a:cxn ang="0">
                <a:pos x="318" y="270"/>
              </a:cxn>
              <a:cxn ang="0">
                <a:pos x="409" y="361"/>
              </a:cxn>
              <a:cxn ang="0">
                <a:pos x="415" y="376"/>
              </a:cxn>
              <a:cxn ang="0">
                <a:pos x="409" y="391"/>
              </a:cxn>
              <a:cxn ang="0">
                <a:pos x="391" y="408"/>
              </a:cxn>
              <a:cxn ang="0">
                <a:pos x="361" y="408"/>
              </a:cxn>
              <a:cxn ang="0">
                <a:pos x="270" y="317"/>
              </a:cxn>
              <a:cxn ang="0">
                <a:pos x="246" y="270"/>
              </a:cxn>
              <a:cxn ang="0">
                <a:pos x="234" y="263"/>
              </a:cxn>
              <a:cxn ang="0">
                <a:pos x="209" y="263"/>
              </a:cxn>
              <a:cxn ang="0">
                <a:pos x="196" y="276"/>
              </a:cxn>
              <a:cxn ang="0">
                <a:pos x="209" y="289"/>
              </a:cxn>
              <a:cxn ang="0">
                <a:pos x="226" y="289"/>
              </a:cxn>
              <a:cxn ang="0">
                <a:pos x="247" y="331"/>
              </a:cxn>
              <a:cxn ang="0">
                <a:pos x="250" y="335"/>
              </a:cxn>
              <a:cxn ang="0">
                <a:pos x="342" y="427"/>
              </a:cxn>
              <a:cxn ang="0">
                <a:pos x="410" y="427"/>
              </a:cxn>
              <a:cxn ang="0">
                <a:pos x="428" y="410"/>
              </a:cxn>
              <a:cxn ang="0">
                <a:pos x="442" y="376"/>
              </a:cxn>
              <a:cxn ang="0">
                <a:pos x="428" y="342"/>
              </a:cxn>
              <a:cxn ang="0">
                <a:pos x="335" y="249"/>
              </a:cxn>
              <a:cxn ang="0">
                <a:pos x="332" y="247"/>
              </a:cxn>
              <a:cxn ang="0">
                <a:pos x="290" y="226"/>
              </a:cxn>
              <a:cxn ang="0">
                <a:pos x="290" y="209"/>
              </a:cxn>
              <a:cxn ang="0">
                <a:pos x="286" y="200"/>
              </a:cxn>
              <a:cxn ang="0">
                <a:pos x="265" y="179"/>
              </a:cxn>
              <a:cxn ang="0">
                <a:pos x="255" y="175"/>
              </a:cxn>
              <a:cxn ang="0">
                <a:pos x="246" y="179"/>
              </a:cxn>
              <a:cxn ang="0">
                <a:pos x="221" y="203"/>
              </a:cxn>
              <a:cxn ang="0">
                <a:pos x="24" y="5"/>
              </a:cxn>
              <a:cxn ang="0">
                <a:pos x="5" y="5"/>
              </a:cxn>
            </a:cxnLst>
            <a:rect l="0" t="0" r="r" b="b"/>
            <a:pathLst>
              <a:path w="442" h="446">
                <a:moveTo>
                  <a:pt x="5" y="5"/>
                </a:moveTo>
                <a:cubicBezTo>
                  <a:pt x="0" y="11"/>
                  <a:pt x="0" y="19"/>
                  <a:pt x="5" y="24"/>
                </a:cubicBezTo>
                <a:cubicBezTo>
                  <a:pt x="212" y="231"/>
                  <a:pt x="212" y="231"/>
                  <a:pt x="212" y="231"/>
                </a:cubicBezTo>
                <a:cubicBezTo>
                  <a:pt x="215" y="234"/>
                  <a:pt x="218" y="235"/>
                  <a:pt x="221" y="235"/>
                </a:cubicBezTo>
                <a:cubicBezTo>
                  <a:pt x="225" y="235"/>
                  <a:pt x="228" y="234"/>
                  <a:pt x="231" y="231"/>
                </a:cubicBezTo>
                <a:cubicBezTo>
                  <a:pt x="231" y="231"/>
                  <a:pt x="246" y="217"/>
                  <a:pt x="255" y="207"/>
                </a:cubicBezTo>
                <a:cubicBezTo>
                  <a:pt x="259" y="211"/>
                  <a:pt x="261" y="212"/>
                  <a:pt x="263" y="215"/>
                </a:cubicBezTo>
                <a:cubicBezTo>
                  <a:pt x="263" y="221"/>
                  <a:pt x="263" y="234"/>
                  <a:pt x="263" y="234"/>
                </a:cubicBezTo>
                <a:cubicBezTo>
                  <a:pt x="263" y="239"/>
                  <a:pt x="266" y="244"/>
                  <a:pt x="270" y="246"/>
                </a:cubicBezTo>
                <a:cubicBezTo>
                  <a:pt x="270" y="246"/>
                  <a:pt x="314" y="268"/>
                  <a:pt x="318" y="270"/>
                </a:cubicBezTo>
                <a:cubicBezTo>
                  <a:pt x="321" y="273"/>
                  <a:pt x="409" y="361"/>
                  <a:pt x="409" y="361"/>
                </a:cubicBezTo>
                <a:cubicBezTo>
                  <a:pt x="413" y="365"/>
                  <a:pt x="415" y="370"/>
                  <a:pt x="415" y="376"/>
                </a:cubicBezTo>
                <a:cubicBezTo>
                  <a:pt x="415" y="381"/>
                  <a:pt x="413" y="387"/>
                  <a:pt x="409" y="391"/>
                </a:cubicBezTo>
                <a:cubicBezTo>
                  <a:pt x="391" y="408"/>
                  <a:pt x="391" y="408"/>
                  <a:pt x="391" y="408"/>
                </a:cubicBezTo>
                <a:cubicBezTo>
                  <a:pt x="383" y="417"/>
                  <a:pt x="369" y="417"/>
                  <a:pt x="361" y="408"/>
                </a:cubicBezTo>
                <a:cubicBezTo>
                  <a:pt x="361" y="408"/>
                  <a:pt x="273" y="320"/>
                  <a:pt x="270" y="317"/>
                </a:cubicBezTo>
                <a:cubicBezTo>
                  <a:pt x="268" y="314"/>
                  <a:pt x="246" y="270"/>
                  <a:pt x="246" y="270"/>
                </a:cubicBezTo>
                <a:cubicBezTo>
                  <a:pt x="244" y="266"/>
                  <a:pt x="239" y="263"/>
                  <a:pt x="234" y="263"/>
                </a:cubicBezTo>
                <a:cubicBezTo>
                  <a:pt x="209" y="263"/>
                  <a:pt x="209" y="263"/>
                  <a:pt x="209" y="263"/>
                </a:cubicBezTo>
                <a:cubicBezTo>
                  <a:pt x="202" y="263"/>
                  <a:pt x="196" y="269"/>
                  <a:pt x="196" y="276"/>
                </a:cubicBezTo>
                <a:cubicBezTo>
                  <a:pt x="196" y="283"/>
                  <a:pt x="202" y="289"/>
                  <a:pt x="209" y="289"/>
                </a:cubicBezTo>
                <a:cubicBezTo>
                  <a:pt x="209" y="289"/>
                  <a:pt x="219" y="289"/>
                  <a:pt x="226" y="289"/>
                </a:cubicBezTo>
                <a:cubicBezTo>
                  <a:pt x="231" y="300"/>
                  <a:pt x="247" y="331"/>
                  <a:pt x="247" y="331"/>
                </a:cubicBezTo>
                <a:cubicBezTo>
                  <a:pt x="248" y="332"/>
                  <a:pt x="249" y="334"/>
                  <a:pt x="250" y="335"/>
                </a:cubicBezTo>
                <a:cubicBezTo>
                  <a:pt x="342" y="427"/>
                  <a:pt x="342" y="427"/>
                  <a:pt x="342" y="427"/>
                </a:cubicBezTo>
                <a:cubicBezTo>
                  <a:pt x="361" y="446"/>
                  <a:pt x="391" y="446"/>
                  <a:pt x="410" y="427"/>
                </a:cubicBezTo>
                <a:cubicBezTo>
                  <a:pt x="428" y="410"/>
                  <a:pt x="428" y="410"/>
                  <a:pt x="428" y="410"/>
                </a:cubicBezTo>
                <a:cubicBezTo>
                  <a:pt x="437" y="400"/>
                  <a:pt x="442" y="388"/>
                  <a:pt x="442" y="376"/>
                </a:cubicBezTo>
                <a:cubicBezTo>
                  <a:pt x="442" y="363"/>
                  <a:pt x="437" y="351"/>
                  <a:pt x="428" y="342"/>
                </a:cubicBezTo>
                <a:cubicBezTo>
                  <a:pt x="335" y="249"/>
                  <a:pt x="335" y="249"/>
                  <a:pt x="335" y="249"/>
                </a:cubicBezTo>
                <a:cubicBezTo>
                  <a:pt x="334" y="248"/>
                  <a:pt x="333" y="247"/>
                  <a:pt x="332" y="247"/>
                </a:cubicBezTo>
                <a:cubicBezTo>
                  <a:pt x="332" y="247"/>
                  <a:pt x="300" y="231"/>
                  <a:pt x="290" y="226"/>
                </a:cubicBezTo>
                <a:cubicBezTo>
                  <a:pt x="290" y="218"/>
                  <a:pt x="290" y="209"/>
                  <a:pt x="290" y="209"/>
                </a:cubicBezTo>
                <a:cubicBezTo>
                  <a:pt x="290" y="205"/>
                  <a:pt x="288" y="202"/>
                  <a:pt x="286" y="200"/>
                </a:cubicBezTo>
                <a:cubicBezTo>
                  <a:pt x="265" y="179"/>
                  <a:pt x="265" y="179"/>
                  <a:pt x="265" y="179"/>
                </a:cubicBezTo>
                <a:cubicBezTo>
                  <a:pt x="262" y="176"/>
                  <a:pt x="259" y="175"/>
                  <a:pt x="255" y="175"/>
                </a:cubicBezTo>
                <a:cubicBezTo>
                  <a:pt x="252" y="175"/>
                  <a:pt x="248" y="176"/>
                  <a:pt x="246" y="179"/>
                </a:cubicBezTo>
                <a:cubicBezTo>
                  <a:pt x="246" y="179"/>
                  <a:pt x="231" y="193"/>
                  <a:pt x="221" y="203"/>
                </a:cubicBezTo>
                <a:cubicBezTo>
                  <a:pt x="204" y="186"/>
                  <a:pt x="24" y="5"/>
                  <a:pt x="24" y="5"/>
                </a:cubicBezTo>
                <a:cubicBezTo>
                  <a:pt x="19" y="0"/>
                  <a:pt x="10" y="0"/>
                  <a:pt x="5" y="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9" name="Freeform 199"/>
          <p:cNvSpPr>
            <a:spLocks/>
          </p:cNvSpPr>
          <p:nvPr userDrawn="1"/>
        </p:nvSpPr>
        <p:spPr bwMode="auto">
          <a:xfrm>
            <a:off x="556285" y="3677907"/>
            <a:ext cx="460375" cy="517525"/>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 name="Freeform 207"/>
          <p:cNvSpPr>
            <a:spLocks/>
          </p:cNvSpPr>
          <p:nvPr userDrawn="1"/>
        </p:nvSpPr>
        <p:spPr bwMode="auto">
          <a:xfrm>
            <a:off x="551522" y="4419885"/>
            <a:ext cx="469900" cy="482600"/>
          </a:xfrm>
          <a:custGeom>
            <a:avLst/>
            <a:gdLst/>
            <a:ahLst/>
            <a:cxnLst>
              <a:cxn ang="0">
                <a:pos x="199" y="31"/>
              </a:cxn>
              <a:cxn ang="0">
                <a:pos x="197" y="40"/>
              </a:cxn>
              <a:cxn ang="0">
                <a:pos x="194" y="53"/>
              </a:cxn>
              <a:cxn ang="0">
                <a:pos x="183" y="63"/>
              </a:cxn>
              <a:cxn ang="0">
                <a:pos x="117" y="123"/>
              </a:cxn>
              <a:cxn ang="0">
                <a:pos x="99" y="197"/>
              </a:cxn>
              <a:cxn ang="0">
                <a:pos x="91" y="286"/>
              </a:cxn>
              <a:cxn ang="0">
                <a:pos x="53" y="351"/>
              </a:cxn>
              <a:cxn ang="0">
                <a:pos x="31" y="363"/>
              </a:cxn>
              <a:cxn ang="0">
                <a:pos x="31" y="376"/>
              </a:cxn>
              <a:cxn ang="0">
                <a:pos x="117" y="376"/>
              </a:cxn>
              <a:cxn ang="0">
                <a:pos x="154" y="376"/>
              </a:cxn>
              <a:cxn ang="0">
                <a:pos x="157" y="377"/>
              </a:cxn>
              <a:cxn ang="0">
                <a:pos x="163" y="380"/>
              </a:cxn>
              <a:cxn ang="0">
                <a:pos x="202" y="397"/>
              </a:cxn>
              <a:cxn ang="0">
                <a:pos x="233" y="381"/>
              </a:cxn>
              <a:cxn ang="0">
                <a:pos x="233" y="381"/>
              </a:cxn>
              <a:cxn ang="0">
                <a:pos x="255" y="378"/>
              </a:cxn>
              <a:cxn ang="0">
                <a:pos x="258" y="399"/>
              </a:cxn>
              <a:cxn ang="0">
                <a:pos x="244" y="414"/>
              </a:cxn>
              <a:cxn ang="0">
                <a:pos x="202" y="428"/>
              </a:cxn>
              <a:cxn ang="0">
                <a:pos x="202" y="428"/>
              </a:cxn>
              <a:cxn ang="0">
                <a:pos x="148" y="407"/>
              </a:cxn>
              <a:cxn ang="0">
                <a:pos x="143" y="407"/>
              </a:cxn>
              <a:cxn ang="0">
                <a:pos x="117" y="407"/>
              </a:cxn>
              <a:cxn ang="0">
                <a:pos x="16" y="407"/>
              </a:cxn>
              <a:cxn ang="0">
                <a:pos x="5" y="403"/>
              </a:cxn>
              <a:cxn ang="0">
                <a:pos x="0" y="392"/>
              </a:cxn>
              <a:cxn ang="0">
                <a:pos x="0" y="352"/>
              </a:cxn>
              <a:cxn ang="0">
                <a:pos x="12" y="337"/>
              </a:cxn>
              <a:cxn ang="0">
                <a:pos x="12" y="337"/>
              </a:cxn>
              <a:cxn ang="0">
                <a:pos x="14" y="336"/>
              </a:cxn>
              <a:cxn ang="0">
                <a:pos x="19" y="335"/>
              </a:cxn>
              <a:cxn ang="0">
                <a:pos x="36" y="326"/>
              </a:cxn>
              <a:cxn ang="0">
                <a:pos x="60" y="284"/>
              </a:cxn>
              <a:cxn ang="0">
                <a:pos x="68" y="193"/>
              </a:cxn>
              <a:cxn ang="0">
                <a:pos x="90" y="108"/>
              </a:cxn>
              <a:cxn ang="0">
                <a:pos x="166" y="37"/>
              </a:cxn>
              <a:cxn ang="0">
                <a:pos x="167" y="35"/>
              </a:cxn>
              <a:cxn ang="0">
                <a:pos x="177" y="9"/>
              </a:cxn>
              <a:cxn ang="0">
                <a:pos x="202" y="0"/>
              </a:cxn>
              <a:cxn ang="0">
                <a:pos x="235" y="11"/>
              </a:cxn>
              <a:cxn ang="0">
                <a:pos x="247" y="39"/>
              </a:cxn>
              <a:cxn ang="0">
                <a:pos x="267" y="47"/>
              </a:cxn>
              <a:cxn ang="0">
                <a:pos x="324" y="110"/>
              </a:cxn>
              <a:cxn ang="0">
                <a:pos x="355" y="282"/>
              </a:cxn>
              <a:cxn ang="0">
                <a:pos x="376" y="322"/>
              </a:cxn>
              <a:cxn ang="0">
                <a:pos x="402" y="335"/>
              </a:cxn>
              <a:cxn ang="0">
                <a:pos x="404" y="335"/>
              </a:cxn>
              <a:cxn ang="0">
                <a:pos x="417" y="350"/>
              </a:cxn>
              <a:cxn ang="0">
                <a:pos x="412" y="402"/>
              </a:cxn>
              <a:cxn ang="0">
                <a:pos x="401" y="406"/>
              </a:cxn>
              <a:cxn ang="0">
                <a:pos x="301" y="406"/>
              </a:cxn>
              <a:cxn ang="0">
                <a:pos x="285" y="391"/>
              </a:cxn>
              <a:cxn ang="0">
                <a:pos x="301" y="376"/>
              </a:cxn>
              <a:cxn ang="0">
                <a:pos x="386" y="362"/>
              </a:cxn>
              <a:cxn ang="0">
                <a:pos x="364" y="352"/>
              </a:cxn>
              <a:cxn ang="0">
                <a:pos x="324" y="285"/>
              </a:cxn>
              <a:cxn ang="0">
                <a:pos x="296" y="123"/>
              </a:cxn>
              <a:cxn ang="0">
                <a:pos x="260" y="78"/>
              </a:cxn>
              <a:cxn ang="0">
                <a:pos x="231" y="66"/>
              </a:cxn>
              <a:cxn ang="0">
                <a:pos x="222" y="61"/>
              </a:cxn>
              <a:cxn ang="0">
                <a:pos x="216" y="49"/>
              </a:cxn>
            </a:cxnLst>
            <a:rect l="0" t="0" r="r" b="b"/>
            <a:pathLst>
              <a:path w="417" h="428">
                <a:moveTo>
                  <a:pt x="214" y="32"/>
                </a:moveTo>
                <a:cubicBezTo>
                  <a:pt x="214" y="32"/>
                  <a:pt x="208" y="30"/>
                  <a:pt x="199" y="31"/>
                </a:cubicBezTo>
                <a:cubicBezTo>
                  <a:pt x="199" y="31"/>
                  <a:pt x="199" y="31"/>
                  <a:pt x="199" y="31"/>
                </a:cubicBezTo>
                <a:cubicBezTo>
                  <a:pt x="198" y="32"/>
                  <a:pt x="197" y="35"/>
                  <a:pt x="197" y="40"/>
                </a:cubicBezTo>
                <a:cubicBezTo>
                  <a:pt x="197" y="40"/>
                  <a:pt x="197" y="40"/>
                  <a:pt x="197" y="40"/>
                </a:cubicBezTo>
                <a:cubicBezTo>
                  <a:pt x="196" y="44"/>
                  <a:pt x="196" y="47"/>
                  <a:pt x="194" y="53"/>
                </a:cubicBezTo>
                <a:cubicBezTo>
                  <a:pt x="194" y="53"/>
                  <a:pt x="194" y="53"/>
                  <a:pt x="194" y="53"/>
                </a:cubicBezTo>
                <a:cubicBezTo>
                  <a:pt x="192" y="56"/>
                  <a:pt x="189" y="61"/>
                  <a:pt x="183" y="63"/>
                </a:cubicBezTo>
                <a:cubicBezTo>
                  <a:pt x="183" y="63"/>
                  <a:pt x="183" y="63"/>
                  <a:pt x="183" y="63"/>
                </a:cubicBezTo>
                <a:cubicBezTo>
                  <a:pt x="150" y="77"/>
                  <a:pt x="137" y="86"/>
                  <a:pt x="117" y="123"/>
                </a:cubicBezTo>
                <a:cubicBezTo>
                  <a:pt x="117" y="123"/>
                  <a:pt x="117" y="123"/>
                  <a:pt x="117" y="123"/>
                </a:cubicBezTo>
                <a:cubicBezTo>
                  <a:pt x="109" y="139"/>
                  <a:pt x="102" y="167"/>
                  <a:pt x="99" y="197"/>
                </a:cubicBezTo>
                <a:cubicBezTo>
                  <a:pt x="99" y="197"/>
                  <a:pt x="99" y="197"/>
                  <a:pt x="99" y="197"/>
                </a:cubicBezTo>
                <a:cubicBezTo>
                  <a:pt x="95" y="227"/>
                  <a:pt x="93" y="259"/>
                  <a:pt x="91" y="286"/>
                </a:cubicBezTo>
                <a:cubicBezTo>
                  <a:pt x="91" y="286"/>
                  <a:pt x="91" y="286"/>
                  <a:pt x="91" y="286"/>
                </a:cubicBezTo>
                <a:cubicBezTo>
                  <a:pt x="89" y="319"/>
                  <a:pt x="70" y="340"/>
                  <a:pt x="53" y="351"/>
                </a:cubicBezTo>
                <a:cubicBezTo>
                  <a:pt x="53" y="351"/>
                  <a:pt x="53" y="351"/>
                  <a:pt x="53" y="351"/>
                </a:cubicBezTo>
                <a:cubicBezTo>
                  <a:pt x="45" y="357"/>
                  <a:pt x="37" y="361"/>
                  <a:pt x="31" y="363"/>
                </a:cubicBezTo>
                <a:cubicBezTo>
                  <a:pt x="31" y="363"/>
                  <a:pt x="31" y="363"/>
                  <a:pt x="31" y="363"/>
                </a:cubicBezTo>
                <a:cubicBezTo>
                  <a:pt x="31" y="376"/>
                  <a:pt x="31" y="376"/>
                  <a:pt x="31" y="376"/>
                </a:cubicBezTo>
                <a:cubicBezTo>
                  <a:pt x="52" y="376"/>
                  <a:pt x="89" y="376"/>
                  <a:pt x="117" y="376"/>
                </a:cubicBezTo>
                <a:cubicBezTo>
                  <a:pt x="117" y="376"/>
                  <a:pt x="117" y="376"/>
                  <a:pt x="117" y="376"/>
                </a:cubicBezTo>
                <a:cubicBezTo>
                  <a:pt x="137" y="376"/>
                  <a:pt x="150" y="376"/>
                  <a:pt x="154" y="376"/>
                </a:cubicBezTo>
                <a:cubicBezTo>
                  <a:pt x="154" y="376"/>
                  <a:pt x="154" y="376"/>
                  <a:pt x="154" y="376"/>
                </a:cubicBezTo>
                <a:cubicBezTo>
                  <a:pt x="155" y="376"/>
                  <a:pt x="154" y="376"/>
                  <a:pt x="157" y="377"/>
                </a:cubicBezTo>
                <a:cubicBezTo>
                  <a:pt x="157" y="377"/>
                  <a:pt x="157" y="377"/>
                  <a:pt x="157" y="377"/>
                </a:cubicBezTo>
                <a:cubicBezTo>
                  <a:pt x="158" y="377"/>
                  <a:pt x="159" y="377"/>
                  <a:pt x="163" y="380"/>
                </a:cubicBezTo>
                <a:cubicBezTo>
                  <a:pt x="163" y="380"/>
                  <a:pt x="163" y="380"/>
                  <a:pt x="163" y="380"/>
                </a:cubicBezTo>
                <a:cubicBezTo>
                  <a:pt x="180" y="394"/>
                  <a:pt x="193" y="397"/>
                  <a:pt x="202" y="397"/>
                </a:cubicBezTo>
                <a:cubicBezTo>
                  <a:pt x="202" y="397"/>
                  <a:pt x="202" y="397"/>
                  <a:pt x="202" y="397"/>
                </a:cubicBezTo>
                <a:cubicBezTo>
                  <a:pt x="220" y="397"/>
                  <a:pt x="232" y="383"/>
                  <a:pt x="233" y="381"/>
                </a:cubicBezTo>
                <a:cubicBezTo>
                  <a:pt x="233" y="381"/>
                  <a:pt x="233" y="381"/>
                  <a:pt x="233" y="381"/>
                </a:cubicBezTo>
                <a:cubicBezTo>
                  <a:pt x="233" y="381"/>
                  <a:pt x="233" y="381"/>
                  <a:pt x="233" y="381"/>
                </a:cubicBezTo>
                <a:cubicBezTo>
                  <a:pt x="233" y="381"/>
                  <a:pt x="233" y="381"/>
                  <a:pt x="233" y="381"/>
                </a:cubicBezTo>
                <a:cubicBezTo>
                  <a:pt x="233" y="381"/>
                  <a:pt x="233" y="381"/>
                  <a:pt x="233" y="381"/>
                </a:cubicBezTo>
                <a:cubicBezTo>
                  <a:pt x="238" y="374"/>
                  <a:pt x="248" y="373"/>
                  <a:pt x="255" y="378"/>
                </a:cubicBezTo>
                <a:cubicBezTo>
                  <a:pt x="255" y="378"/>
                  <a:pt x="255" y="378"/>
                  <a:pt x="255" y="378"/>
                </a:cubicBezTo>
                <a:cubicBezTo>
                  <a:pt x="262" y="383"/>
                  <a:pt x="263" y="392"/>
                  <a:pt x="258" y="399"/>
                </a:cubicBezTo>
                <a:cubicBezTo>
                  <a:pt x="258" y="399"/>
                  <a:pt x="258" y="399"/>
                  <a:pt x="258" y="399"/>
                </a:cubicBezTo>
                <a:cubicBezTo>
                  <a:pt x="258" y="400"/>
                  <a:pt x="253" y="407"/>
                  <a:pt x="244" y="414"/>
                </a:cubicBezTo>
                <a:cubicBezTo>
                  <a:pt x="244" y="414"/>
                  <a:pt x="244" y="414"/>
                  <a:pt x="244" y="414"/>
                </a:cubicBezTo>
                <a:cubicBezTo>
                  <a:pt x="234" y="421"/>
                  <a:pt x="220" y="428"/>
                  <a:pt x="202" y="428"/>
                </a:cubicBezTo>
                <a:cubicBezTo>
                  <a:pt x="202" y="428"/>
                  <a:pt x="202" y="428"/>
                  <a:pt x="202" y="428"/>
                </a:cubicBezTo>
                <a:cubicBezTo>
                  <a:pt x="202" y="428"/>
                  <a:pt x="202" y="428"/>
                  <a:pt x="202" y="428"/>
                </a:cubicBezTo>
                <a:cubicBezTo>
                  <a:pt x="202" y="428"/>
                  <a:pt x="202" y="428"/>
                  <a:pt x="202" y="428"/>
                </a:cubicBezTo>
                <a:cubicBezTo>
                  <a:pt x="185" y="428"/>
                  <a:pt x="167" y="422"/>
                  <a:pt x="148" y="407"/>
                </a:cubicBezTo>
                <a:cubicBezTo>
                  <a:pt x="148" y="407"/>
                  <a:pt x="148" y="407"/>
                  <a:pt x="148" y="407"/>
                </a:cubicBezTo>
                <a:cubicBezTo>
                  <a:pt x="146" y="407"/>
                  <a:pt x="145" y="407"/>
                  <a:pt x="143" y="407"/>
                </a:cubicBezTo>
                <a:cubicBezTo>
                  <a:pt x="143" y="407"/>
                  <a:pt x="143" y="407"/>
                  <a:pt x="143" y="407"/>
                </a:cubicBezTo>
                <a:cubicBezTo>
                  <a:pt x="136" y="407"/>
                  <a:pt x="128" y="407"/>
                  <a:pt x="117" y="407"/>
                </a:cubicBezTo>
                <a:cubicBezTo>
                  <a:pt x="117" y="407"/>
                  <a:pt x="117" y="407"/>
                  <a:pt x="117" y="407"/>
                </a:cubicBezTo>
                <a:cubicBezTo>
                  <a:pt x="77" y="407"/>
                  <a:pt x="16" y="407"/>
                  <a:pt x="16" y="407"/>
                </a:cubicBezTo>
                <a:cubicBezTo>
                  <a:pt x="16" y="407"/>
                  <a:pt x="16" y="407"/>
                  <a:pt x="16" y="407"/>
                </a:cubicBezTo>
                <a:cubicBezTo>
                  <a:pt x="12" y="407"/>
                  <a:pt x="8" y="406"/>
                  <a:pt x="5" y="403"/>
                </a:cubicBezTo>
                <a:cubicBezTo>
                  <a:pt x="5" y="403"/>
                  <a:pt x="5" y="403"/>
                  <a:pt x="5" y="403"/>
                </a:cubicBezTo>
                <a:cubicBezTo>
                  <a:pt x="2" y="400"/>
                  <a:pt x="0" y="396"/>
                  <a:pt x="0" y="392"/>
                </a:cubicBezTo>
                <a:cubicBezTo>
                  <a:pt x="0" y="392"/>
                  <a:pt x="0" y="392"/>
                  <a:pt x="0" y="392"/>
                </a:cubicBezTo>
                <a:cubicBezTo>
                  <a:pt x="0" y="352"/>
                  <a:pt x="0" y="352"/>
                  <a:pt x="0" y="352"/>
                </a:cubicBezTo>
                <a:cubicBezTo>
                  <a:pt x="0" y="345"/>
                  <a:pt x="5" y="338"/>
                  <a:pt x="12" y="337"/>
                </a:cubicBezTo>
                <a:cubicBezTo>
                  <a:pt x="12" y="337"/>
                  <a:pt x="12" y="337"/>
                  <a:pt x="12" y="337"/>
                </a:cubicBezTo>
                <a:cubicBezTo>
                  <a:pt x="12" y="337"/>
                  <a:pt x="12" y="337"/>
                  <a:pt x="12" y="337"/>
                </a:cubicBezTo>
                <a:cubicBezTo>
                  <a:pt x="12" y="337"/>
                  <a:pt x="12" y="337"/>
                  <a:pt x="12" y="337"/>
                </a:cubicBezTo>
                <a:cubicBezTo>
                  <a:pt x="13" y="337"/>
                  <a:pt x="13" y="337"/>
                  <a:pt x="14" y="336"/>
                </a:cubicBezTo>
                <a:cubicBezTo>
                  <a:pt x="14" y="336"/>
                  <a:pt x="14" y="336"/>
                  <a:pt x="14" y="336"/>
                </a:cubicBezTo>
                <a:cubicBezTo>
                  <a:pt x="15" y="336"/>
                  <a:pt x="17" y="335"/>
                  <a:pt x="19" y="335"/>
                </a:cubicBezTo>
                <a:cubicBezTo>
                  <a:pt x="19" y="335"/>
                  <a:pt x="19" y="335"/>
                  <a:pt x="19" y="335"/>
                </a:cubicBezTo>
                <a:cubicBezTo>
                  <a:pt x="24" y="333"/>
                  <a:pt x="30" y="330"/>
                  <a:pt x="36" y="326"/>
                </a:cubicBezTo>
                <a:cubicBezTo>
                  <a:pt x="36" y="326"/>
                  <a:pt x="36" y="326"/>
                  <a:pt x="36" y="326"/>
                </a:cubicBezTo>
                <a:cubicBezTo>
                  <a:pt x="48" y="317"/>
                  <a:pt x="59" y="305"/>
                  <a:pt x="60" y="284"/>
                </a:cubicBezTo>
                <a:cubicBezTo>
                  <a:pt x="60" y="284"/>
                  <a:pt x="60" y="284"/>
                  <a:pt x="60" y="284"/>
                </a:cubicBezTo>
                <a:cubicBezTo>
                  <a:pt x="62" y="257"/>
                  <a:pt x="64" y="224"/>
                  <a:pt x="68" y="193"/>
                </a:cubicBezTo>
                <a:cubicBezTo>
                  <a:pt x="68" y="193"/>
                  <a:pt x="68" y="193"/>
                  <a:pt x="68" y="193"/>
                </a:cubicBezTo>
                <a:cubicBezTo>
                  <a:pt x="72" y="161"/>
                  <a:pt x="78" y="131"/>
                  <a:pt x="90" y="108"/>
                </a:cubicBezTo>
                <a:cubicBezTo>
                  <a:pt x="90" y="108"/>
                  <a:pt x="90" y="108"/>
                  <a:pt x="90" y="108"/>
                </a:cubicBezTo>
                <a:cubicBezTo>
                  <a:pt x="110" y="69"/>
                  <a:pt x="133" y="50"/>
                  <a:pt x="166" y="37"/>
                </a:cubicBezTo>
                <a:cubicBezTo>
                  <a:pt x="166" y="37"/>
                  <a:pt x="166" y="37"/>
                  <a:pt x="166" y="37"/>
                </a:cubicBezTo>
                <a:cubicBezTo>
                  <a:pt x="166" y="36"/>
                  <a:pt x="166" y="35"/>
                  <a:pt x="167" y="35"/>
                </a:cubicBezTo>
                <a:cubicBezTo>
                  <a:pt x="167" y="35"/>
                  <a:pt x="167" y="35"/>
                  <a:pt x="167" y="35"/>
                </a:cubicBezTo>
                <a:cubicBezTo>
                  <a:pt x="168" y="29"/>
                  <a:pt x="168" y="18"/>
                  <a:pt x="177" y="9"/>
                </a:cubicBezTo>
                <a:cubicBezTo>
                  <a:pt x="177" y="9"/>
                  <a:pt x="177" y="9"/>
                  <a:pt x="177" y="9"/>
                </a:cubicBezTo>
                <a:cubicBezTo>
                  <a:pt x="184" y="3"/>
                  <a:pt x="193" y="0"/>
                  <a:pt x="202" y="0"/>
                </a:cubicBezTo>
                <a:cubicBezTo>
                  <a:pt x="202" y="0"/>
                  <a:pt x="202" y="0"/>
                  <a:pt x="202" y="0"/>
                </a:cubicBezTo>
                <a:cubicBezTo>
                  <a:pt x="215" y="0"/>
                  <a:pt x="225" y="1"/>
                  <a:pt x="235" y="11"/>
                </a:cubicBezTo>
                <a:cubicBezTo>
                  <a:pt x="235" y="11"/>
                  <a:pt x="235" y="11"/>
                  <a:pt x="235" y="11"/>
                </a:cubicBezTo>
                <a:cubicBezTo>
                  <a:pt x="243" y="18"/>
                  <a:pt x="246" y="28"/>
                  <a:pt x="247" y="39"/>
                </a:cubicBezTo>
                <a:cubicBezTo>
                  <a:pt x="247" y="39"/>
                  <a:pt x="247" y="39"/>
                  <a:pt x="247" y="39"/>
                </a:cubicBezTo>
                <a:cubicBezTo>
                  <a:pt x="252" y="40"/>
                  <a:pt x="259" y="43"/>
                  <a:pt x="267" y="47"/>
                </a:cubicBezTo>
                <a:cubicBezTo>
                  <a:pt x="267" y="47"/>
                  <a:pt x="267" y="47"/>
                  <a:pt x="267" y="47"/>
                </a:cubicBezTo>
                <a:cubicBezTo>
                  <a:pt x="285" y="56"/>
                  <a:pt x="308" y="74"/>
                  <a:pt x="324" y="110"/>
                </a:cubicBezTo>
                <a:cubicBezTo>
                  <a:pt x="324" y="110"/>
                  <a:pt x="324" y="110"/>
                  <a:pt x="324" y="110"/>
                </a:cubicBezTo>
                <a:cubicBezTo>
                  <a:pt x="359" y="184"/>
                  <a:pt x="352" y="249"/>
                  <a:pt x="355" y="282"/>
                </a:cubicBezTo>
                <a:cubicBezTo>
                  <a:pt x="355" y="282"/>
                  <a:pt x="355" y="282"/>
                  <a:pt x="355" y="282"/>
                </a:cubicBezTo>
                <a:cubicBezTo>
                  <a:pt x="356" y="303"/>
                  <a:pt x="365" y="314"/>
                  <a:pt x="376" y="322"/>
                </a:cubicBezTo>
                <a:cubicBezTo>
                  <a:pt x="376" y="322"/>
                  <a:pt x="376" y="322"/>
                  <a:pt x="376" y="322"/>
                </a:cubicBezTo>
                <a:cubicBezTo>
                  <a:pt x="386" y="330"/>
                  <a:pt x="398" y="334"/>
                  <a:pt x="402" y="335"/>
                </a:cubicBezTo>
                <a:cubicBezTo>
                  <a:pt x="402" y="335"/>
                  <a:pt x="402" y="335"/>
                  <a:pt x="402" y="335"/>
                </a:cubicBezTo>
                <a:cubicBezTo>
                  <a:pt x="404" y="335"/>
                  <a:pt x="404" y="335"/>
                  <a:pt x="404" y="335"/>
                </a:cubicBezTo>
                <a:cubicBezTo>
                  <a:pt x="404" y="335"/>
                  <a:pt x="404" y="335"/>
                  <a:pt x="404" y="335"/>
                </a:cubicBezTo>
                <a:cubicBezTo>
                  <a:pt x="411" y="336"/>
                  <a:pt x="417" y="343"/>
                  <a:pt x="417" y="350"/>
                </a:cubicBezTo>
                <a:cubicBezTo>
                  <a:pt x="417" y="350"/>
                  <a:pt x="417" y="350"/>
                  <a:pt x="417" y="350"/>
                </a:cubicBezTo>
                <a:cubicBezTo>
                  <a:pt x="417" y="391"/>
                  <a:pt x="417" y="391"/>
                  <a:pt x="417" y="391"/>
                </a:cubicBezTo>
                <a:cubicBezTo>
                  <a:pt x="417" y="395"/>
                  <a:pt x="415" y="399"/>
                  <a:pt x="412" y="402"/>
                </a:cubicBezTo>
                <a:cubicBezTo>
                  <a:pt x="412" y="402"/>
                  <a:pt x="412" y="402"/>
                  <a:pt x="412" y="402"/>
                </a:cubicBezTo>
                <a:cubicBezTo>
                  <a:pt x="409" y="405"/>
                  <a:pt x="405" y="406"/>
                  <a:pt x="401" y="406"/>
                </a:cubicBezTo>
                <a:cubicBezTo>
                  <a:pt x="401" y="406"/>
                  <a:pt x="401" y="406"/>
                  <a:pt x="401" y="406"/>
                </a:cubicBezTo>
                <a:cubicBezTo>
                  <a:pt x="301" y="406"/>
                  <a:pt x="301" y="406"/>
                  <a:pt x="301" y="406"/>
                </a:cubicBezTo>
                <a:cubicBezTo>
                  <a:pt x="292" y="406"/>
                  <a:pt x="285" y="399"/>
                  <a:pt x="285" y="391"/>
                </a:cubicBezTo>
                <a:cubicBezTo>
                  <a:pt x="285" y="391"/>
                  <a:pt x="285" y="391"/>
                  <a:pt x="285" y="391"/>
                </a:cubicBezTo>
                <a:cubicBezTo>
                  <a:pt x="285" y="382"/>
                  <a:pt x="292" y="376"/>
                  <a:pt x="301" y="376"/>
                </a:cubicBezTo>
                <a:cubicBezTo>
                  <a:pt x="301" y="376"/>
                  <a:pt x="301" y="376"/>
                  <a:pt x="301" y="376"/>
                </a:cubicBezTo>
                <a:cubicBezTo>
                  <a:pt x="386" y="376"/>
                  <a:pt x="386" y="376"/>
                  <a:pt x="386" y="376"/>
                </a:cubicBezTo>
                <a:cubicBezTo>
                  <a:pt x="386" y="362"/>
                  <a:pt x="386" y="362"/>
                  <a:pt x="386" y="362"/>
                </a:cubicBezTo>
                <a:cubicBezTo>
                  <a:pt x="380" y="360"/>
                  <a:pt x="372" y="357"/>
                  <a:pt x="364" y="352"/>
                </a:cubicBezTo>
                <a:cubicBezTo>
                  <a:pt x="364" y="352"/>
                  <a:pt x="364" y="352"/>
                  <a:pt x="364" y="352"/>
                </a:cubicBezTo>
                <a:cubicBezTo>
                  <a:pt x="346" y="341"/>
                  <a:pt x="326" y="319"/>
                  <a:pt x="324" y="285"/>
                </a:cubicBezTo>
                <a:cubicBezTo>
                  <a:pt x="324" y="285"/>
                  <a:pt x="324" y="285"/>
                  <a:pt x="324" y="285"/>
                </a:cubicBezTo>
                <a:cubicBezTo>
                  <a:pt x="321" y="246"/>
                  <a:pt x="327" y="190"/>
                  <a:pt x="296" y="123"/>
                </a:cubicBezTo>
                <a:cubicBezTo>
                  <a:pt x="296" y="123"/>
                  <a:pt x="296" y="123"/>
                  <a:pt x="296" y="123"/>
                </a:cubicBezTo>
                <a:cubicBezTo>
                  <a:pt x="285" y="99"/>
                  <a:pt x="271" y="86"/>
                  <a:pt x="260" y="78"/>
                </a:cubicBezTo>
                <a:cubicBezTo>
                  <a:pt x="260" y="78"/>
                  <a:pt x="260" y="78"/>
                  <a:pt x="260" y="78"/>
                </a:cubicBezTo>
                <a:cubicBezTo>
                  <a:pt x="248" y="71"/>
                  <a:pt x="239" y="69"/>
                  <a:pt x="231" y="66"/>
                </a:cubicBezTo>
                <a:cubicBezTo>
                  <a:pt x="231" y="66"/>
                  <a:pt x="231" y="66"/>
                  <a:pt x="231" y="66"/>
                </a:cubicBezTo>
                <a:cubicBezTo>
                  <a:pt x="229" y="65"/>
                  <a:pt x="227" y="65"/>
                  <a:pt x="222" y="61"/>
                </a:cubicBezTo>
                <a:cubicBezTo>
                  <a:pt x="222" y="61"/>
                  <a:pt x="222" y="61"/>
                  <a:pt x="222" y="61"/>
                </a:cubicBezTo>
                <a:cubicBezTo>
                  <a:pt x="220" y="60"/>
                  <a:pt x="217" y="55"/>
                  <a:pt x="216" y="49"/>
                </a:cubicBezTo>
                <a:cubicBezTo>
                  <a:pt x="216" y="49"/>
                  <a:pt x="216" y="49"/>
                  <a:pt x="216" y="49"/>
                </a:cubicBezTo>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 name="Freeform 230"/>
          <p:cNvSpPr>
            <a:spLocks/>
          </p:cNvSpPr>
          <p:nvPr userDrawn="1"/>
        </p:nvSpPr>
        <p:spPr bwMode="auto">
          <a:xfrm>
            <a:off x="527709" y="5089736"/>
            <a:ext cx="517527" cy="466725"/>
          </a:xfrm>
          <a:custGeom>
            <a:avLst/>
            <a:gdLst/>
            <a:ahLst/>
            <a:cxnLst>
              <a:cxn ang="0">
                <a:pos x="357" y="34"/>
              </a:cxn>
              <a:cxn ang="0">
                <a:pos x="75" y="90"/>
              </a:cxn>
              <a:cxn ang="0">
                <a:pos x="43" y="164"/>
              </a:cxn>
              <a:cxn ang="0">
                <a:pos x="45" y="176"/>
              </a:cxn>
              <a:cxn ang="0">
                <a:pos x="76" y="181"/>
              </a:cxn>
              <a:cxn ang="0">
                <a:pos x="76" y="154"/>
              </a:cxn>
              <a:cxn ang="0">
                <a:pos x="85" y="116"/>
              </a:cxn>
              <a:cxn ang="0">
                <a:pos x="383" y="93"/>
              </a:cxn>
              <a:cxn ang="0">
                <a:pos x="424" y="42"/>
              </a:cxn>
              <a:cxn ang="0">
                <a:pos x="407" y="248"/>
              </a:cxn>
              <a:cxn ang="0">
                <a:pos x="383" y="145"/>
              </a:cxn>
              <a:cxn ang="0">
                <a:pos x="260" y="132"/>
              </a:cxn>
              <a:cxn ang="0">
                <a:pos x="247" y="145"/>
              </a:cxn>
              <a:cxn ang="0">
                <a:pos x="283" y="387"/>
              </a:cxn>
              <a:cxn ang="0">
                <a:pos x="220" y="147"/>
              </a:cxn>
              <a:cxn ang="0">
                <a:pos x="217" y="136"/>
              </a:cxn>
              <a:cxn ang="0">
                <a:pos x="136" y="132"/>
              </a:cxn>
              <a:cxn ang="0">
                <a:pos x="119" y="154"/>
              </a:cxn>
              <a:cxn ang="0">
                <a:pos x="96" y="166"/>
              </a:cxn>
              <a:cxn ang="0">
                <a:pos x="76" y="291"/>
              </a:cxn>
              <a:cxn ang="0">
                <a:pos x="89" y="305"/>
              </a:cxn>
              <a:cxn ang="0">
                <a:pos x="99" y="387"/>
              </a:cxn>
              <a:cxn ang="0">
                <a:pos x="45" y="305"/>
              </a:cxn>
              <a:cxn ang="0">
                <a:pos x="72" y="291"/>
              </a:cxn>
              <a:cxn ang="0">
                <a:pos x="33" y="278"/>
              </a:cxn>
              <a:cxn ang="0">
                <a:pos x="1" y="398"/>
              </a:cxn>
              <a:cxn ang="0">
                <a:pos x="14" y="414"/>
              </a:cxn>
              <a:cxn ang="0">
                <a:pos x="123" y="402"/>
              </a:cxn>
              <a:cxn ang="0">
                <a:pos x="137" y="283"/>
              </a:cxn>
              <a:cxn ang="0">
                <a:pos x="105" y="278"/>
              </a:cxn>
              <a:cxn ang="0">
                <a:pos x="129" y="181"/>
              </a:cxn>
              <a:cxn ang="0">
                <a:pos x="146" y="158"/>
              </a:cxn>
              <a:cxn ang="0">
                <a:pos x="156" y="398"/>
              </a:cxn>
              <a:cxn ang="0">
                <a:pos x="159" y="409"/>
              </a:cxn>
              <a:cxn ang="0">
                <a:pos x="299" y="414"/>
              </a:cxn>
              <a:cxn ang="0">
                <a:pos x="312" y="400"/>
              </a:cxn>
              <a:cxn ang="0">
                <a:pos x="276" y="158"/>
              </a:cxn>
              <a:cxn ang="0">
                <a:pos x="357" y="262"/>
              </a:cxn>
              <a:cxn ang="0">
                <a:pos x="416" y="275"/>
              </a:cxn>
              <a:cxn ang="0">
                <a:pos x="460" y="135"/>
              </a:cxn>
              <a:cxn ang="0">
                <a:pos x="438" y="19"/>
              </a:cxn>
            </a:cxnLst>
            <a:rect l="0" t="0" r="r" b="b"/>
            <a:pathLst>
              <a:path w="460" h="414">
                <a:moveTo>
                  <a:pt x="362" y="24"/>
                </a:moveTo>
                <a:cubicBezTo>
                  <a:pt x="359" y="26"/>
                  <a:pt x="357" y="30"/>
                  <a:pt x="357" y="34"/>
                </a:cubicBezTo>
                <a:cubicBezTo>
                  <a:pt x="357" y="34"/>
                  <a:pt x="357" y="64"/>
                  <a:pt x="357" y="80"/>
                </a:cubicBezTo>
                <a:cubicBezTo>
                  <a:pt x="333" y="81"/>
                  <a:pt x="75" y="90"/>
                  <a:pt x="75" y="90"/>
                </a:cubicBezTo>
                <a:cubicBezTo>
                  <a:pt x="69" y="90"/>
                  <a:pt x="64" y="94"/>
                  <a:pt x="62" y="99"/>
                </a:cubicBezTo>
                <a:cubicBezTo>
                  <a:pt x="43" y="164"/>
                  <a:pt x="43" y="164"/>
                  <a:pt x="43" y="164"/>
                </a:cubicBezTo>
                <a:cubicBezTo>
                  <a:pt x="43" y="165"/>
                  <a:pt x="42" y="166"/>
                  <a:pt x="42" y="168"/>
                </a:cubicBezTo>
                <a:cubicBezTo>
                  <a:pt x="42" y="171"/>
                  <a:pt x="43" y="173"/>
                  <a:pt x="45" y="176"/>
                </a:cubicBezTo>
                <a:cubicBezTo>
                  <a:pt x="48" y="179"/>
                  <a:pt x="52" y="181"/>
                  <a:pt x="56" y="181"/>
                </a:cubicBezTo>
                <a:cubicBezTo>
                  <a:pt x="76" y="181"/>
                  <a:pt x="76" y="181"/>
                  <a:pt x="76" y="181"/>
                </a:cubicBezTo>
                <a:cubicBezTo>
                  <a:pt x="83" y="181"/>
                  <a:pt x="89" y="175"/>
                  <a:pt x="89" y="168"/>
                </a:cubicBezTo>
                <a:cubicBezTo>
                  <a:pt x="89" y="160"/>
                  <a:pt x="83" y="154"/>
                  <a:pt x="76" y="154"/>
                </a:cubicBezTo>
                <a:cubicBezTo>
                  <a:pt x="76" y="154"/>
                  <a:pt x="74" y="154"/>
                  <a:pt x="74" y="154"/>
                </a:cubicBezTo>
                <a:cubicBezTo>
                  <a:pt x="78" y="140"/>
                  <a:pt x="82" y="126"/>
                  <a:pt x="85" y="116"/>
                </a:cubicBezTo>
                <a:cubicBezTo>
                  <a:pt x="103" y="116"/>
                  <a:pt x="370" y="106"/>
                  <a:pt x="370" y="106"/>
                </a:cubicBezTo>
                <a:cubicBezTo>
                  <a:pt x="378" y="106"/>
                  <a:pt x="383" y="100"/>
                  <a:pt x="383" y="93"/>
                </a:cubicBezTo>
                <a:cubicBezTo>
                  <a:pt x="383" y="93"/>
                  <a:pt x="383" y="53"/>
                  <a:pt x="383" y="42"/>
                </a:cubicBezTo>
                <a:cubicBezTo>
                  <a:pt x="399" y="34"/>
                  <a:pt x="418" y="40"/>
                  <a:pt x="424" y="42"/>
                </a:cubicBezTo>
                <a:cubicBezTo>
                  <a:pt x="428" y="54"/>
                  <a:pt x="433" y="98"/>
                  <a:pt x="433" y="135"/>
                </a:cubicBezTo>
                <a:cubicBezTo>
                  <a:pt x="433" y="161"/>
                  <a:pt x="416" y="219"/>
                  <a:pt x="407" y="248"/>
                </a:cubicBezTo>
                <a:cubicBezTo>
                  <a:pt x="399" y="248"/>
                  <a:pt x="393" y="248"/>
                  <a:pt x="383" y="248"/>
                </a:cubicBezTo>
                <a:cubicBezTo>
                  <a:pt x="383" y="227"/>
                  <a:pt x="383" y="145"/>
                  <a:pt x="383" y="145"/>
                </a:cubicBezTo>
                <a:cubicBezTo>
                  <a:pt x="383" y="138"/>
                  <a:pt x="377" y="132"/>
                  <a:pt x="370" y="132"/>
                </a:cubicBezTo>
                <a:cubicBezTo>
                  <a:pt x="260" y="132"/>
                  <a:pt x="260" y="132"/>
                  <a:pt x="260" y="132"/>
                </a:cubicBezTo>
                <a:cubicBezTo>
                  <a:pt x="257" y="132"/>
                  <a:pt x="253" y="133"/>
                  <a:pt x="250" y="136"/>
                </a:cubicBezTo>
                <a:cubicBezTo>
                  <a:pt x="248" y="139"/>
                  <a:pt x="247" y="142"/>
                  <a:pt x="247" y="145"/>
                </a:cubicBezTo>
                <a:cubicBezTo>
                  <a:pt x="247" y="146"/>
                  <a:pt x="247" y="146"/>
                  <a:pt x="247" y="147"/>
                </a:cubicBezTo>
                <a:cubicBezTo>
                  <a:pt x="247" y="147"/>
                  <a:pt x="279" y="360"/>
                  <a:pt x="283" y="387"/>
                </a:cubicBezTo>
                <a:cubicBezTo>
                  <a:pt x="263" y="387"/>
                  <a:pt x="205" y="387"/>
                  <a:pt x="184" y="387"/>
                </a:cubicBezTo>
                <a:cubicBezTo>
                  <a:pt x="188" y="360"/>
                  <a:pt x="220" y="147"/>
                  <a:pt x="220" y="147"/>
                </a:cubicBezTo>
                <a:cubicBezTo>
                  <a:pt x="220" y="146"/>
                  <a:pt x="220" y="146"/>
                  <a:pt x="220" y="145"/>
                </a:cubicBezTo>
                <a:cubicBezTo>
                  <a:pt x="220" y="142"/>
                  <a:pt x="219" y="139"/>
                  <a:pt x="217" y="136"/>
                </a:cubicBezTo>
                <a:cubicBezTo>
                  <a:pt x="215" y="133"/>
                  <a:pt x="211" y="132"/>
                  <a:pt x="207" y="132"/>
                </a:cubicBezTo>
                <a:cubicBezTo>
                  <a:pt x="136" y="132"/>
                  <a:pt x="136" y="132"/>
                  <a:pt x="136" y="132"/>
                </a:cubicBezTo>
                <a:cubicBezTo>
                  <a:pt x="130" y="132"/>
                  <a:pt x="125" y="135"/>
                  <a:pt x="123" y="141"/>
                </a:cubicBezTo>
                <a:cubicBezTo>
                  <a:pt x="123" y="141"/>
                  <a:pt x="121" y="148"/>
                  <a:pt x="119" y="154"/>
                </a:cubicBezTo>
                <a:cubicBezTo>
                  <a:pt x="114" y="154"/>
                  <a:pt x="109" y="154"/>
                  <a:pt x="109" y="154"/>
                </a:cubicBezTo>
                <a:cubicBezTo>
                  <a:pt x="102" y="154"/>
                  <a:pt x="97" y="159"/>
                  <a:pt x="96" y="166"/>
                </a:cubicBezTo>
                <a:cubicBezTo>
                  <a:pt x="76" y="289"/>
                  <a:pt x="76" y="289"/>
                  <a:pt x="76" y="289"/>
                </a:cubicBezTo>
                <a:cubicBezTo>
                  <a:pt x="76" y="290"/>
                  <a:pt x="76" y="291"/>
                  <a:pt x="76" y="291"/>
                </a:cubicBezTo>
                <a:cubicBezTo>
                  <a:pt x="76" y="294"/>
                  <a:pt x="77" y="297"/>
                  <a:pt x="79" y="300"/>
                </a:cubicBezTo>
                <a:cubicBezTo>
                  <a:pt x="82" y="303"/>
                  <a:pt x="86" y="305"/>
                  <a:pt x="89" y="305"/>
                </a:cubicBezTo>
                <a:cubicBezTo>
                  <a:pt x="89" y="305"/>
                  <a:pt x="101" y="305"/>
                  <a:pt x="112" y="305"/>
                </a:cubicBezTo>
                <a:cubicBezTo>
                  <a:pt x="109" y="325"/>
                  <a:pt x="101" y="372"/>
                  <a:pt x="99" y="387"/>
                </a:cubicBezTo>
                <a:cubicBezTo>
                  <a:pt x="84" y="387"/>
                  <a:pt x="49" y="387"/>
                  <a:pt x="30" y="387"/>
                </a:cubicBezTo>
                <a:cubicBezTo>
                  <a:pt x="34" y="367"/>
                  <a:pt x="42" y="320"/>
                  <a:pt x="45" y="305"/>
                </a:cubicBezTo>
                <a:cubicBezTo>
                  <a:pt x="51" y="305"/>
                  <a:pt x="58" y="305"/>
                  <a:pt x="58" y="305"/>
                </a:cubicBezTo>
                <a:cubicBezTo>
                  <a:pt x="66" y="305"/>
                  <a:pt x="72" y="299"/>
                  <a:pt x="72" y="291"/>
                </a:cubicBezTo>
                <a:cubicBezTo>
                  <a:pt x="72" y="284"/>
                  <a:pt x="66" y="278"/>
                  <a:pt x="58" y="278"/>
                </a:cubicBezTo>
                <a:cubicBezTo>
                  <a:pt x="33" y="278"/>
                  <a:pt x="33" y="278"/>
                  <a:pt x="33" y="278"/>
                </a:cubicBezTo>
                <a:cubicBezTo>
                  <a:pt x="27" y="278"/>
                  <a:pt x="21" y="283"/>
                  <a:pt x="20" y="289"/>
                </a:cubicBezTo>
                <a:cubicBezTo>
                  <a:pt x="1" y="398"/>
                  <a:pt x="1" y="398"/>
                  <a:pt x="1" y="398"/>
                </a:cubicBezTo>
                <a:cubicBezTo>
                  <a:pt x="0" y="402"/>
                  <a:pt x="1" y="406"/>
                  <a:pt x="4" y="409"/>
                </a:cubicBezTo>
                <a:cubicBezTo>
                  <a:pt x="6" y="412"/>
                  <a:pt x="10" y="414"/>
                  <a:pt x="14" y="414"/>
                </a:cubicBezTo>
                <a:cubicBezTo>
                  <a:pt x="110" y="414"/>
                  <a:pt x="110" y="414"/>
                  <a:pt x="110" y="414"/>
                </a:cubicBezTo>
                <a:cubicBezTo>
                  <a:pt x="117" y="414"/>
                  <a:pt x="122" y="409"/>
                  <a:pt x="123" y="402"/>
                </a:cubicBezTo>
                <a:cubicBezTo>
                  <a:pt x="140" y="293"/>
                  <a:pt x="140" y="293"/>
                  <a:pt x="140" y="293"/>
                </a:cubicBezTo>
                <a:cubicBezTo>
                  <a:pt x="141" y="289"/>
                  <a:pt x="140" y="286"/>
                  <a:pt x="137" y="283"/>
                </a:cubicBezTo>
                <a:cubicBezTo>
                  <a:pt x="135" y="280"/>
                  <a:pt x="131" y="278"/>
                  <a:pt x="127" y="278"/>
                </a:cubicBezTo>
                <a:cubicBezTo>
                  <a:pt x="127" y="278"/>
                  <a:pt x="116" y="278"/>
                  <a:pt x="105" y="278"/>
                </a:cubicBezTo>
                <a:cubicBezTo>
                  <a:pt x="108" y="257"/>
                  <a:pt x="118" y="197"/>
                  <a:pt x="120" y="181"/>
                </a:cubicBezTo>
                <a:cubicBezTo>
                  <a:pt x="124" y="181"/>
                  <a:pt x="129" y="181"/>
                  <a:pt x="129" y="181"/>
                </a:cubicBezTo>
                <a:cubicBezTo>
                  <a:pt x="135" y="181"/>
                  <a:pt x="140" y="177"/>
                  <a:pt x="142" y="172"/>
                </a:cubicBezTo>
                <a:cubicBezTo>
                  <a:pt x="142" y="172"/>
                  <a:pt x="144" y="165"/>
                  <a:pt x="146" y="158"/>
                </a:cubicBezTo>
                <a:cubicBezTo>
                  <a:pt x="157" y="158"/>
                  <a:pt x="176" y="158"/>
                  <a:pt x="192" y="158"/>
                </a:cubicBezTo>
                <a:cubicBezTo>
                  <a:pt x="188" y="185"/>
                  <a:pt x="156" y="398"/>
                  <a:pt x="156" y="398"/>
                </a:cubicBezTo>
                <a:cubicBezTo>
                  <a:pt x="156" y="399"/>
                  <a:pt x="155" y="400"/>
                  <a:pt x="155" y="400"/>
                </a:cubicBezTo>
                <a:cubicBezTo>
                  <a:pt x="155" y="403"/>
                  <a:pt x="157" y="407"/>
                  <a:pt x="159" y="409"/>
                </a:cubicBezTo>
                <a:cubicBezTo>
                  <a:pt x="161" y="412"/>
                  <a:pt x="165" y="414"/>
                  <a:pt x="169" y="414"/>
                </a:cubicBezTo>
                <a:cubicBezTo>
                  <a:pt x="299" y="414"/>
                  <a:pt x="299" y="414"/>
                  <a:pt x="299" y="414"/>
                </a:cubicBezTo>
                <a:cubicBezTo>
                  <a:pt x="303" y="414"/>
                  <a:pt x="306" y="412"/>
                  <a:pt x="309" y="409"/>
                </a:cubicBezTo>
                <a:cubicBezTo>
                  <a:pt x="311" y="407"/>
                  <a:pt x="312" y="403"/>
                  <a:pt x="312" y="400"/>
                </a:cubicBezTo>
                <a:cubicBezTo>
                  <a:pt x="312" y="400"/>
                  <a:pt x="312" y="399"/>
                  <a:pt x="312" y="398"/>
                </a:cubicBezTo>
                <a:cubicBezTo>
                  <a:pt x="312" y="398"/>
                  <a:pt x="280" y="185"/>
                  <a:pt x="276" y="158"/>
                </a:cubicBezTo>
                <a:cubicBezTo>
                  <a:pt x="296" y="158"/>
                  <a:pt x="339" y="158"/>
                  <a:pt x="357" y="158"/>
                </a:cubicBezTo>
                <a:cubicBezTo>
                  <a:pt x="357" y="179"/>
                  <a:pt x="357" y="262"/>
                  <a:pt x="357" y="262"/>
                </a:cubicBezTo>
                <a:cubicBezTo>
                  <a:pt x="357" y="269"/>
                  <a:pt x="363" y="275"/>
                  <a:pt x="370" y="275"/>
                </a:cubicBezTo>
                <a:cubicBezTo>
                  <a:pt x="416" y="275"/>
                  <a:pt x="416" y="275"/>
                  <a:pt x="416" y="275"/>
                </a:cubicBezTo>
                <a:cubicBezTo>
                  <a:pt x="422" y="275"/>
                  <a:pt x="427" y="271"/>
                  <a:pt x="429" y="266"/>
                </a:cubicBezTo>
                <a:cubicBezTo>
                  <a:pt x="430" y="262"/>
                  <a:pt x="460" y="174"/>
                  <a:pt x="460" y="135"/>
                </a:cubicBezTo>
                <a:cubicBezTo>
                  <a:pt x="460" y="116"/>
                  <a:pt x="458" y="90"/>
                  <a:pt x="456" y="69"/>
                </a:cubicBezTo>
                <a:cubicBezTo>
                  <a:pt x="452" y="33"/>
                  <a:pt x="446" y="23"/>
                  <a:pt x="438" y="19"/>
                </a:cubicBezTo>
                <a:cubicBezTo>
                  <a:pt x="433" y="17"/>
                  <a:pt x="394" y="0"/>
                  <a:pt x="362" y="2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2" name="Freeform 151"/>
          <p:cNvSpPr>
            <a:spLocks/>
          </p:cNvSpPr>
          <p:nvPr userDrawn="1"/>
        </p:nvSpPr>
        <p:spPr bwMode="auto">
          <a:xfrm>
            <a:off x="1203146" y="1164037"/>
            <a:ext cx="384175" cy="515939"/>
          </a:xfrm>
          <a:custGeom>
            <a:avLst/>
            <a:gdLst/>
            <a:ahLst/>
            <a:cxnLst>
              <a:cxn ang="0">
                <a:pos x="8" y="21"/>
              </a:cxn>
              <a:cxn ang="0">
                <a:pos x="0" y="48"/>
              </a:cxn>
              <a:cxn ang="0">
                <a:pos x="4" y="67"/>
              </a:cxn>
              <a:cxn ang="0">
                <a:pos x="31" y="89"/>
              </a:cxn>
              <a:cxn ang="0">
                <a:pos x="31" y="433"/>
              </a:cxn>
              <a:cxn ang="0">
                <a:pos x="38" y="445"/>
              </a:cxn>
              <a:cxn ang="0">
                <a:pos x="89" y="444"/>
              </a:cxn>
              <a:cxn ang="0">
                <a:pos x="95" y="433"/>
              </a:cxn>
              <a:cxn ang="0">
                <a:pos x="95" y="257"/>
              </a:cxn>
              <a:cxn ang="0">
                <a:pos x="133" y="239"/>
              </a:cxn>
              <a:cxn ang="0">
                <a:pos x="210" y="252"/>
              </a:cxn>
              <a:cxn ang="0">
                <a:pos x="294" y="276"/>
              </a:cxn>
              <a:cxn ang="0">
                <a:pos x="334" y="262"/>
              </a:cxn>
              <a:cxn ang="0">
                <a:pos x="341" y="251"/>
              </a:cxn>
              <a:cxn ang="0">
                <a:pos x="341" y="94"/>
              </a:cxn>
              <a:cxn ang="0">
                <a:pos x="334" y="83"/>
              </a:cxn>
              <a:cxn ang="0">
                <a:pos x="320" y="83"/>
              </a:cxn>
              <a:cxn ang="0">
                <a:pos x="239" y="90"/>
              </a:cxn>
              <a:cxn ang="0">
                <a:pos x="238" y="89"/>
              </a:cxn>
              <a:cxn ang="0">
                <a:pos x="127" y="61"/>
              </a:cxn>
              <a:cxn ang="0">
                <a:pos x="74" y="85"/>
              </a:cxn>
              <a:cxn ang="0">
                <a:pos x="73" y="85"/>
              </a:cxn>
              <a:cxn ang="0">
                <a:pos x="74" y="85"/>
              </a:cxn>
              <a:cxn ang="0">
                <a:pos x="72" y="86"/>
              </a:cxn>
              <a:cxn ang="0">
                <a:pos x="68" y="96"/>
              </a:cxn>
              <a:cxn ang="0">
                <a:pos x="68" y="97"/>
              </a:cxn>
              <a:cxn ang="0">
                <a:pos x="68" y="202"/>
              </a:cxn>
              <a:cxn ang="0">
                <a:pos x="81" y="216"/>
              </a:cxn>
              <a:cxn ang="0">
                <a:pos x="81" y="216"/>
              </a:cxn>
              <a:cxn ang="0">
                <a:pos x="95" y="202"/>
              </a:cxn>
              <a:cxn ang="0">
                <a:pos x="95" y="103"/>
              </a:cxn>
              <a:cxn ang="0">
                <a:pos x="219" y="109"/>
              </a:cxn>
              <a:cxn ang="0">
                <a:pos x="294" y="124"/>
              </a:cxn>
              <a:cxn ang="0">
                <a:pos x="314" y="117"/>
              </a:cxn>
              <a:cxn ang="0">
                <a:pos x="314" y="242"/>
              </a:cxn>
              <a:cxn ang="0">
                <a:pos x="228" y="232"/>
              </a:cxn>
              <a:cxn ang="0">
                <a:pos x="124" y="214"/>
              </a:cxn>
              <a:cxn ang="0">
                <a:pos x="73" y="240"/>
              </a:cxn>
              <a:cxn ang="0">
                <a:pos x="68" y="251"/>
              </a:cxn>
              <a:cxn ang="0">
                <a:pos x="68" y="424"/>
              </a:cxn>
              <a:cxn ang="0">
                <a:pos x="57" y="424"/>
              </a:cxn>
              <a:cxn ang="0">
                <a:pos x="57" y="78"/>
              </a:cxn>
              <a:cxn ang="0">
                <a:pos x="46" y="65"/>
              </a:cxn>
              <a:cxn ang="0">
                <a:pos x="28" y="55"/>
              </a:cxn>
              <a:cxn ang="0">
                <a:pos x="27" y="48"/>
              </a:cxn>
              <a:cxn ang="0">
                <a:pos x="30" y="35"/>
              </a:cxn>
              <a:cxn ang="0">
                <a:pos x="46" y="28"/>
              </a:cxn>
              <a:cxn ang="0">
                <a:pos x="62" y="36"/>
              </a:cxn>
              <a:cxn ang="0">
                <a:pos x="63" y="50"/>
              </a:cxn>
              <a:cxn ang="0">
                <a:pos x="69" y="68"/>
              </a:cxn>
              <a:cxn ang="0">
                <a:pos x="87" y="62"/>
              </a:cxn>
              <a:cxn ang="0">
                <a:pos x="86" y="22"/>
              </a:cxn>
              <a:cxn ang="0">
                <a:pos x="47" y="1"/>
              </a:cxn>
              <a:cxn ang="0">
                <a:pos x="8" y="21"/>
              </a:cxn>
            </a:cxnLst>
            <a:rect l="0" t="0" r="r" b="b"/>
            <a:pathLst>
              <a:path w="341" h="457">
                <a:moveTo>
                  <a:pt x="8" y="21"/>
                </a:moveTo>
                <a:cubicBezTo>
                  <a:pt x="3" y="29"/>
                  <a:pt x="0" y="38"/>
                  <a:pt x="0" y="48"/>
                </a:cubicBezTo>
                <a:cubicBezTo>
                  <a:pt x="0" y="55"/>
                  <a:pt x="1" y="61"/>
                  <a:pt x="4" y="67"/>
                </a:cubicBezTo>
                <a:cubicBezTo>
                  <a:pt x="11" y="80"/>
                  <a:pt x="22" y="86"/>
                  <a:pt x="31" y="89"/>
                </a:cubicBezTo>
                <a:cubicBezTo>
                  <a:pt x="31" y="109"/>
                  <a:pt x="31" y="433"/>
                  <a:pt x="31" y="433"/>
                </a:cubicBezTo>
                <a:cubicBezTo>
                  <a:pt x="31" y="438"/>
                  <a:pt x="33" y="442"/>
                  <a:pt x="38" y="445"/>
                </a:cubicBezTo>
                <a:cubicBezTo>
                  <a:pt x="60" y="457"/>
                  <a:pt x="81" y="450"/>
                  <a:pt x="89" y="444"/>
                </a:cubicBezTo>
                <a:cubicBezTo>
                  <a:pt x="92" y="441"/>
                  <a:pt x="95" y="437"/>
                  <a:pt x="95" y="433"/>
                </a:cubicBezTo>
                <a:cubicBezTo>
                  <a:pt x="95" y="433"/>
                  <a:pt x="95" y="270"/>
                  <a:pt x="95" y="257"/>
                </a:cubicBezTo>
                <a:cubicBezTo>
                  <a:pt x="102" y="253"/>
                  <a:pt x="116" y="244"/>
                  <a:pt x="133" y="239"/>
                </a:cubicBezTo>
                <a:cubicBezTo>
                  <a:pt x="163" y="229"/>
                  <a:pt x="190" y="233"/>
                  <a:pt x="210" y="252"/>
                </a:cubicBezTo>
                <a:cubicBezTo>
                  <a:pt x="233" y="273"/>
                  <a:pt x="262" y="281"/>
                  <a:pt x="294" y="276"/>
                </a:cubicBezTo>
                <a:cubicBezTo>
                  <a:pt x="317" y="272"/>
                  <a:pt x="334" y="263"/>
                  <a:pt x="334" y="262"/>
                </a:cubicBezTo>
                <a:cubicBezTo>
                  <a:pt x="338" y="260"/>
                  <a:pt x="341" y="255"/>
                  <a:pt x="341" y="251"/>
                </a:cubicBezTo>
                <a:cubicBezTo>
                  <a:pt x="341" y="94"/>
                  <a:pt x="341" y="94"/>
                  <a:pt x="341" y="94"/>
                </a:cubicBezTo>
                <a:cubicBezTo>
                  <a:pt x="341" y="89"/>
                  <a:pt x="338" y="85"/>
                  <a:pt x="334" y="83"/>
                </a:cubicBezTo>
                <a:cubicBezTo>
                  <a:pt x="330" y="80"/>
                  <a:pt x="324" y="80"/>
                  <a:pt x="320" y="83"/>
                </a:cubicBezTo>
                <a:cubicBezTo>
                  <a:pt x="320" y="84"/>
                  <a:pt x="264" y="121"/>
                  <a:pt x="239" y="90"/>
                </a:cubicBezTo>
                <a:cubicBezTo>
                  <a:pt x="238" y="90"/>
                  <a:pt x="238" y="90"/>
                  <a:pt x="238" y="89"/>
                </a:cubicBezTo>
                <a:cubicBezTo>
                  <a:pt x="207" y="60"/>
                  <a:pt x="168" y="51"/>
                  <a:pt x="127" y="61"/>
                </a:cubicBezTo>
                <a:cubicBezTo>
                  <a:pt x="100" y="67"/>
                  <a:pt x="80" y="81"/>
                  <a:pt x="74" y="85"/>
                </a:cubicBezTo>
                <a:cubicBezTo>
                  <a:pt x="73" y="85"/>
                  <a:pt x="73" y="85"/>
                  <a:pt x="73" y="85"/>
                </a:cubicBezTo>
                <a:cubicBezTo>
                  <a:pt x="73" y="85"/>
                  <a:pt x="73" y="85"/>
                  <a:pt x="74" y="85"/>
                </a:cubicBezTo>
                <a:cubicBezTo>
                  <a:pt x="73" y="86"/>
                  <a:pt x="72" y="86"/>
                  <a:pt x="72" y="86"/>
                </a:cubicBezTo>
                <a:cubicBezTo>
                  <a:pt x="69" y="89"/>
                  <a:pt x="68" y="92"/>
                  <a:pt x="68" y="96"/>
                </a:cubicBezTo>
                <a:cubicBezTo>
                  <a:pt x="68" y="96"/>
                  <a:pt x="68" y="97"/>
                  <a:pt x="68" y="97"/>
                </a:cubicBezTo>
                <a:cubicBezTo>
                  <a:pt x="68" y="101"/>
                  <a:pt x="68" y="202"/>
                  <a:pt x="68" y="202"/>
                </a:cubicBezTo>
                <a:cubicBezTo>
                  <a:pt x="68" y="210"/>
                  <a:pt x="74" y="216"/>
                  <a:pt x="81" y="216"/>
                </a:cubicBezTo>
                <a:cubicBezTo>
                  <a:pt x="81" y="216"/>
                  <a:pt x="81" y="216"/>
                  <a:pt x="81" y="216"/>
                </a:cubicBezTo>
                <a:cubicBezTo>
                  <a:pt x="89" y="216"/>
                  <a:pt x="95" y="210"/>
                  <a:pt x="95" y="202"/>
                </a:cubicBezTo>
                <a:cubicBezTo>
                  <a:pt x="95" y="202"/>
                  <a:pt x="95" y="115"/>
                  <a:pt x="95" y="103"/>
                </a:cubicBezTo>
                <a:cubicBezTo>
                  <a:pt x="112" y="92"/>
                  <a:pt x="170" y="63"/>
                  <a:pt x="219" y="109"/>
                </a:cubicBezTo>
                <a:cubicBezTo>
                  <a:pt x="232" y="123"/>
                  <a:pt x="254" y="136"/>
                  <a:pt x="294" y="124"/>
                </a:cubicBezTo>
                <a:cubicBezTo>
                  <a:pt x="302" y="122"/>
                  <a:pt x="308" y="119"/>
                  <a:pt x="314" y="117"/>
                </a:cubicBezTo>
                <a:cubicBezTo>
                  <a:pt x="314" y="148"/>
                  <a:pt x="314" y="230"/>
                  <a:pt x="314" y="242"/>
                </a:cubicBezTo>
                <a:cubicBezTo>
                  <a:pt x="299" y="249"/>
                  <a:pt x="260" y="261"/>
                  <a:pt x="228" y="232"/>
                </a:cubicBezTo>
                <a:cubicBezTo>
                  <a:pt x="200" y="207"/>
                  <a:pt x="164" y="200"/>
                  <a:pt x="124" y="214"/>
                </a:cubicBezTo>
                <a:cubicBezTo>
                  <a:pt x="95" y="223"/>
                  <a:pt x="74" y="239"/>
                  <a:pt x="73" y="240"/>
                </a:cubicBezTo>
                <a:cubicBezTo>
                  <a:pt x="70" y="243"/>
                  <a:pt x="68" y="246"/>
                  <a:pt x="68" y="251"/>
                </a:cubicBezTo>
                <a:cubicBezTo>
                  <a:pt x="68" y="251"/>
                  <a:pt x="68" y="408"/>
                  <a:pt x="68" y="424"/>
                </a:cubicBezTo>
                <a:cubicBezTo>
                  <a:pt x="65" y="425"/>
                  <a:pt x="62" y="425"/>
                  <a:pt x="57" y="424"/>
                </a:cubicBezTo>
                <a:cubicBezTo>
                  <a:pt x="57" y="407"/>
                  <a:pt x="57" y="78"/>
                  <a:pt x="57" y="78"/>
                </a:cubicBezTo>
                <a:cubicBezTo>
                  <a:pt x="57" y="71"/>
                  <a:pt x="52" y="66"/>
                  <a:pt x="46" y="65"/>
                </a:cubicBezTo>
                <a:cubicBezTo>
                  <a:pt x="45" y="65"/>
                  <a:pt x="32" y="63"/>
                  <a:pt x="28" y="55"/>
                </a:cubicBezTo>
                <a:cubicBezTo>
                  <a:pt x="27" y="53"/>
                  <a:pt x="27" y="51"/>
                  <a:pt x="27" y="48"/>
                </a:cubicBezTo>
                <a:cubicBezTo>
                  <a:pt x="27" y="44"/>
                  <a:pt x="28" y="39"/>
                  <a:pt x="30" y="35"/>
                </a:cubicBezTo>
                <a:cubicBezTo>
                  <a:pt x="34" y="30"/>
                  <a:pt x="39" y="28"/>
                  <a:pt x="46" y="28"/>
                </a:cubicBezTo>
                <a:cubicBezTo>
                  <a:pt x="54" y="28"/>
                  <a:pt x="60" y="31"/>
                  <a:pt x="62" y="36"/>
                </a:cubicBezTo>
                <a:cubicBezTo>
                  <a:pt x="65" y="41"/>
                  <a:pt x="65" y="47"/>
                  <a:pt x="63" y="50"/>
                </a:cubicBezTo>
                <a:cubicBezTo>
                  <a:pt x="60" y="57"/>
                  <a:pt x="63" y="65"/>
                  <a:pt x="69" y="68"/>
                </a:cubicBezTo>
                <a:cubicBezTo>
                  <a:pt x="76" y="71"/>
                  <a:pt x="84" y="69"/>
                  <a:pt x="87" y="62"/>
                </a:cubicBezTo>
                <a:cubicBezTo>
                  <a:pt x="93" y="50"/>
                  <a:pt x="92" y="34"/>
                  <a:pt x="86" y="22"/>
                </a:cubicBezTo>
                <a:cubicBezTo>
                  <a:pt x="78" y="10"/>
                  <a:pt x="65" y="2"/>
                  <a:pt x="47" y="1"/>
                </a:cubicBezTo>
                <a:cubicBezTo>
                  <a:pt x="31" y="0"/>
                  <a:pt x="16" y="8"/>
                  <a:pt x="8" y="2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 name="Freeform 183"/>
          <p:cNvSpPr>
            <a:spLocks/>
          </p:cNvSpPr>
          <p:nvPr userDrawn="1"/>
        </p:nvSpPr>
        <p:spPr bwMode="auto">
          <a:xfrm>
            <a:off x="1139652" y="1741394"/>
            <a:ext cx="511175" cy="525463"/>
          </a:xfrm>
          <a:custGeom>
            <a:avLst/>
            <a:gdLst/>
            <a:ahLst/>
            <a:cxnLst>
              <a:cxn ang="0">
                <a:pos x="58" y="463"/>
              </a:cxn>
              <a:cxn ang="0">
                <a:pos x="54" y="452"/>
              </a:cxn>
              <a:cxn ang="0">
                <a:pos x="54" y="148"/>
              </a:cxn>
              <a:cxn ang="0">
                <a:pos x="4" y="144"/>
              </a:cxn>
              <a:cxn ang="0">
                <a:pos x="0" y="134"/>
              </a:cxn>
              <a:cxn ang="0">
                <a:pos x="0" y="71"/>
              </a:cxn>
              <a:cxn ang="0">
                <a:pos x="4" y="61"/>
              </a:cxn>
              <a:cxn ang="0">
                <a:pos x="14" y="57"/>
              </a:cxn>
              <a:cxn ang="0">
                <a:pos x="54" y="14"/>
              </a:cxn>
              <a:cxn ang="0">
                <a:pos x="58" y="4"/>
              </a:cxn>
              <a:cxn ang="0">
                <a:pos x="68" y="0"/>
              </a:cxn>
              <a:cxn ang="0">
                <a:pos x="143" y="14"/>
              </a:cxn>
              <a:cxn ang="0">
                <a:pos x="143" y="57"/>
              </a:cxn>
              <a:cxn ang="0">
                <a:pos x="454" y="71"/>
              </a:cxn>
              <a:cxn ang="0">
                <a:pos x="454" y="133"/>
              </a:cxn>
              <a:cxn ang="0">
                <a:pos x="450" y="143"/>
              </a:cxn>
              <a:cxn ang="0">
                <a:pos x="440" y="147"/>
              </a:cxn>
              <a:cxn ang="0">
                <a:pos x="142" y="157"/>
              </a:cxn>
              <a:cxn ang="0">
                <a:pos x="398" y="161"/>
              </a:cxn>
              <a:cxn ang="0">
                <a:pos x="402" y="171"/>
              </a:cxn>
              <a:cxn ang="0">
                <a:pos x="402" y="325"/>
              </a:cxn>
              <a:cxn ang="0">
                <a:pos x="398" y="335"/>
              </a:cxn>
              <a:cxn ang="0">
                <a:pos x="388" y="339"/>
              </a:cxn>
              <a:cxn ang="0">
                <a:pos x="119" y="335"/>
              </a:cxn>
              <a:cxn ang="0">
                <a:pos x="115" y="325"/>
              </a:cxn>
              <a:cxn ang="0">
                <a:pos x="115" y="219"/>
              </a:cxn>
              <a:cxn ang="0">
                <a:pos x="129" y="205"/>
              </a:cxn>
              <a:cxn ang="0">
                <a:pos x="143" y="219"/>
              </a:cxn>
              <a:cxn ang="0">
                <a:pos x="373" y="310"/>
              </a:cxn>
              <a:cxn ang="0">
                <a:pos x="128" y="185"/>
              </a:cxn>
              <a:cxn ang="0">
                <a:pos x="118" y="181"/>
              </a:cxn>
              <a:cxn ang="0">
                <a:pos x="113" y="171"/>
              </a:cxn>
              <a:cxn ang="0">
                <a:pos x="118" y="123"/>
              </a:cxn>
              <a:cxn ang="0">
                <a:pos x="128" y="119"/>
              </a:cxn>
              <a:cxn ang="0">
                <a:pos x="426" y="119"/>
              </a:cxn>
              <a:cxn ang="0">
                <a:pos x="129" y="85"/>
              </a:cxn>
              <a:cxn ang="0">
                <a:pos x="114" y="71"/>
              </a:cxn>
              <a:cxn ang="0">
                <a:pos x="82" y="28"/>
              </a:cxn>
              <a:cxn ang="0">
                <a:pos x="78" y="81"/>
              </a:cxn>
              <a:cxn ang="0">
                <a:pos x="68" y="85"/>
              </a:cxn>
              <a:cxn ang="0">
                <a:pos x="28" y="85"/>
              </a:cxn>
              <a:cxn ang="0">
                <a:pos x="68" y="119"/>
              </a:cxn>
              <a:cxn ang="0">
                <a:pos x="78" y="123"/>
              </a:cxn>
              <a:cxn ang="0">
                <a:pos x="82" y="134"/>
              </a:cxn>
              <a:cxn ang="0">
                <a:pos x="114" y="438"/>
              </a:cxn>
              <a:cxn ang="0">
                <a:pos x="129" y="357"/>
              </a:cxn>
              <a:cxn ang="0">
                <a:pos x="143" y="372"/>
              </a:cxn>
              <a:cxn ang="0">
                <a:pos x="143" y="452"/>
              </a:cxn>
              <a:cxn ang="0">
                <a:pos x="139" y="463"/>
              </a:cxn>
              <a:cxn ang="0">
                <a:pos x="129" y="467"/>
              </a:cxn>
            </a:cxnLst>
            <a:rect l="0" t="0" r="r" b="b"/>
            <a:pathLst>
              <a:path w="454" h="467">
                <a:moveTo>
                  <a:pt x="68" y="467"/>
                </a:moveTo>
                <a:cubicBezTo>
                  <a:pt x="64" y="467"/>
                  <a:pt x="60" y="465"/>
                  <a:pt x="58" y="463"/>
                </a:cubicBezTo>
                <a:cubicBezTo>
                  <a:pt x="58" y="463"/>
                  <a:pt x="58" y="463"/>
                  <a:pt x="58" y="463"/>
                </a:cubicBezTo>
                <a:cubicBezTo>
                  <a:pt x="55" y="460"/>
                  <a:pt x="54" y="456"/>
                  <a:pt x="54" y="452"/>
                </a:cubicBezTo>
                <a:cubicBezTo>
                  <a:pt x="54" y="452"/>
                  <a:pt x="54" y="452"/>
                  <a:pt x="54" y="452"/>
                </a:cubicBezTo>
                <a:cubicBezTo>
                  <a:pt x="54" y="148"/>
                  <a:pt x="54" y="148"/>
                  <a:pt x="54" y="148"/>
                </a:cubicBezTo>
                <a:cubicBezTo>
                  <a:pt x="14" y="148"/>
                  <a:pt x="14" y="148"/>
                  <a:pt x="14" y="148"/>
                </a:cubicBezTo>
                <a:cubicBezTo>
                  <a:pt x="10" y="148"/>
                  <a:pt x="7" y="146"/>
                  <a:pt x="4" y="144"/>
                </a:cubicBezTo>
                <a:cubicBezTo>
                  <a:pt x="4" y="144"/>
                  <a:pt x="4" y="144"/>
                  <a:pt x="4" y="144"/>
                </a:cubicBezTo>
                <a:cubicBezTo>
                  <a:pt x="1" y="141"/>
                  <a:pt x="0" y="137"/>
                  <a:pt x="0" y="134"/>
                </a:cubicBezTo>
                <a:cubicBezTo>
                  <a:pt x="0" y="134"/>
                  <a:pt x="0" y="134"/>
                  <a:pt x="0" y="134"/>
                </a:cubicBezTo>
                <a:cubicBezTo>
                  <a:pt x="0" y="71"/>
                  <a:pt x="0" y="71"/>
                  <a:pt x="0" y="71"/>
                </a:cubicBezTo>
                <a:cubicBezTo>
                  <a:pt x="0" y="67"/>
                  <a:pt x="1" y="64"/>
                  <a:pt x="4" y="61"/>
                </a:cubicBezTo>
                <a:cubicBezTo>
                  <a:pt x="4" y="61"/>
                  <a:pt x="4" y="61"/>
                  <a:pt x="4" y="61"/>
                </a:cubicBezTo>
                <a:cubicBezTo>
                  <a:pt x="7" y="58"/>
                  <a:pt x="10" y="57"/>
                  <a:pt x="14" y="57"/>
                </a:cubicBezTo>
                <a:cubicBezTo>
                  <a:pt x="14" y="57"/>
                  <a:pt x="14" y="57"/>
                  <a:pt x="14" y="57"/>
                </a:cubicBezTo>
                <a:cubicBezTo>
                  <a:pt x="54" y="57"/>
                  <a:pt x="54" y="57"/>
                  <a:pt x="54" y="57"/>
                </a:cubicBezTo>
                <a:cubicBezTo>
                  <a:pt x="54" y="14"/>
                  <a:pt x="54" y="14"/>
                  <a:pt x="54" y="14"/>
                </a:cubicBezTo>
                <a:cubicBezTo>
                  <a:pt x="54" y="10"/>
                  <a:pt x="55" y="7"/>
                  <a:pt x="58" y="4"/>
                </a:cubicBezTo>
                <a:cubicBezTo>
                  <a:pt x="58" y="4"/>
                  <a:pt x="58" y="4"/>
                  <a:pt x="58" y="4"/>
                </a:cubicBezTo>
                <a:cubicBezTo>
                  <a:pt x="61" y="2"/>
                  <a:pt x="64" y="0"/>
                  <a:pt x="68" y="0"/>
                </a:cubicBezTo>
                <a:cubicBezTo>
                  <a:pt x="68" y="0"/>
                  <a:pt x="68" y="0"/>
                  <a:pt x="68" y="0"/>
                </a:cubicBezTo>
                <a:cubicBezTo>
                  <a:pt x="129" y="0"/>
                  <a:pt x="129" y="0"/>
                  <a:pt x="129" y="0"/>
                </a:cubicBezTo>
                <a:cubicBezTo>
                  <a:pt x="136" y="0"/>
                  <a:pt x="143" y="6"/>
                  <a:pt x="143" y="14"/>
                </a:cubicBezTo>
                <a:cubicBezTo>
                  <a:pt x="143" y="14"/>
                  <a:pt x="143" y="14"/>
                  <a:pt x="143" y="14"/>
                </a:cubicBezTo>
                <a:cubicBezTo>
                  <a:pt x="143" y="57"/>
                  <a:pt x="143" y="57"/>
                  <a:pt x="143" y="57"/>
                </a:cubicBezTo>
                <a:cubicBezTo>
                  <a:pt x="440" y="57"/>
                  <a:pt x="440" y="57"/>
                  <a:pt x="440" y="57"/>
                </a:cubicBezTo>
                <a:cubicBezTo>
                  <a:pt x="448" y="57"/>
                  <a:pt x="454" y="63"/>
                  <a:pt x="454" y="71"/>
                </a:cubicBezTo>
                <a:cubicBezTo>
                  <a:pt x="454" y="71"/>
                  <a:pt x="454" y="71"/>
                  <a:pt x="454" y="71"/>
                </a:cubicBezTo>
                <a:cubicBezTo>
                  <a:pt x="454" y="133"/>
                  <a:pt x="454" y="133"/>
                  <a:pt x="454" y="133"/>
                </a:cubicBezTo>
                <a:cubicBezTo>
                  <a:pt x="454" y="137"/>
                  <a:pt x="453" y="140"/>
                  <a:pt x="450" y="143"/>
                </a:cubicBezTo>
                <a:cubicBezTo>
                  <a:pt x="450" y="143"/>
                  <a:pt x="450" y="143"/>
                  <a:pt x="450" y="143"/>
                </a:cubicBezTo>
                <a:cubicBezTo>
                  <a:pt x="448" y="146"/>
                  <a:pt x="444" y="147"/>
                  <a:pt x="440" y="147"/>
                </a:cubicBezTo>
                <a:cubicBezTo>
                  <a:pt x="440" y="147"/>
                  <a:pt x="440" y="147"/>
                  <a:pt x="440" y="147"/>
                </a:cubicBezTo>
                <a:cubicBezTo>
                  <a:pt x="142" y="147"/>
                  <a:pt x="142" y="147"/>
                  <a:pt x="142" y="147"/>
                </a:cubicBezTo>
                <a:cubicBezTo>
                  <a:pt x="142" y="157"/>
                  <a:pt x="142" y="157"/>
                  <a:pt x="142" y="157"/>
                </a:cubicBezTo>
                <a:cubicBezTo>
                  <a:pt x="388" y="157"/>
                  <a:pt x="388" y="157"/>
                  <a:pt x="388" y="157"/>
                </a:cubicBezTo>
                <a:cubicBezTo>
                  <a:pt x="391" y="157"/>
                  <a:pt x="395" y="158"/>
                  <a:pt x="398" y="161"/>
                </a:cubicBezTo>
                <a:cubicBezTo>
                  <a:pt x="398" y="161"/>
                  <a:pt x="398" y="161"/>
                  <a:pt x="398" y="161"/>
                </a:cubicBezTo>
                <a:cubicBezTo>
                  <a:pt x="400" y="164"/>
                  <a:pt x="402" y="167"/>
                  <a:pt x="402" y="171"/>
                </a:cubicBezTo>
                <a:cubicBezTo>
                  <a:pt x="402" y="171"/>
                  <a:pt x="402" y="171"/>
                  <a:pt x="402" y="171"/>
                </a:cubicBezTo>
                <a:cubicBezTo>
                  <a:pt x="402" y="325"/>
                  <a:pt x="402" y="325"/>
                  <a:pt x="402" y="325"/>
                </a:cubicBezTo>
                <a:cubicBezTo>
                  <a:pt x="402" y="328"/>
                  <a:pt x="400" y="332"/>
                  <a:pt x="398" y="335"/>
                </a:cubicBezTo>
                <a:cubicBezTo>
                  <a:pt x="398" y="335"/>
                  <a:pt x="398" y="335"/>
                  <a:pt x="398" y="335"/>
                </a:cubicBezTo>
                <a:cubicBezTo>
                  <a:pt x="395" y="337"/>
                  <a:pt x="391" y="339"/>
                  <a:pt x="388" y="339"/>
                </a:cubicBezTo>
                <a:cubicBezTo>
                  <a:pt x="388" y="339"/>
                  <a:pt x="388" y="339"/>
                  <a:pt x="388" y="339"/>
                </a:cubicBezTo>
                <a:cubicBezTo>
                  <a:pt x="129" y="339"/>
                  <a:pt x="129" y="339"/>
                  <a:pt x="129" y="339"/>
                </a:cubicBezTo>
                <a:cubicBezTo>
                  <a:pt x="125" y="339"/>
                  <a:pt x="122" y="337"/>
                  <a:pt x="119" y="335"/>
                </a:cubicBezTo>
                <a:cubicBezTo>
                  <a:pt x="119" y="335"/>
                  <a:pt x="119" y="335"/>
                  <a:pt x="119" y="335"/>
                </a:cubicBezTo>
                <a:cubicBezTo>
                  <a:pt x="116" y="332"/>
                  <a:pt x="115" y="328"/>
                  <a:pt x="115" y="325"/>
                </a:cubicBezTo>
                <a:cubicBezTo>
                  <a:pt x="115" y="325"/>
                  <a:pt x="115" y="325"/>
                  <a:pt x="115" y="325"/>
                </a:cubicBezTo>
                <a:cubicBezTo>
                  <a:pt x="115" y="219"/>
                  <a:pt x="115" y="219"/>
                  <a:pt x="115" y="219"/>
                </a:cubicBezTo>
                <a:cubicBezTo>
                  <a:pt x="115" y="212"/>
                  <a:pt x="121" y="205"/>
                  <a:pt x="129" y="205"/>
                </a:cubicBezTo>
                <a:cubicBezTo>
                  <a:pt x="129" y="205"/>
                  <a:pt x="129" y="205"/>
                  <a:pt x="129" y="205"/>
                </a:cubicBezTo>
                <a:cubicBezTo>
                  <a:pt x="137" y="205"/>
                  <a:pt x="143" y="212"/>
                  <a:pt x="143" y="219"/>
                </a:cubicBezTo>
                <a:cubicBezTo>
                  <a:pt x="143" y="219"/>
                  <a:pt x="143" y="219"/>
                  <a:pt x="143" y="219"/>
                </a:cubicBezTo>
                <a:cubicBezTo>
                  <a:pt x="143" y="310"/>
                  <a:pt x="143" y="310"/>
                  <a:pt x="143" y="310"/>
                </a:cubicBezTo>
                <a:cubicBezTo>
                  <a:pt x="373" y="310"/>
                  <a:pt x="373" y="310"/>
                  <a:pt x="373" y="310"/>
                </a:cubicBezTo>
                <a:cubicBezTo>
                  <a:pt x="373" y="185"/>
                  <a:pt x="373" y="185"/>
                  <a:pt x="373" y="185"/>
                </a:cubicBezTo>
                <a:cubicBezTo>
                  <a:pt x="128" y="185"/>
                  <a:pt x="128" y="185"/>
                  <a:pt x="128" y="185"/>
                </a:cubicBezTo>
                <a:cubicBezTo>
                  <a:pt x="124" y="185"/>
                  <a:pt x="120" y="184"/>
                  <a:pt x="118" y="181"/>
                </a:cubicBezTo>
                <a:cubicBezTo>
                  <a:pt x="118" y="181"/>
                  <a:pt x="118" y="181"/>
                  <a:pt x="118" y="181"/>
                </a:cubicBezTo>
                <a:cubicBezTo>
                  <a:pt x="115" y="179"/>
                  <a:pt x="113" y="175"/>
                  <a:pt x="113" y="171"/>
                </a:cubicBezTo>
                <a:cubicBezTo>
                  <a:pt x="113" y="171"/>
                  <a:pt x="113" y="171"/>
                  <a:pt x="113" y="171"/>
                </a:cubicBezTo>
                <a:cubicBezTo>
                  <a:pt x="113" y="133"/>
                  <a:pt x="113" y="133"/>
                  <a:pt x="113" y="133"/>
                </a:cubicBezTo>
                <a:cubicBezTo>
                  <a:pt x="113" y="129"/>
                  <a:pt x="115" y="125"/>
                  <a:pt x="118" y="123"/>
                </a:cubicBezTo>
                <a:cubicBezTo>
                  <a:pt x="118" y="123"/>
                  <a:pt x="118" y="123"/>
                  <a:pt x="118" y="123"/>
                </a:cubicBezTo>
                <a:cubicBezTo>
                  <a:pt x="120" y="120"/>
                  <a:pt x="124" y="119"/>
                  <a:pt x="128" y="119"/>
                </a:cubicBezTo>
                <a:cubicBezTo>
                  <a:pt x="128" y="119"/>
                  <a:pt x="128" y="119"/>
                  <a:pt x="128" y="119"/>
                </a:cubicBezTo>
                <a:cubicBezTo>
                  <a:pt x="426" y="119"/>
                  <a:pt x="426" y="119"/>
                  <a:pt x="426" y="119"/>
                </a:cubicBezTo>
                <a:cubicBezTo>
                  <a:pt x="426" y="85"/>
                  <a:pt x="426" y="85"/>
                  <a:pt x="426" y="85"/>
                </a:cubicBezTo>
                <a:cubicBezTo>
                  <a:pt x="129" y="85"/>
                  <a:pt x="129" y="85"/>
                  <a:pt x="129" y="85"/>
                </a:cubicBezTo>
                <a:cubicBezTo>
                  <a:pt x="121" y="85"/>
                  <a:pt x="114" y="79"/>
                  <a:pt x="114" y="71"/>
                </a:cubicBezTo>
                <a:cubicBezTo>
                  <a:pt x="114" y="71"/>
                  <a:pt x="114" y="71"/>
                  <a:pt x="114" y="71"/>
                </a:cubicBezTo>
                <a:cubicBezTo>
                  <a:pt x="114" y="28"/>
                  <a:pt x="114" y="28"/>
                  <a:pt x="114" y="28"/>
                </a:cubicBezTo>
                <a:cubicBezTo>
                  <a:pt x="82" y="28"/>
                  <a:pt x="82" y="28"/>
                  <a:pt x="82" y="28"/>
                </a:cubicBezTo>
                <a:cubicBezTo>
                  <a:pt x="82" y="71"/>
                  <a:pt x="82" y="71"/>
                  <a:pt x="82" y="71"/>
                </a:cubicBezTo>
                <a:cubicBezTo>
                  <a:pt x="82" y="75"/>
                  <a:pt x="81" y="78"/>
                  <a:pt x="78" y="81"/>
                </a:cubicBezTo>
                <a:cubicBezTo>
                  <a:pt x="78" y="81"/>
                  <a:pt x="78" y="81"/>
                  <a:pt x="78" y="81"/>
                </a:cubicBezTo>
                <a:cubicBezTo>
                  <a:pt x="75" y="84"/>
                  <a:pt x="72" y="85"/>
                  <a:pt x="68" y="85"/>
                </a:cubicBezTo>
                <a:cubicBezTo>
                  <a:pt x="68" y="85"/>
                  <a:pt x="68" y="85"/>
                  <a:pt x="68" y="85"/>
                </a:cubicBezTo>
                <a:cubicBezTo>
                  <a:pt x="28" y="85"/>
                  <a:pt x="28" y="85"/>
                  <a:pt x="28" y="85"/>
                </a:cubicBezTo>
                <a:cubicBezTo>
                  <a:pt x="28" y="119"/>
                  <a:pt x="28" y="119"/>
                  <a:pt x="28" y="119"/>
                </a:cubicBezTo>
                <a:cubicBezTo>
                  <a:pt x="68" y="119"/>
                  <a:pt x="68" y="119"/>
                  <a:pt x="68" y="119"/>
                </a:cubicBezTo>
                <a:cubicBezTo>
                  <a:pt x="72" y="119"/>
                  <a:pt x="75" y="121"/>
                  <a:pt x="78" y="123"/>
                </a:cubicBezTo>
                <a:cubicBezTo>
                  <a:pt x="78" y="123"/>
                  <a:pt x="78" y="123"/>
                  <a:pt x="78" y="123"/>
                </a:cubicBezTo>
                <a:cubicBezTo>
                  <a:pt x="81" y="126"/>
                  <a:pt x="82" y="130"/>
                  <a:pt x="82" y="134"/>
                </a:cubicBezTo>
                <a:cubicBezTo>
                  <a:pt x="82" y="134"/>
                  <a:pt x="82" y="134"/>
                  <a:pt x="82" y="134"/>
                </a:cubicBezTo>
                <a:cubicBezTo>
                  <a:pt x="82" y="438"/>
                  <a:pt x="82" y="438"/>
                  <a:pt x="82" y="438"/>
                </a:cubicBezTo>
                <a:cubicBezTo>
                  <a:pt x="114" y="438"/>
                  <a:pt x="114" y="438"/>
                  <a:pt x="114" y="438"/>
                </a:cubicBezTo>
                <a:cubicBezTo>
                  <a:pt x="114" y="372"/>
                  <a:pt x="114" y="372"/>
                  <a:pt x="114" y="372"/>
                </a:cubicBezTo>
                <a:cubicBezTo>
                  <a:pt x="114" y="364"/>
                  <a:pt x="121" y="357"/>
                  <a:pt x="129" y="357"/>
                </a:cubicBezTo>
                <a:cubicBezTo>
                  <a:pt x="129" y="357"/>
                  <a:pt x="129" y="357"/>
                  <a:pt x="129" y="357"/>
                </a:cubicBezTo>
                <a:cubicBezTo>
                  <a:pt x="136" y="357"/>
                  <a:pt x="143" y="364"/>
                  <a:pt x="143" y="372"/>
                </a:cubicBezTo>
                <a:cubicBezTo>
                  <a:pt x="143" y="372"/>
                  <a:pt x="143" y="372"/>
                  <a:pt x="143" y="372"/>
                </a:cubicBezTo>
                <a:cubicBezTo>
                  <a:pt x="143" y="452"/>
                  <a:pt x="143" y="452"/>
                  <a:pt x="143" y="452"/>
                </a:cubicBezTo>
                <a:cubicBezTo>
                  <a:pt x="143" y="456"/>
                  <a:pt x="141" y="460"/>
                  <a:pt x="139" y="463"/>
                </a:cubicBezTo>
                <a:cubicBezTo>
                  <a:pt x="139" y="463"/>
                  <a:pt x="139" y="463"/>
                  <a:pt x="139" y="463"/>
                </a:cubicBezTo>
                <a:cubicBezTo>
                  <a:pt x="136" y="465"/>
                  <a:pt x="132" y="467"/>
                  <a:pt x="129" y="467"/>
                </a:cubicBezTo>
                <a:cubicBezTo>
                  <a:pt x="129" y="467"/>
                  <a:pt x="129" y="467"/>
                  <a:pt x="129" y="467"/>
                </a:cubicBezTo>
                <a:cubicBezTo>
                  <a:pt x="68" y="467"/>
                  <a:pt x="68" y="467"/>
                  <a:pt x="68" y="46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 name="Freeform 187"/>
          <p:cNvSpPr>
            <a:spLocks/>
          </p:cNvSpPr>
          <p:nvPr userDrawn="1"/>
        </p:nvSpPr>
        <p:spPr bwMode="auto">
          <a:xfrm>
            <a:off x="1140441" y="2457667"/>
            <a:ext cx="509589" cy="368300"/>
          </a:xfrm>
          <a:custGeom>
            <a:avLst/>
            <a:gdLst/>
            <a:ahLst/>
            <a:cxnLst>
              <a:cxn ang="0">
                <a:pos x="398" y="134"/>
              </a:cxn>
              <a:cxn ang="0">
                <a:pos x="408" y="93"/>
              </a:cxn>
              <a:cxn ang="0">
                <a:pos x="395" y="79"/>
              </a:cxn>
              <a:cxn ang="0">
                <a:pos x="303" y="93"/>
              </a:cxn>
              <a:cxn ang="0">
                <a:pos x="377" y="106"/>
              </a:cxn>
              <a:cxn ang="0">
                <a:pos x="367" y="147"/>
              </a:cxn>
              <a:cxn ang="0">
                <a:pos x="381" y="161"/>
              </a:cxn>
              <a:cxn ang="0">
                <a:pos x="426" y="241"/>
              </a:cxn>
              <a:cxn ang="0">
                <a:pos x="349" y="214"/>
              </a:cxn>
              <a:cxn ang="0">
                <a:pos x="329" y="232"/>
              </a:cxn>
              <a:cxn ang="0">
                <a:pos x="300" y="301"/>
              </a:cxn>
              <a:cxn ang="0">
                <a:pos x="260" y="251"/>
              </a:cxn>
              <a:cxn ang="0">
                <a:pos x="246" y="234"/>
              </a:cxn>
              <a:cxn ang="0">
                <a:pos x="154" y="234"/>
              </a:cxn>
              <a:cxn ang="0">
                <a:pos x="121" y="213"/>
              </a:cxn>
              <a:cxn ang="0">
                <a:pos x="132" y="260"/>
              </a:cxn>
              <a:cxn ang="0">
                <a:pos x="50" y="260"/>
              </a:cxn>
              <a:cxn ang="0">
                <a:pos x="62" y="231"/>
              </a:cxn>
              <a:cxn ang="0">
                <a:pos x="64" y="223"/>
              </a:cxn>
              <a:cxn ang="0">
                <a:pos x="55" y="175"/>
              </a:cxn>
              <a:cxn ang="0">
                <a:pos x="28" y="164"/>
              </a:cxn>
              <a:cxn ang="0">
                <a:pos x="294" y="81"/>
              </a:cxn>
              <a:cxn ang="0">
                <a:pos x="345" y="49"/>
              </a:cxn>
              <a:cxn ang="0">
                <a:pos x="449" y="15"/>
              </a:cxn>
              <a:cxn ang="0">
                <a:pos x="433" y="2"/>
              </a:cxn>
              <a:cxn ang="0">
                <a:pos x="332" y="25"/>
              </a:cxn>
              <a:cxn ang="0">
                <a:pos x="19" y="99"/>
              </a:cxn>
              <a:cxn ang="0">
                <a:pos x="0" y="164"/>
              </a:cxn>
              <a:cxn ang="0">
                <a:pos x="1" y="171"/>
              </a:cxn>
              <a:cxn ang="0">
                <a:pos x="14" y="189"/>
              </a:cxn>
              <a:cxn ang="0">
                <a:pos x="37" y="219"/>
              </a:cxn>
              <a:cxn ang="0">
                <a:pos x="91" y="328"/>
              </a:cxn>
              <a:cxn ang="0">
                <a:pos x="232" y="261"/>
              </a:cxn>
              <a:cxn ang="0">
                <a:pos x="365" y="277"/>
              </a:cxn>
              <a:cxn ang="0">
                <a:pos x="453" y="253"/>
              </a:cxn>
              <a:cxn ang="0">
                <a:pos x="440" y="134"/>
              </a:cxn>
            </a:cxnLst>
            <a:rect l="0" t="0" r="r" b="b"/>
            <a:pathLst>
              <a:path w="453" h="328">
                <a:moveTo>
                  <a:pt x="440" y="134"/>
                </a:moveTo>
                <a:cubicBezTo>
                  <a:pt x="440" y="134"/>
                  <a:pt x="416" y="134"/>
                  <a:pt x="398" y="134"/>
                </a:cubicBezTo>
                <a:cubicBezTo>
                  <a:pt x="402" y="118"/>
                  <a:pt x="408" y="96"/>
                  <a:pt x="408" y="96"/>
                </a:cubicBezTo>
                <a:cubicBezTo>
                  <a:pt x="408" y="95"/>
                  <a:pt x="408" y="94"/>
                  <a:pt x="408" y="93"/>
                </a:cubicBezTo>
                <a:cubicBezTo>
                  <a:pt x="408" y="90"/>
                  <a:pt x="407" y="87"/>
                  <a:pt x="406" y="84"/>
                </a:cubicBezTo>
                <a:cubicBezTo>
                  <a:pt x="403" y="81"/>
                  <a:pt x="399" y="79"/>
                  <a:pt x="395" y="79"/>
                </a:cubicBezTo>
                <a:cubicBezTo>
                  <a:pt x="317" y="79"/>
                  <a:pt x="317" y="79"/>
                  <a:pt x="317" y="79"/>
                </a:cubicBezTo>
                <a:cubicBezTo>
                  <a:pt x="309" y="79"/>
                  <a:pt x="303" y="85"/>
                  <a:pt x="303" y="93"/>
                </a:cubicBezTo>
                <a:cubicBezTo>
                  <a:pt x="303" y="100"/>
                  <a:pt x="309" y="106"/>
                  <a:pt x="317" y="106"/>
                </a:cubicBezTo>
                <a:cubicBezTo>
                  <a:pt x="317" y="106"/>
                  <a:pt x="356" y="106"/>
                  <a:pt x="377" y="106"/>
                </a:cubicBezTo>
                <a:cubicBezTo>
                  <a:pt x="373" y="122"/>
                  <a:pt x="368" y="144"/>
                  <a:pt x="368" y="144"/>
                </a:cubicBezTo>
                <a:cubicBezTo>
                  <a:pt x="367" y="145"/>
                  <a:pt x="367" y="146"/>
                  <a:pt x="367" y="147"/>
                </a:cubicBezTo>
                <a:cubicBezTo>
                  <a:pt x="367" y="150"/>
                  <a:pt x="368" y="153"/>
                  <a:pt x="370" y="155"/>
                </a:cubicBezTo>
                <a:cubicBezTo>
                  <a:pt x="373" y="159"/>
                  <a:pt x="377" y="161"/>
                  <a:pt x="381" y="161"/>
                </a:cubicBezTo>
                <a:cubicBezTo>
                  <a:pt x="381" y="161"/>
                  <a:pt x="410" y="161"/>
                  <a:pt x="426" y="161"/>
                </a:cubicBezTo>
                <a:cubicBezTo>
                  <a:pt x="426" y="241"/>
                  <a:pt x="426" y="241"/>
                  <a:pt x="426" y="241"/>
                </a:cubicBezTo>
                <a:cubicBezTo>
                  <a:pt x="414" y="243"/>
                  <a:pt x="384" y="247"/>
                  <a:pt x="367" y="249"/>
                </a:cubicBezTo>
                <a:cubicBezTo>
                  <a:pt x="364" y="236"/>
                  <a:pt x="358" y="224"/>
                  <a:pt x="349" y="214"/>
                </a:cubicBezTo>
                <a:cubicBezTo>
                  <a:pt x="344" y="208"/>
                  <a:pt x="335" y="208"/>
                  <a:pt x="330" y="213"/>
                </a:cubicBezTo>
                <a:cubicBezTo>
                  <a:pt x="324" y="218"/>
                  <a:pt x="324" y="227"/>
                  <a:pt x="329" y="232"/>
                </a:cubicBezTo>
                <a:cubicBezTo>
                  <a:pt x="336" y="240"/>
                  <a:pt x="340" y="250"/>
                  <a:pt x="340" y="260"/>
                </a:cubicBezTo>
                <a:cubicBezTo>
                  <a:pt x="340" y="283"/>
                  <a:pt x="322" y="301"/>
                  <a:pt x="300" y="301"/>
                </a:cubicBezTo>
                <a:cubicBezTo>
                  <a:pt x="277" y="301"/>
                  <a:pt x="259" y="283"/>
                  <a:pt x="259" y="260"/>
                </a:cubicBezTo>
                <a:cubicBezTo>
                  <a:pt x="259" y="257"/>
                  <a:pt x="259" y="254"/>
                  <a:pt x="260" y="251"/>
                </a:cubicBezTo>
                <a:cubicBezTo>
                  <a:pt x="261" y="247"/>
                  <a:pt x="260" y="243"/>
                  <a:pt x="257" y="239"/>
                </a:cubicBezTo>
                <a:cubicBezTo>
                  <a:pt x="255" y="236"/>
                  <a:pt x="251" y="234"/>
                  <a:pt x="246" y="234"/>
                </a:cubicBezTo>
                <a:cubicBezTo>
                  <a:pt x="245" y="234"/>
                  <a:pt x="245" y="234"/>
                  <a:pt x="245" y="234"/>
                </a:cubicBezTo>
                <a:cubicBezTo>
                  <a:pt x="154" y="234"/>
                  <a:pt x="154" y="234"/>
                  <a:pt x="154" y="234"/>
                </a:cubicBezTo>
                <a:cubicBezTo>
                  <a:pt x="150" y="227"/>
                  <a:pt x="146" y="219"/>
                  <a:pt x="140" y="213"/>
                </a:cubicBezTo>
                <a:cubicBezTo>
                  <a:pt x="134" y="208"/>
                  <a:pt x="126" y="208"/>
                  <a:pt x="121" y="213"/>
                </a:cubicBezTo>
                <a:cubicBezTo>
                  <a:pt x="115" y="218"/>
                  <a:pt x="115" y="226"/>
                  <a:pt x="120" y="232"/>
                </a:cubicBezTo>
                <a:cubicBezTo>
                  <a:pt x="128" y="239"/>
                  <a:pt x="132" y="250"/>
                  <a:pt x="132" y="260"/>
                </a:cubicBezTo>
                <a:cubicBezTo>
                  <a:pt x="132" y="283"/>
                  <a:pt x="113" y="301"/>
                  <a:pt x="91" y="301"/>
                </a:cubicBezTo>
                <a:cubicBezTo>
                  <a:pt x="68" y="301"/>
                  <a:pt x="50" y="283"/>
                  <a:pt x="50" y="260"/>
                </a:cubicBezTo>
                <a:cubicBezTo>
                  <a:pt x="50" y="250"/>
                  <a:pt x="54" y="241"/>
                  <a:pt x="60" y="233"/>
                </a:cubicBezTo>
                <a:cubicBezTo>
                  <a:pt x="61" y="232"/>
                  <a:pt x="61" y="231"/>
                  <a:pt x="62" y="231"/>
                </a:cubicBezTo>
                <a:cubicBezTo>
                  <a:pt x="63" y="229"/>
                  <a:pt x="63" y="229"/>
                  <a:pt x="63" y="229"/>
                </a:cubicBezTo>
                <a:cubicBezTo>
                  <a:pt x="64" y="227"/>
                  <a:pt x="64" y="225"/>
                  <a:pt x="64" y="223"/>
                </a:cubicBezTo>
                <a:cubicBezTo>
                  <a:pt x="64" y="188"/>
                  <a:pt x="64" y="188"/>
                  <a:pt x="64" y="188"/>
                </a:cubicBezTo>
                <a:cubicBezTo>
                  <a:pt x="64" y="182"/>
                  <a:pt x="61" y="177"/>
                  <a:pt x="55" y="175"/>
                </a:cubicBezTo>
                <a:cubicBezTo>
                  <a:pt x="55" y="175"/>
                  <a:pt x="36" y="168"/>
                  <a:pt x="28" y="165"/>
                </a:cubicBezTo>
                <a:cubicBezTo>
                  <a:pt x="28" y="164"/>
                  <a:pt x="28" y="164"/>
                  <a:pt x="28" y="164"/>
                </a:cubicBezTo>
                <a:cubicBezTo>
                  <a:pt x="28" y="158"/>
                  <a:pt x="31" y="136"/>
                  <a:pt x="33" y="124"/>
                </a:cubicBezTo>
                <a:cubicBezTo>
                  <a:pt x="51" y="121"/>
                  <a:pt x="294" y="81"/>
                  <a:pt x="294" y="81"/>
                </a:cubicBezTo>
                <a:cubicBezTo>
                  <a:pt x="296" y="81"/>
                  <a:pt x="298" y="80"/>
                  <a:pt x="299" y="79"/>
                </a:cubicBezTo>
                <a:cubicBezTo>
                  <a:pt x="299" y="79"/>
                  <a:pt x="341" y="52"/>
                  <a:pt x="345" y="49"/>
                </a:cubicBezTo>
                <a:cubicBezTo>
                  <a:pt x="350" y="48"/>
                  <a:pt x="439" y="29"/>
                  <a:pt x="439" y="29"/>
                </a:cubicBezTo>
                <a:cubicBezTo>
                  <a:pt x="445" y="27"/>
                  <a:pt x="449" y="22"/>
                  <a:pt x="449" y="15"/>
                </a:cubicBezTo>
                <a:cubicBezTo>
                  <a:pt x="449" y="14"/>
                  <a:pt x="449" y="13"/>
                  <a:pt x="449" y="12"/>
                </a:cubicBezTo>
                <a:cubicBezTo>
                  <a:pt x="447" y="5"/>
                  <a:pt x="440" y="0"/>
                  <a:pt x="433" y="2"/>
                </a:cubicBezTo>
                <a:cubicBezTo>
                  <a:pt x="337" y="24"/>
                  <a:pt x="337" y="24"/>
                  <a:pt x="337" y="24"/>
                </a:cubicBezTo>
                <a:cubicBezTo>
                  <a:pt x="335" y="24"/>
                  <a:pt x="334" y="25"/>
                  <a:pt x="332" y="25"/>
                </a:cubicBezTo>
                <a:cubicBezTo>
                  <a:pt x="332" y="25"/>
                  <a:pt x="291" y="52"/>
                  <a:pt x="287" y="55"/>
                </a:cubicBezTo>
                <a:cubicBezTo>
                  <a:pt x="281" y="56"/>
                  <a:pt x="19" y="99"/>
                  <a:pt x="19" y="99"/>
                </a:cubicBezTo>
                <a:cubicBezTo>
                  <a:pt x="13" y="100"/>
                  <a:pt x="8" y="104"/>
                  <a:pt x="7" y="110"/>
                </a:cubicBezTo>
                <a:cubicBezTo>
                  <a:pt x="0" y="164"/>
                  <a:pt x="0" y="164"/>
                  <a:pt x="0" y="164"/>
                </a:cubicBezTo>
                <a:cubicBezTo>
                  <a:pt x="0" y="164"/>
                  <a:pt x="0" y="165"/>
                  <a:pt x="0" y="166"/>
                </a:cubicBezTo>
                <a:cubicBezTo>
                  <a:pt x="0" y="168"/>
                  <a:pt x="1" y="170"/>
                  <a:pt x="1" y="171"/>
                </a:cubicBezTo>
                <a:cubicBezTo>
                  <a:pt x="6" y="182"/>
                  <a:pt x="6" y="182"/>
                  <a:pt x="6" y="182"/>
                </a:cubicBezTo>
                <a:cubicBezTo>
                  <a:pt x="8" y="185"/>
                  <a:pt x="10" y="187"/>
                  <a:pt x="14" y="189"/>
                </a:cubicBezTo>
                <a:cubicBezTo>
                  <a:pt x="14" y="189"/>
                  <a:pt x="28" y="194"/>
                  <a:pt x="37" y="197"/>
                </a:cubicBezTo>
                <a:cubicBezTo>
                  <a:pt x="37" y="219"/>
                  <a:pt x="37" y="219"/>
                  <a:pt x="37" y="219"/>
                </a:cubicBezTo>
                <a:cubicBezTo>
                  <a:pt x="28" y="231"/>
                  <a:pt x="23" y="245"/>
                  <a:pt x="23" y="260"/>
                </a:cubicBezTo>
                <a:cubicBezTo>
                  <a:pt x="23" y="298"/>
                  <a:pt x="53" y="328"/>
                  <a:pt x="91" y="328"/>
                </a:cubicBezTo>
                <a:cubicBezTo>
                  <a:pt x="128" y="328"/>
                  <a:pt x="158" y="298"/>
                  <a:pt x="159" y="261"/>
                </a:cubicBezTo>
                <a:cubicBezTo>
                  <a:pt x="232" y="261"/>
                  <a:pt x="232" y="261"/>
                  <a:pt x="232" y="261"/>
                </a:cubicBezTo>
                <a:cubicBezTo>
                  <a:pt x="233" y="298"/>
                  <a:pt x="263" y="328"/>
                  <a:pt x="300" y="328"/>
                </a:cubicBezTo>
                <a:cubicBezTo>
                  <a:pt x="331" y="328"/>
                  <a:pt x="358" y="306"/>
                  <a:pt x="365" y="277"/>
                </a:cubicBezTo>
                <a:cubicBezTo>
                  <a:pt x="442" y="266"/>
                  <a:pt x="442" y="266"/>
                  <a:pt x="442" y="266"/>
                </a:cubicBezTo>
                <a:cubicBezTo>
                  <a:pt x="448" y="265"/>
                  <a:pt x="453" y="260"/>
                  <a:pt x="453" y="253"/>
                </a:cubicBezTo>
                <a:cubicBezTo>
                  <a:pt x="453" y="147"/>
                  <a:pt x="453" y="147"/>
                  <a:pt x="453" y="147"/>
                </a:cubicBezTo>
                <a:cubicBezTo>
                  <a:pt x="453" y="140"/>
                  <a:pt x="447" y="134"/>
                  <a:pt x="440" y="13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 name="Freeform 203"/>
          <p:cNvSpPr>
            <a:spLocks/>
          </p:cNvSpPr>
          <p:nvPr userDrawn="1"/>
        </p:nvSpPr>
        <p:spPr bwMode="auto">
          <a:xfrm>
            <a:off x="1130914" y="4404013"/>
            <a:ext cx="528638" cy="514351"/>
          </a:xfrm>
          <a:custGeom>
            <a:avLst/>
            <a:gdLst/>
            <a:ahLst/>
            <a:cxnLst>
              <a:cxn ang="0">
                <a:pos x="217" y="41"/>
              </a:cxn>
              <a:cxn ang="0">
                <a:pos x="184" y="188"/>
              </a:cxn>
              <a:cxn ang="0">
                <a:pos x="0" y="389"/>
              </a:cxn>
              <a:cxn ang="0">
                <a:pos x="5" y="453"/>
              </a:cxn>
              <a:cxn ang="0">
                <a:pos x="14" y="457"/>
              </a:cxn>
              <a:cxn ang="0">
                <a:pos x="88" y="453"/>
              </a:cxn>
              <a:cxn ang="0">
                <a:pos x="112" y="429"/>
              </a:cxn>
              <a:cxn ang="0">
                <a:pos x="113" y="410"/>
              </a:cxn>
              <a:cxn ang="0">
                <a:pos x="132" y="391"/>
              </a:cxn>
              <a:cxn ang="0">
                <a:pos x="172" y="370"/>
              </a:cxn>
              <a:cxn ang="0">
                <a:pos x="175" y="365"/>
              </a:cxn>
              <a:cxn ang="0">
                <a:pos x="172" y="339"/>
              </a:cxn>
              <a:cxn ang="0">
                <a:pos x="184" y="339"/>
              </a:cxn>
              <a:cxn ang="0">
                <a:pos x="203" y="339"/>
              </a:cxn>
              <a:cxn ang="0">
                <a:pos x="416" y="240"/>
              </a:cxn>
              <a:cxn ang="0">
                <a:pos x="425" y="73"/>
              </a:cxn>
              <a:cxn ang="0">
                <a:pos x="397" y="221"/>
              </a:cxn>
              <a:cxn ang="0">
                <a:pos x="266" y="244"/>
              </a:cxn>
              <a:cxn ang="0">
                <a:pos x="255" y="248"/>
              </a:cxn>
              <a:cxn ang="0">
                <a:pos x="178" y="310"/>
              </a:cxn>
              <a:cxn ang="0">
                <a:pos x="143" y="345"/>
              </a:cxn>
              <a:cxn ang="0">
                <a:pos x="140" y="364"/>
              </a:cxn>
              <a:cxn ang="0">
                <a:pos x="82" y="400"/>
              </a:cxn>
              <a:cxn ang="0">
                <a:pos x="73" y="430"/>
              </a:cxn>
              <a:cxn ang="0">
                <a:pos x="26" y="394"/>
              </a:cxn>
              <a:cxn ang="0">
                <a:pos x="212" y="194"/>
              </a:cxn>
              <a:cxn ang="0">
                <a:pos x="213" y="190"/>
              </a:cxn>
              <a:cxn ang="0">
                <a:pos x="202" y="140"/>
              </a:cxn>
              <a:cxn ang="0">
                <a:pos x="316" y="27"/>
              </a:cxn>
              <a:cxn ang="0">
                <a:pos x="373" y="65"/>
              </a:cxn>
              <a:cxn ang="0">
                <a:pos x="334" y="123"/>
              </a:cxn>
              <a:cxn ang="0">
                <a:pos x="383" y="109"/>
              </a:cxn>
              <a:cxn ang="0">
                <a:pos x="352" y="104"/>
              </a:cxn>
              <a:cxn ang="0">
                <a:pos x="365" y="91"/>
              </a:cxn>
              <a:cxn ang="0">
                <a:pos x="384" y="92"/>
              </a:cxn>
              <a:cxn ang="0">
                <a:pos x="418" y="46"/>
              </a:cxn>
              <a:cxn ang="0">
                <a:pos x="414" y="40"/>
              </a:cxn>
            </a:cxnLst>
            <a:rect l="0" t="0" r="r" b="b"/>
            <a:pathLst>
              <a:path w="469" h="457">
                <a:moveTo>
                  <a:pt x="315" y="0"/>
                </a:moveTo>
                <a:cubicBezTo>
                  <a:pt x="278" y="0"/>
                  <a:pt x="243" y="15"/>
                  <a:pt x="217" y="41"/>
                </a:cubicBezTo>
                <a:cubicBezTo>
                  <a:pt x="190" y="68"/>
                  <a:pt x="176" y="104"/>
                  <a:pt x="176" y="140"/>
                </a:cubicBezTo>
                <a:cubicBezTo>
                  <a:pt x="176" y="156"/>
                  <a:pt x="179" y="173"/>
                  <a:pt x="184" y="188"/>
                </a:cubicBezTo>
                <a:cubicBezTo>
                  <a:pt x="175" y="198"/>
                  <a:pt x="3" y="380"/>
                  <a:pt x="3" y="380"/>
                </a:cubicBezTo>
                <a:cubicBezTo>
                  <a:pt x="1" y="382"/>
                  <a:pt x="0" y="385"/>
                  <a:pt x="0" y="389"/>
                </a:cubicBezTo>
                <a:cubicBezTo>
                  <a:pt x="0" y="443"/>
                  <a:pt x="0" y="443"/>
                  <a:pt x="0" y="443"/>
                </a:cubicBezTo>
                <a:cubicBezTo>
                  <a:pt x="0" y="447"/>
                  <a:pt x="2" y="451"/>
                  <a:pt x="5" y="453"/>
                </a:cubicBezTo>
                <a:cubicBezTo>
                  <a:pt x="6" y="454"/>
                  <a:pt x="6" y="454"/>
                  <a:pt x="6" y="454"/>
                </a:cubicBezTo>
                <a:cubicBezTo>
                  <a:pt x="8" y="456"/>
                  <a:pt x="11" y="457"/>
                  <a:pt x="14" y="457"/>
                </a:cubicBezTo>
                <a:cubicBezTo>
                  <a:pt x="78" y="457"/>
                  <a:pt x="78" y="457"/>
                  <a:pt x="78" y="457"/>
                </a:cubicBezTo>
                <a:cubicBezTo>
                  <a:pt x="82" y="457"/>
                  <a:pt x="85" y="455"/>
                  <a:pt x="88" y="453"/>
                </a:cubicBezTo>
                <a:cubicBezTo>
                  <a:pt x="112" y="430"/>
                  <a:pt x="112" y="430"/>
                  <a:pt x="112" y="430"/>
                </a:cubicBezTo>
                <a:cubicBezTo>
                  <a:pt x="112" y="430"/>
                  <a:pt x="112" y="429"/>
                  <a:pt x="112" y="429"/>
                </a:cubicBezTo>
                <a:cubicBezTo>
                  <a:pt x="113" y="429"/>
                  <a:pt x="113" y="429"/>
                  <a:pt x="113" y="429"/>
                </a:cubicBezTo>
                <a:cubicBezTo>
                  <a:pt x="118" y="423"/>
                  <a:pt x="118" y="415"/>
                  <a:pt x="113" y="410"/>
                </a:cubicBezTo>
                <a:cubicBezTo>
                  <a:pt x="107" y="405"/>
                  <a:pt x="107" y="396"/>
                  <a:pt x="113" y="391"/>
                </a:cubicBezTo>
                <a:cubicBezTo>
                  <a:pt x="118" y="385"/>
                  <a:pt x="127" y="385"/>
                  <a:pt x="132" y="391"/>
                </a:cubicBezTo>
                <a:cubicBezTo>
                  <a:pt x="137" y="396"/>
                  <a:pt x="146" y="396"/>
                  <a:pt x="151" y="391"/>
                </a:cubicBezTo>
                <a:cubicBezTo>
                  <a:pt x="172" y="370"/>
                  <a:pt x="172" y="370"/>
                  <a:pt x="172" y="370"/>
                </a:cubicBezTo>
                <a:cubicBezTo>
                  <a:pt x="173" y="368"/>
                  <a:pt x="174" y="367"/>
                  <a:pt x="175" y="365"/>
                </a:cubicBezTo>
                <a:cubicBezTo>
                  <a:pt x="175" y="365"/>
                  <a:pt x="175" y="365"/>
                  <a:pt x="175" y="365"/>
                </a:cubicBezTo>
                <a:cubicBezTo>
                  <a:pt x="177" y="360"/>
                  <a:pt x="176" y="354"/>
                  <a:pt x="172" y="350"/>
                </a:cubicBezTo>
                <a:cubicBezTo>
                  <a:pt x="169" y="347"/>
                  <a:pt x="169" y="342"/>
                  <a:pt x="172" y="339"/>
                </a:cubicBezTo>
                <a:cubicBezTo>
                  <a:pt x="174" y="337"/>
                  <a:pt x="176" y="336"/>
                  <a:pt x="178" y="336"/>
                </a:cubicBezTo>
                <a:cubicBezTo>
                  <a:pt x="180" y="336"/>
                  <a:pt x="182" y="337"/>
                  <a:pt x="184" y="339"/>
                </a:cubicBezTo>
                <a:cubicBezTo>
                  <a:pt x="186" y="341"/>
                  <a:pt x="190" y="343"/>
                  <a:pt x="193" y="343"/>
                </a:cubicBezTo>
                <a:cubicBezTo>
                  <a:pt x="197" y="343"/>
                  <a:pt x="200" y="341"/>
                  <a:pt x="203" y="339"/>
                </a:cubicBezTo>
                <a:cubicBezTo>
                  <a:pt x="203" y="339"/>
                  <a:pt x="260" y="282"/>
                  <a:pt x="269" y="273"/>
                </a:cubicBezTo>
                <a:cubicBezTo>
                  <a:pt x="320" y="291"/>
                  <a:pt x="377" y="279"/>
                  <a:pt x="416" y="240"/>
                </a:cubicBezTo>
                <a:cubicBezTo>
                  <a:pt x="458" y="197"/>
                  <a:pt x="469" y="133"/>
                  <a:pt x="443" y="79"/>
                </a:cubicBezTo>
                <a:cubicBezTo>
                  <a:pt x="440" y="72"/>
                  <a:pt x="432" y="70"/>
                  <a:pt x="425" y="73"/>
                </a:cubicBezTo>
                <a:cubicBezTo>
                  <a:pt x="418" y="76"/>
                  <a:pt x="416" y="84"/>
                  <a:pt x="419" y="91"/>
                </a:cubicBezTo>
                <a:cubicBezTo>
                  <a:pt x="440" y="134"/>
                  <a:pt x="431" y="187"/>
                  <a:pt x="397" y="221"/>
                </a:cubicBezTo>
                <a:cubicBezTo>
                  <a:pt x="364" y="254"/>
                  <a:pt x="315" y="263"/>
                  <a:pt x="272" y="245"/>
                </a:cubicBezTo>
                <a:cubicBezTo>
                  <a:pt x="270" y="244"/>
                  <a:pt x="268" y="244"/>
                  <a:pt x="266" y="244"/>
                </a:cubicBezTo>
                <a:cubicBezTo>
                  <a:pt x="263" y="245"/>
                  <a:pt x="263" y="245"/>
                  <a:pt x="263" y="245"/>
                </a:cubicBezTo>
                <a:cubicBezTo>
                  <a:pt x="260" y="245"/>
                  <a:pt x="258" y="246"/>
                  <a:pt x="255" y="248"/>
                </a:cubicBezTo>
                <a:cubicBezTo>
                  <a:pt x="255" y="248"/>
                  <a:pt x="203" y="301"/>
                  <a:pt x="191" y="312"/>
                </a:cubicBezTo>
                <a:cubicBezTo>
                  <a:pt x="187" y="311"/>
                  <a:pt x="183" y="310"/>
                  <a:pt x="178" y="310"/>
                </a:cubicBezTo>
                <a:cubicBezTo>
                  <a:pt x="169" y="310"/>
                  <a:pt x="160" y="313"/>
                  <a:pt x="153" y="320"/>
                </a:cubicBezTo>
                <a:cubicBezTo>
                  <a:pt x="147" y="327"/>
                  <a:pt x="143" y="336"/>
                  <a:pt x="143" y="345"/>
                </a:cubicBezTo>
                <a:cubicBezTo>
                  <a:pt x="143" y="349"/>
                  <a:pt x="144" y="354"/>
                  <a:pt x="146" y="358"/>
                </a:cubicBezTo>
                <a:cubicBezTo>
                  <a:pt x="143" y="361"/>
                  <a:pt x="143" y="361"/>
                  <a:pt x="140" y="364"/>
                </a:cubicBezTo>
                <a:cubicBezTo>
                  <a:pt x="125" y="357"/>
                  <a:pt x="106" y="359"/>
                  <a:pt x="94" y="372"/>
                </a:cubicBezTo>
                <a:cubicBezTo>
                  <a:pt x="86" y="380"/>
                  <a:pt x="82" y="390"/>
                  <a:pt x="82" y="400"/>
                </a:cubicBezTo>
                <a:cubicBezTo>
                  <a:pt x="82" y="406"/>
                  <a:pt x="83" y="412"/>
                  <a:pt x="86" y="417"/>
                </a:cubicBezTo>
                <a:cubicBezTo>
                  <a:pt x="80" y="423"/>
                  <a:pt x="76" y="427"/>
                  <a:pt x="73" y="430"/>
                </a:cubicBezTo>
                <a:cubicBezTo>
                  <a:pt x="66" y="430"/>
                  <a:pt x="41" y="430"/>
                  <a:pt x="26" y="430"/>
                </a:cubicBezTo>
                <a:cubicBezTo>
                  <a:pt x="26" y="417"/>
                  <a:pt x="26" y="400"/>
                  <a:pt x="26" y="394"/>
                </a:cubicBezTo>
                <a:cubicBezTo>
                  <a:pt x="33" y="387"/>
                  <a:pt x="209" y="201"/>
                  <a:pt x="209" y="201"/>
                </a:cubicBezTo>
                <a:cubicBezTo>
                  <a:pt x="210" y="199"/>
                  <a:pt x="212" y="197"/>
                  <a:pt x="212" y="194"/>
                </a:cubicBezTo>
                <a:cubicBezTo>
                  <a:pt x="212" y="192"/>
                  <a:pt x="212" y="192"/>
                  <a:pt x="212" y="192"/>
                </a:cubicBezTo>
                <a:cubicBezTo>
                  <a:pt x="213" y="191"/>
                  <a:pt x="213" y="191"/>
                  <a:pt x="213" y="190"/>
                </a:cubicBezTo>
                <a:cubicBezTo>
                  <a:pt x="213" y="188"/>
                  <a:pt x="212" y="187"/>
                  <a:pt x="212" y="185"/>
                </a:cubicBezTo>
                <a:cubicBezTo>
                  <a:pt x="205" y="170"/>
                  <a:pt x="202" y="155"/>
                  <a:pt x="202" y="140"/>
                </a:cubicBezTo>
                <a:cubicBezTo>
                  <a:pt x="202" y="111"/>
                  <a:pt x="214" y="82"/>
                  <a:pt x="236" y="60"/>
                </a:cubicBezTo>
                <a:cubicBezTo>
                  <a:pt x="257" y="39"/>
                  <a:pt x="285" y="27"/>
                  <a:pt x="316" y="27"/>
                </a:cubicBezTo>
                <a:cubicBezTo>
                  <a:pt x="342" y="26"/>
                  <a:pt x="367" y="35"/>
                  <a:pt x="387" y="51"/>
                </a:cubicBezTo>
                <a:cubicBezTo>
                  <a:pt x="381" y="57"/>
                  <a:pt x="378" y="60"/>
                  <a:pt x="373" y="65"/>
                </a:cubicBezTo>
                <a:cubicBezTo>
                  <a:pt x="360" y="60"/>
                  <a:pt x="344" y="62"/>
                  <a:pt x="334" y="73"/>
                </a:cubicBezTo>
                <a:cubicBezTo>
                  <a:pt x="320" y="87"/>
                  <a:pt x="320" y="109"/>
                  <a:pt x="334" y="123"/>
                </a:cubicBezTo>
                <a:cubicBezTo>
                  <a:pt x="346" y="136"/>
                  <a:pt x="365" y="137"/>
                  <a:pt x="379" y="127"/>
                </a:cubicBezTo>
                <a:cubicBezTo>
                  <a:pt x="385" y="123"/>
                  <a:pt x="387" y="115"/>
                  <a:pt x="383" y="109"/>
                </a:cubicBezTo>
                <a:cubicBezTo>
                  <a:pt x="378" y="103"/>
                  <a:pt x="370" y="101"/>
                  <a:pt x="364" y="105"/>
                </a:cubicBezTo>
                <a:cubicBezTo>
                  <a:pt x="360" y="108"/>
                  <a:pt x="356" y="108"/>
                  <a:pt x="352" y="104"/>
                </a:cubicBezTo>
                <a:cubicBezTo>
                  <a:pt x="349" y="101"/>
                  <a:pt x="349" y="95"/>
                  <a:pt x="352" y="92"/>
                </a:cubicBezTo>
                <a:cubicBezTo>
                  <a:pt x="356" y="88"/>
                  <a:pt x="361" y="88"/>
                  <a:pt x="365" y="91"/>
                </a:cubicBezTo>
                <a:cubicBezTo>
                  <a:pt x="365" y="92"/>
                  <a:pt x="365" y="92"/>
                  <a:pt x="365" y="92"/>
                </a:cubicBezTo>
                <a:cubicBezTo>
                  <a:pt x="371" y="97"/>
                  <a:pt x="379" y="97"/>
                  <a:pt x="384" y="92"/>
                </a:cubicBezTo>
                <a:cubicBezTo>
                  <a:pt x="415" y="61"/>
                  <a:pt x="415" y="61"/>
                  <a:pt x="415" y="61"/>
                </a:cubicBezTo>
                <a:cubicBezTo>
                  <a:pt x="419" y="57"/>
                  <a:pt x="420" y="51"/>
                  <a:pt x="418" y="46"/>
                </a:cubicBezTo>
                <a:cubicBezTo>
                  <a:pt x="417" y="44"/>
                  <a:pt x="417" y="44"/>
                  <a:pt x="417" y="44"/>
                </a:cubicBezTo>
                <a:cubicBezTo>
                  <a:pt x="417" y="43"/>
                  <a:pt x="416" y="41"/>
                  <a:pt x="414" y="40"/>
                </a:cubicBezTo>
                <a:cubicBezTo>
                  <a:pt x="388" y="14"/>
                  <a:pt x="353" y="0"/>
                  <a:pt x="315" y="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6" name="Freeform 211"/>
          <p:cNvSpPr>
            <a:spLocks/>
          </p:cNvSpPr>
          <p:nvPr userDrawn="1"/>
        </p:nvSpPr>
        <p:spPr bwMode="auto">
          <a:xfrm>
            <a:off x="1158699" y="3076683"/>
            <a:ext cx="473075" cy="342900"/>
          </a:xfrm>
          <a:custGeom>
            <a:avLst/>
            <a:gdLst/>
            <a:ahLst/>
            <a:cxnLst>
              <a:cxn ang="0">
                <a:pos x="63" y="199"/>
              </a:cxn>
              <a:cxn ang="0">
                <a:pos x="83" y="36"/>
              </a:cxn>
              <a:cxn ang="0">
                <a:pos x="219" y="1"/>
              </a:cxn>
              <a:cxn ang="0">
                <a:pos x="420" y="133"/>
              </a:cxn>
              <a:cxn ang="0">
                <a:pos x="156" y="262"/>
              </a:cxn>
              <a:cxn ang="0">
                <a:pos x="64" y="302"/>
              </a:cxn>
              <a:cxn ang="0">
                <a:pos x="81" y="231"/>
              </a:cxn>
            </a:cxnLst>
            <a:rect l="0" t="0" r="r" b="b"/>
            <a:pathLst>
              <a:path w="420" h="303">
                <a:moveTo>
                  <a:pt x="63" y="199"/>
                </a:moveTo>
                <a:cubicBezTo>
                  <a:pt x="0" y="159"/>
                  <a:pt x="2" y="83"/>
                  <a:pt x="83" y="36"/>
                </a:cubicBezTo>
                <a:cubicBezTo>
                  <a:pt x="83" y="36"/>
                  <a:pt x="140" y="0"/>
                  <a:pt x="219" y="1"/>
                </a:cubicBezTo>
                <a:cubicBezTo>
                  <a:pt x="360" y="4"/>
                  <a:pt x="420" y="60"/>
                  <a:pt x="420" y="133"/>
                </a:cubicBezTo>
                <a:cubicBezTo>
                  <a:pt x="420" y="198"/>
                  <a:pt x="344" y="303"/>
                  <a:pt x="156" y="262"/>
                </a:cubicBezTo>
                <a:cubicBezTo>
                  <a:pt x="87" y="291"/>
                  <a:pt x="64" y="302"/>
                  <a:pt x="64" y="302"/>
                </a:cubicBezTo>
                <a:cubicBezTo>
                  <a:pt x="64" y="302"/>
                  <a:pt x="98" y="268"/>
                  <a:pt x="81" y="231"/>
                </a:cubicBezTo>
              </a:path>
            </a:pathLst>
          </a:custGeom>
          <a:noFill/>
          <a:ln w="30163"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7" name="Freeform 234"/>
          <p:cNvSpPr>
            <a:spLocks/>
          </p:cNvSpPr>
          <p:nvPr userDrawn="1"/>
        </p:nvSpPr>
        <p:spPr bwMode="auto">
          <a:xfrm>
            <a:off x="1133301" y="5102436"/>
            <a:ext cx="523876" cy="441325"/>
          </a:xfrm>
          <a:custGeom>
            <a:avLst/>
            <a:gdLst/>
            <a:ahLst/>
            <a:cxnLst>
              <a:cxn ang="0">
                <a:pos x="110" y="376"/>
              </a:cxn>
              <a:cxn ang="0">
                <a:pos x="110" y="149"/>
              </a:cxn>
              <a:cxn ang="0">
                <a:pos x="110" y="148"/>
              </a:cxn>
              <a:cxn ang="0">
                <a:pos x="99" y="133"/>
              </a:cxn>
              <a:cxn ang="0">
                <a:pos x="64" y="119"/>
              </a:cxn>
              <a:cxn ang="0">
                <a:pos x="63" y="119"/>
              </a:cxn>
              <a:cxn ang="0">
                <a:pos x="28" y="138"/>
              </a:cxn>
              <a:cxn ang="0">
                <a:pos x="79" y="350"/>
              </a:cxn>
              <a:cxn ang="0">
                <a:pos x="83" y="370"/>
              </a:cxn>
              <a:cxn ang="0">
                <a:pos x="6" y="336"/>
              </a:cxn>
              <a:cxn ang="0">
                <a:pos x="0" y="135"/>
              </a:cxn>
              <a:cxn ang="0">
                <a:pos x="13" y="110"/>
              </a:cxn>
              <a:cxn ang="0">
                <a:pos x="63" y="91"/>
              </a:cxn>
              <a:cxn ang="0">
                <a:pos x="108" y="104"/>
              </a:cxn>
              <a:cxn ang="0">
                <a:pos x="133" y="130"/>
              </a:cxn>
              <a:cxn ang="0">
                <a:pos x="138" y="358"/>
              </a:cxn>
              <a:cxn ang="0">
                <a:pos x="435" y="125"/>
              </a:cxn>
              <a:cxn ang="0">
                <a:pos x="361" y="115"/>
              </a:cxn>
              <a:cxn ang="0">
                <a:pos x="341" y="116"/>
              </a:cxn>
              <a:cxn ang="0">
                <a:pos x="240" y="169"/>
              </a:cxn>
              <a:cxn ang="0">
                <a:pos x="249" y="205"/>
              </a:cxn>
              <a:cxn ang="0">
                <a:pos x="244" y="225"/>
              </a:cxn>
              <a:cxn ang="0">
                <a:pos x="205" y="243"/>
              </a:cxn>
              <a:cxn ang="0">
                <a:pos x="178" y="237"/>
              </a:cxn>
              <a:cxn ang="0">
                <a:pos x="160" y="205"/>
              </a:cxn>
              <a:cxn ang="0">
                <a:pos x="165" y="181"/>
              </a:cxn>
              <a:cxn ang="0">
                <a:pos x="172" y="15"/>
              </a:cxn>
              <a:cxn ang="0">
                <a:pos x="186" y="0"/>
              </a:cxn>
              <a:cxn ang="0">
                <a:pos x="268" y="5"/>
              </a:cxn>
              <a:cxn ang="0">
                <a:pos x="272" y="15"/>
              </a:cxn>
              <a:cxn ang="0">
                <a:pos x="268" y="70"/>
              </a:cxn>
              <a:cxn ang="0">
                <a:pos x="228" y="74"/>
              </a:cxn>
              <a:cxn ang="0">
                <a:pos x="228" y="46"/>
              </a:cxn>
              <a:cxn ang="0">
                <a:pos x="244" y="29"/>
              </a:cxn>
              <a:cxn ang="0">
                <a:pos x="197" y="182"/>
              </a:cxn>
              <a:cxn ang="0">
                <a:pos x="191" y="192"/>
              </a:cxn>
              <a:cxn ang="0">
                <a:pos x="190" y="210"/>
              </a:cxn>
              <a:cxn ang="0">
                <a:pos x="194" y="213"/>
              </a:cxn>
              <a:cxn ang="0">
                <a:pos x="218" y="212"/>
              </a:cxn>
              <a:cxn ang="0">
                <a:pos x="220" y="209"/>
              </a:cxn>
              <a:cxn ang="0">
                <a:pos x="217" y="189"/>
              </a:cxn>
              <a:cxn ang="0">
                <a:pos x="213" y="180"/>
              </a:cxn>
              <a:cxn ang="0">
                <a:pos x="212" y="173"/>
              </a:cxn>
              <a:cxn ang="0">
                <a:pos x="222" y="105"/>
              </a:cxn>
              <a:cxn ang="0">
                <a:pos x="361" y="87"/>
              </a:cxn>
              <a:cxn ang="0">
                <a:pos x="456" y="104"/>
              </a:cxn>
              <a:cxn ang="0">
                <a:pos x="463" y="295"/>
              </a:cxn>
              <a:cxn ang="0">
                <a:pos x="128" y="390"/>
              </a:cxn>
              <a:cxn ang="0">
                <a:pos x="115" y="388"/>
              </a:cxn>
            </a:cxnLst>
            <a:rect l="0" t="0" r="r" b="b"/>
            <a:pathLst>
              <a:path w="464" h="391">
                <a:moveTo>
                  <a:pt x="115" y="388"/>
                </a:moveTo>
                <a:cubicBezTo>
                  <a:pt x="112" y="385"/>
                  <a:pt x="110" y="381"/>
                  <a:pt x="110" y="376"/>
                </a:cubicBezTo>
                <a:cubicBezTo>
                  <a:pt x="110" y="376"/>
                  <a:pt x="110" y="376"/>
                  <a:pt x="110" y="376"/>
                </a:cubicBezTo>
                <a:cubicBezTo>
                  <a:pt x="110" y="376"/>
                  <a:pt x="110" y="163"/>
                  <a:pt x="110" y="149"/>
                </a:cubicBezTo>
                <a:cubicBezTo>
                  <a:pt x="110" y="149"/>
                  <a:pt x="110" y="149"/>
                  <a:pt x="110" y="149"/>
                </a:cubicBezTo>
                <a:cubicBezTo>
                  <a:pt x="110" y="149"/>
                  <a:pt x="110" y="149"/>
                  <a:pt x="110" y="149"/>
                </a:cubicBezTo>
                <a:cubicBezTo>
                  <a:pt x="110" y="149"/>
                  <a:pt x="110" y="149"/>
                  <a:pt x="110" y="149"/>
                </a:cubicBezTo>
                <a:cubicBezTo>
                  <a:pt x="110" y="149"/>
                  <a:pt x="110" y="149"/>
                  <a:pt x="110" y="148"/>
                </a:cubicBezTo>
                <a:cubicBezTo>
                  <a:pt x="110" y="148"/>
                  <a:pt x="110" y="148"/>
                  <a:pt x="110" y="148"/>
                </a:cubicBezTo>
                <a:cubicBezTo>
                  <a:pt x="109" y="147"/>
                  <a:pt x="109" y="146"/>
                  <a:pt x="108" y="144"/>
                </a:cubicBezTo>
                <a:cubicBezTo>
                  <a:pt x="108" y="144"/>
                  <a:pt x="108" y="144"/>
                  <a:pt x="108" y="144"/>
                </a:cubicBezTo>
                <a:cubicBezTo>
                  <a:pt x="106" y="141"/>
                  <a:pt x="103" y="137"/>
                  <a:pt x="99" y="133"/>
                </a:cubicBezTo>
                <a:cubicBezTo>
                  <a:pt x="99" y="133"/>
                  <a:pt x="99" y="133"/>
                  <a:pt x="99" y="133"/>
                </a:cubicBezTo>
                <a:cubicBezTo>
                  <a:pt x="91" y="126"/>
                  <a:pt x="79" y="119"/>
                  <a:pt x="64" y="119"/>
                </a:cubicBezTo>
                <a:cubicBezTo>
                  <a:pt x="64" y="119"/>
                  <a:pt x="64" y="119"/>
                  <a:pt x="64" y="119"/>
                </a:cubicBezTo>
                <a:cubicBezTo>
                  <a:pt x="64" y="119"/>
                  <a:pt x="64" y="119"/>
                  <a:pt x="64" y="119"/>
                </a:cubicBezTo>
                <a:cubicBezTo>
                  <a:pt x="64" y="119"/>
                  <a:pt x="64" y="119"/>
                  <a:pt x="63" y="119"/>
                </a:cubicBezTo>
                <a:cubicBezTo>
                  <a:pt x="63" y="119"/>
                  <a:pt x="63" y="119"/>
                  <a:pt x="63" y="119"/>
                </a:cubicBezTo>
                <a:cubicBezTo>
                  <a:pt x="48" y="119"/>
                  <a:pt x="40" y="124"/>
                  <a:pt x="35" y="129"/>
                </a:cubicBezTo>
                <a:cubicBezTo>
                  <a:pt x="35" y="129"/>
                  <a:pt x="35" y="129"/>
                  <a:pt x="35" y="129"/>
                </a:cubicBezTo>
                <a:cubicBezTo>
                  <a:pt x="31" y="132"/>
                  <a:pt x="29" y="136"/>
                  <a:pt x="28" y="138"/>
                </a:cubicBezTo>
                <a:cubicBezTo>
                  <a:pt x="28" y="138"/>
                  <a:pt x="28" y="138"/>
                  <a:pt x="28" y="138"/>
                </a:cubicBezTo>
                <a:cubicBezTo>
                  <a:pt x="28" y="316"/>
                  <a:pt x="28" y="316"/>
                  <a:pt x="28" y="316"/>
                </a:cubicBezTo>
                <a:cubicBezTo>
                  <a:pt x="79" y="350"/>
                  <a:pt x="79" y="350"/>
                  <a:pt x="79" y="350"/>
                </a:cubicBezTo>
                <a:cubicBezTo>
                  <a:pt x="79" y="350"/>
                  <a:pt x="79" y="350"/>
                  <a:pt x="79" y="350"/>
                </a:cubicBezTo>
                <a:cubicBezTo>
                  <a:pt x="85" y="355"/>
                  <a:pt x="87" y="363"/>
                  <a:pt x="83" y="370"/>
                </a:cubicBezTo>
                <a:cubicBezTo>
                  <a:pt x="83" y="370"/>
                  <a:pt x="83" y="370"/>
                  <a:pt x="83" y="370"/>
                </a:cubicBezTo>
                <a:cubicBezTo>
                  <a:pt x="78" y="377"/>
                  <a:pt x="70" y="378"/>
                  <a:pt x="63" y="374"/>
                </a:cubicBezTo>
                <a:cubicBezTo>
                  <a:pt x="63" y="374"/>
                  <a:pt x="63" y="374"/>
                  <a:pt x="63" y="374"/>
                </a:cubicBezTo>
                <a:cubicBezTo>
                  <a:pt x="6" y="336"/>
                  <a:pt x="6" y="336"/>
                  <a:pt x="6" y="336"/>
                </a:cubicBezTo>
                <a:cubicBezTo>
                  <a:pt x="2" y="333"/>
                  <a:pt x="0" y="329"/>
                  <a:pt x="0" y="324"/>
                </a:cubicBezTo>
                <a:cubicBezTo>
                  <a:pt x="0" y="324"/>
                  <a:pt x="0" y="324"/>
                  <a:pt x="0" y="324"/>
                </a:cubicBezTo>
                <a:cubicBezTo>
                  <a:pt x="0" y="135"/>
                  <a:pt x="0" y="135"/>
                  <a:pt x="0" y="135"/>
                </a:cubicBezTo>
                <a:cubicBezTo>
                  <a:pt x="0" y="133"/>
                  <a:pt x="0" y="132"/>
                  <a:pt x="0" y="131"/>
                </a:cubicBezTo>
                <a:cubicBezTo>
                  <a:pt x="0" y="131"/>
                  <a:pt x="0" y="131"/>
                  <a:pt x="0" y="131"/>
                </a:cubicBezTo>
                <a:cubicBezTo>
                  <a:pt x="1" y="129"/>
                  <a:pt x="4" y="120"/>
                  <a:pt x="13" y="110"/>
                </a:cubicBezTo>
                <a:cubicBezTo>
                  <a:pt x="13" y="110"/>
                  <a:pt x="13" y="110"/>
                  <a:pt x="13" y="110"/>
                </a:cubicBezTo>
                <a:cubicBezTo>
                  <a:pt x="23" y="100"/>
                  <a:pt x="40" y="91"/>
                  <a:pt x="63" y="91"/>
                </a:cubicBezTo>
                <a:cubicBezTo>
                  <a:pt x="63" y="91"/>
                  <a:pt x="63" y="91"/>
                  <a:pt x="63" y="91"/>
                </a:cubicBezTo>
                <a:cubicBezTo>
                  <a:pt x="64" y="91"/>
                  <a:pt x="64" y="91"/>
                  <a:pt x="64" y="91"/>
                </a:cubicBezTo>
                <a:cubicBezTo>
                  <a:pt x="64" y="91"/>
                  <a:pt x="64" y="91"/>
                  <a:pt x="64" y="91"/>
                </a:cubicBezTo>
                <a:cubicBezTo>
                  <a:pt x="82" y="91"/>
                  <a:pt x="97" y="96"/>
                  <a:pt x="108" y="104"/>
                </a:cubicBezTo>
                <a:cubicBezTo>
                  <a:pt x="108" y="104"/>
                  <a:pt x="108" y="104"/>
                  <a:pt x="108" y="104"/>
                </a:cubicBezTo>
                <a:cubicBezTo>
                  <a:pt x="119" y="112"/>
                  <a:pt x="128" y="121"/>
                  <a:pt x="133" y="130"/>
                </a:cubicBezTo>
                <a:cubicBezTo>
                  <a:pt x="133" y="130"/>
                  <a:pt x="133" y="130"/>
                  <a:pt x="133" y="130"/>
                </a:cubicBezTo>
                <a:cubicBezTo>
                  <a:pt x="136" y="136"/>
                  <a:pt x="138" y="142"/>
                  <a:pt x="138" y="149"/>
                </a:cubicBezTo>
                <a:cubicBezTo>
                  <a:pt x="138" y="149"/>
                  <a:pt x="138" y="149"/>
                  <a:pt x="138" y="149"/>
                </a:cubicBezTo>
                <a:cubicBezTo>
                  <a:pt x="138" y="159"/>
                  <a:pt x="138" y="306"/>
                  <a:pt x="138" y="358"/>
                </a:cubicBezTo>
                <a:cubicBezTo>
                  <a:pt x="138" y="358"/>
                  <a:pt x="138" y="358"/>
                  <a:pt x="138" y="358"/>
                </a:cubicBezTo>
                <a:cubicBezTo>
                  <a:pt x="435" y="284"/>
                  <a:pt x="435" y="284"/>
                  <a:pt x="435" y="284"/>
                </a:cubicBezTo>
                <a:cubicBezTo>
                  <a:pt x="435" y="125"/>
                  <a:pt x="435" y="125"/>
                  <a:pt x="435" y="125"/>
                </a:cubicBezTo>
                <a:cubicBezTo>
                  <a:pt x="432" y="124"/>
                  <a:pt x="429" y="123"/>
                  <a:pt x="425" y="122"/>
                </a:cubicBezTo>
                <a:cubicBezTo>
                  <a:pt x="425" y="122"/>
                  <a:pt x="425" y="122"/>
                  <a:pt x="425" y="122"/>
                </a:cubicBezTo>
                <a:cubicBezTo>
                  <a:pt x="412" y="119"/>
                  <a:pt x="391" y="115"/>
                  <a:pt x="361" y="115"/>
                </a:cubicBezTo>
                <a:cubicBezTo>
                  <a:pt x="361" y="115"/>
                  <a:pt x="361" y="115"/>
                  <a:pt x="361" y="115"/>
                </a:cubicBezTo>
                <a:cubicBezTo>
                  <a:pt x="355" y="115"/>
                  <a:pt x="348" y="115"/>
                  <a:pt x="341" y="116"/>
                </a:cubicBezTo>
                <a:cubicBezTo>
                  <a:pt x="341" y="116"/>
                  <a:pt x="341" y="116"/>
                  <a:pt x="341" y="116"/>
                </a:cubicBezTo>
                <a:cubicBezTo>
                  <a:pt x="299" y="118"/>
                  <a:pt x="263" y="125"/>
                  <a:pt x="240" y="130"/>
                </a:cubicBezTo>
                <a:cubicBezTo>
                  <a:pt x="240" y="130"/>
                  <a:pt x="240" y="130"/>
                  <a:pt x="240" y="130"/>
                </a:cubicBezTo>
                <a:cubicBezTo>
                  <a:pt x="240" y="169"/>
                  <a:pt x="240" y="169"/>
                  <a:pt x="240" y="169"/>
                </a:cubicBezTo>
                <a:cubicBezTo>
                  <a:pt x="241" y="172"/>
                  <a:pt x="242" y="175"/>
                  <a:pt x="244" y="178"/>
                </a:cubicBezTo>
                <a:cubicBezTo>
                  <a:pt x="244" y="178"/>
                  <a:pt x="244" y="178"/>
                  <a:pt x="244" y="178"/>
                </a:cubicBezTo>
                <a:cubicBezTo>
                  <a:pt x="246" y="185"/>
                  <a:pt x="249" y="194"/>
                  <a:pt x="249" y="205"/>
                </a:cubicBezTo>
                <a:cubicBezTo>
                  <a:pt x="249" y="205"/>
                  <a:pt x="249" y="205"/>
                  <a:pt x="249" y="205"/>
                </a:cubicBezTo>
                <a:cubicBezTo>
                  <a:pt x="249" y="211"/>
                  <a:pt x="248" y="219"/>
                  <a:pt x="244" y="225"/>
                </a:cubicBezTo>
                <a:cubicBezTo>
                  <a:pt x="244" y="225"/>
                  <a:pt x="244" y="225"/>
                  <a:pt x="244" y="225"/>
                </a:cubicBezTo>
                <a:cubicBezTo>
                  <a:pt x="240" y="232"/>
                  <a:pt x="233" y="238"/>
                  <a:pt x="224" y="241"/>
                </a:cubicBezTo>
                <a:cubicBezTo>
                  <a:pt x="224" y="241"/>
                  <a:pt x="224" y="241"/>
                  <a:pt x="224" y="241"/>
                </a:cubicBezTo>
                <a:cubicBezTo>
                  <a:pt x="218" y="242"/>
                  <a:pt x="212" y="243"/>
                  <a:pt x="205" y="243"/>
                </a:cubicBezTo>
                <a:cubicBezTo>
                  <a:pt x="205" y="243"/>
                  <a:pt x="205" y="243"/>
                  <a:pt x="205" y="243"/>
                </a:cubicBezTo>
                <a:cubicBezTo>
                  <a:pt x="194" y="243"/>
                  <a:pt x="185" y="241"/>
                  <a:pt x="178" y="237"/>
                </a:cubicBezTo>
                <a:cubicBezTo>
                  <a:pt x="178" y="237"/>
                  <a:pt x="178" y="237"/>
                  <a:pt x="178" y="237"/>
                </a:cubicBezTo>
                <a:cubicBezTo>
                  <a:pt x="170" y="233"/>
                  <a:pt x="165" y="226"/>
                  <a:pt x="162" y="219"/>
                </a:cubicBezTo>
                <a:cubicBezTo>
                  <a:pt x="162" y="219"/>
                  <a:pt x="162" y="219"/>
                  <a:pt x="162" y="219"/>
                </a:cubicBezTo>
                <a:cubicBezTo>
                  <a:pt x="161" y="214"/>
                  <a:pt x="160" y="209"/>
                  <a:pt x="160" y="205"/>
                </a:cubicBezTo>
                <a:cubicBezTo>
                  <a:pt x="160" y="205"/>
                  <a:pt x="160" y="205"/>
                  <a:pt x="160" y="205"/>
                </a:cubicBezTo>
                <a:cubicBezTo>
                  <a:pt x="160" y="196"/>
                  <a:pt x="162" y="188"/>
                  <a:pt x="165" y="181"/>
                </a:cubicBezTo>
                <a:cubicBezTo>
                  <a:pt x="165" y="181"/>
                  <a:pt x="165" y="181"/>
                  <a:pt x="165" y="181"/>
                </a:cubicBezTo>
                <a:cubicBezTo>
                  <a:pt x="167" y="176"/>
                  <a:pt x="169" y="172"/>
                  <a:pt x="172" y="168"/>
                </a:cubicBezTo>
                <a:cubicBezTo>
                  <a:pt x="172" y="168"/>
                  <a:pt x="172" y="168"/>
                  <a:pt x="172" y="168"/>
                </a:cubicBezTo>
                <a:cubicBezTo>
                  <a:pt x="172" y="15"/>
                  <a:pt x="172" y="15"/>
                  <a:pt x="172" y="15"/>
                </a:cubicBezTo>
                <a:cubicBezTo>
                  <a:pt x="172" y="11"/>
                  <a:pt x="173" y="7"/>
                  <a:pt x="176" y="5"/>
                </a:cubicBezTo>
                <a:cubicBezTo>
                  <a:pt x="176" y="5"/>
                  <a:pt x="176" y="5"/>
                  <a:pt x="176" y="5"/>
                </a:cubicBezTo>
                <a:cubicBezTo>
                  <a:pt x="178" y="2"/>
                  <a:pt x="182" y="0"/>
                  <a:pt x="186" y="0"/>
                </a:cubicBezTo>
                <a:cubicBezTo>
                  <a:pt x="186" y="0"/>
                  <a:pt x="186" y="0"/>
                  <a:pt x="186" y="0"/>
                </a:cubicBezTo>
                <a:cubicBezTo>
                  <a:pt x="258" y="0"/>
                  <a:pt x="258" y="0"/>
                  <a:pt x="258" y="0"/>
                </a:cubicBezTo>
                <a:cubicBezTo>
                  <a:pt x="262" y="0"/>
                  <a:pt x="266" y="2"/>
                  <a:pt x="268" y="5"/>
                </a:cubicBezTo>
                <a:cubicBezTo>
                  <a:pt x="268" y="5"/>
                  <a:pt x="268" y="5"/>
                  <a:pt x="268" y="5"/>
                </a:cubicBezTo>
                <a:cubicBezTo>
                  <a:pt x="271" y="7"/>
                  <a:pt x="272" y="11"/>
                  <a:pt x="272" y="15"/>
                </a:cubicBezTo>
                <a:cubicBezTo>
                  <a:pt x="272" y="15"/>
                  <a:pt x="272" y="15"/>
                  <a:pt x="272" y="15"/>
                </a:cubicBezTo>
                <a:cubicBezTo>
                  <a:pt x="272" y="60"/>
                  <a:pt x="272" y="60"/>
                  <a:pt x="272" y="60"/>
                </a:cubicBezTo>
                <a:cubicBezTo>
                  <a:pt x="272" y="64"/>
                  <a:pt x="271" y="67"/>
                  <a:pt x="268" y="70"/>
                </a:cubicBezTo>
                <a:cubicBezTo>
                  <a:pt x="268" y="70"/>
                  <a:pt x="268" y="70"/>
                  <a:pt x="268" y="70"/>
                </a:cubicBezTo>
                <a:cubicBezTo>
                  <a:pt x="266" y="73"/>
                  <a:pt x="262" y="74"/>
                  <a:pt x="258" y="74"/>
                </a:cubicBezTo>
                <a:cubicBezTo>
                  <a:pt x="258" y="74"/>
                  <a:pt x="258" y="74"/>
                  <a:pt x="258" y="74"/>
                </a:cubicBezTo>
                <a:cubicBezTo>
                  <a:pt x="228" y="74"/>
                  <a:pt x="228" y="74"/>
                  <a:pt x="228" y="74"/>
                </a:cubicBezTo>
                <a:cubicBezTo>
                  <a:pt x="220" y="74"/>
                  <a:pt x="213" y="68"/>
                  <a:pt x="213" y="60"/>
                </a:cubicBezTo>
                <a:cubicBezTo>
                  <a:pt x="213" y="60"/>
                  <a:pt x="213" y="60"/>
                  <a:pt x="213" y="60"/>
                </a:cubicBezTo>
                <a:cubicBezTo>
                  <a:pt x="213" y="52"/>
                  <a:pt x="220" y="46"/>
                  <a:pt x="228" y="46"/>
                </a:cubicBezTo>
                <a:cubicBezTo>
                  <a:pt x="228" y="46"/>
                  <a:pt x="228" y="46"/>
                  <a:pt x="228" y="46"/>
                </a:cubicBezTo>
                <a:cubicBezTo>
                  <a:pt x="244" y="46"/>
                  <a:pt x="244" y="46"/>
                  <a:pt x="244" y="46"/>
                </a:cubicBezTo>
                <a:cubicBezTo>
                  <a:pt x="244" y="29"/>
                  <a:pt x="244" y="29"/>
                  <a:pt x="244" y="29"/>
                </a:cubicBezTo>
                <a:cubicBezTo>
                  <a:pt x="200" y="29"/>
                  <a:pt x="200" y="29"/>
                  <a:pt x="200" y="29"/>
                </a:cubicBezTo>
                <a:cubicBezTo>
                  <a:pt x="200" y="173"/>
                  <a:pt x="200" y="173"/>
                  <a:pt x="200" y="173"/>
                </a:cubicBezTo>
                <a:cubicBezTo>
                  <a:pt x="200" y="176"/>
                  <a:pt x="199" y="180"/>
                  <a:pt x="197" y="182"/>
                </a:cubicBezTo>
                <a:cubicBezTo>
                  <a:pt x="197" y="182"/>
                  <a:pt x="197" y="182"/>
                  <a:pt x="197" y="182"/>
                </a:cubicBezTo>
                <a:cubicBezTo>
                  <a:pt x="196" y="183"/>
                  <a:pt x="193" y="187"/>
                  <a:pt x="191" y="192"/>
                </a:cubicBezTo>
                <a:cubicBezTo>
                  <a:pt x="191" y="192"/>
                  <a:pt x="191" y="192"/>
                  <a:pt x="191" y="192"/>
                </a:cubicBezTo>
                <a:cubicBezTo>
                  <a:pt x="190" y="196"/>
                  <a:pt x="188" y="201"/>
                  <a:pt x="188" y="205"/>
                </a:cubicBezTo>
                <a:cubicBezTo>
                  <a:pt x="188" y="205"/>
                  <a:pt x="188" y="205"/>
                  <a:pt x="188" y="205"/>
                </a:cubicBezTo>
                <a:cubicBezTo>
                  <a:pt x="188" y="208"/>
                  <a:pt x="189" y="209"/>
                  <a:pt x="190" y="210"/>
                </a:cubicBezTo>
                <a:cubicBezTo>
                  <a:pt x="190" y="210"/>
                  <a:pt x="190" y="210"/>
                  <a:pt x="190" y="210"/>
                </a:cubicBezTo>
                <a:cubicBezTo>
                  <a:pt x="190" y="211"/>
                  <a:pt x="191" y="212"/>
                  <a:pt x="194" y="213"/>
                </a:cubicBezTo>
                <a:cubicBezTo>
                  <a:pt x="194" y="213"/>
                  <a:pt x="194" y="213"/>
                  <a:pt x="194" y="213"/>
                </a:cubicBezTo>
                <a:cubicBezTo>
                  <a:pt x="197" y="214"/>
                  <a:pt x="200" y="215"/>
                  <a:pt x="205" y="215"/>
                </a:cubicBezTo>
                <a:cubicBezTo>
                  <a:pt x="205" y="215"/>
                  <a:pt x="205" y="215"/>
                  <a:pt x="205" y="215"/>
                </a:cubicBezTo>
                <a:cubicBezTo>
                  <a:pt x="212" y="215"/>
                  <a:pt x="216" y="213"/>
                  <a:pt x="218" y="212"/>
                </a:cubicBezTo>
                <a:cubicBezTo>
                  <a:pt x="218" y="212"/>
                  <a:pt x="218" y="212"/>
                  <a:pt x="218" y="212"/>
                </a:cubicBezTo>
                <a:cubicBezTo>
                  <a:pt x="219" y="211"/>
                  <a:pt x="220" y="211"/>
                  <a:pt x="220" y="209"/>
                </a:cubicBezTo>
                <a:cubicBezTo>
                  <a:pt x="220" y="209"/>
                  <a:pt x="220" y="209"/>
                  <a:pt x="220" y="209"/>
                </a:cubicBezTo>
                <a:cubicBezTo>
                  <a:pt x="221" y="208"/>
                  <a:pt x="221" y="207"/>
                  <a:pt x="221" y="205"/>
                </a:cubicBezTo>
                <a:cubicBezTo>
                  <a:pt x="221" y="205"/>
                  <a:pt x="221" y="205"/>
                  <a:pt x="221" y="205"/>
                </a:cubicBezTo>
                <a:cubicBezTo>
                  <a:pt x="221" y="200"/>
                  <a:pt x="219" y="194"/>
                  <a:pt x="217" y="189"/>
                </a:cubicBezTo>
                <a:cubicBezTo>
                  <a:pt x="217" y="189"/>
                  <a:pt x="217" y="189"/>
                  <a:pt x="217" y="189"/>
                </a:cubicBezTo>
                <a:cubicBezTo>
                  <a:pt x="215" y="184"/>
                  <a:pt x="213" y="180"/>
                  <a:pt x="213" y="180"/>
                </a:cubicBezTo>
                <a:cubicBezTo>
                  <a:pt x="213" y="180"/>
                  <a:pt x="213" y="180"/>
                  <a:pt x="213" y="180"/>
                </a:cubicBezTo>
                <a:cubicBezTo>
                  <a:pt x="213" y="180"/>
                  <a:pt x="213" y="180"/>
                  <a:pt x="213" y="180"/>
                </a:cubicBezTo>
                <a:cubicBezTo>
                  <a:pt x="212" y="178"/>
                  <a:pt x="212" y="175"/>
                  <a:pt x="212" y="173"/>
                </a:cubicBezTo>
                <a:cubicBezTo>
                  <a:pt x="212" y="173"/>
                  <a:pt x="212" y="173"/>
                  <a:pt x="212" y="173"/>
                </a:cubicBezTo>
                <a:cubicBezTo>
                  <a:pt x="212" y="119"/>
                  <a:pt x="212" y="119"/>
                  <a:pt x="212" y="119"/>
                </a:cubicBezTo>
                <a:cubicBezTo>
                  <a:pt x="212" y="112"/>
                  <a:pt x="216" y="106"/>
                  <a:pt x="222" y="105"/>
                </a:cubicBezTo>
                <a:cubicBezTo>
                  <a:pt x="222" y="105"/>
                  <a:pt x="222" y="105"/>
                  <a:pt x="222" y="105"/>
                </a:cubicBezTo>
                <a:cubicBezTo>
                  <a:pt x="246" y="99"/>
                  <a:pt x="287" y="90"/>
                  <a:pt x="339" y="87"/>
                </a:cubicBezTo>
                <a:cubicBezTo>
                  <a:pt x="339" y="87"/>
                  <a:pt x="339" y="87"/>
                  <a:pt x="339" y="87"/>
                </a:cubicBezTo>
                <a:cubicBezTo>
                  <a:pt x="347" y="87"/>
                  <a:pt x="354" y="87"/>
                  <a:pt x="361" y="87"/>
                </a:cubicBezTo>
                <a:cubicBezTo>
                  <a:pt x="361" y="87"/>
                  <a:pt x="361" y="87"/>
                  <a:pt x="361" y="87"/>
                </a:cubicBezTo>
                <a:cubicBezTo>
                  <a:pt x="426" y="87"/>
                  <a:pt x="454" y="102"/>
                  <a:pt x="456" y="104"/>
                </a:cubicBezTo>
                <a:cubicBezTo>
                  <a:pt x="456" y="104"/>
                  <a:pt x="456" y="104"/>
                  <a:pt x="456" y="104"/>
                </a:cubicBezTo>
                <a:cubicBezTo>
                  <a:pt x="461" y="106"/>
                  <a:pt x="464" y="111"/>
                  <a:pt x="464" y="116"/>
                </a:cubicBezTo>
                <a:cubicBezTo>
                  <a:pt x="464" y="116"/>
                  <a:pt x="464" y="116"/>
                  <a:pt x="464" y="116"/>
                </a:cubicBezTo>
                <a:cubicBezTo>
                  <a:pt x="463" y="295"/>
                  <a:pt x="463" y="295"/>
                  <a:pt x="463" y="295"/>
                </a:cubicBezTo>
                <a:cubicBezTo>
                  <a:pt x="463" y="301"/>
                  <a:pt x="459" y="307"/>
                  <a:pt x="452" y="308"/>
                </a:cubicBezTo>
                <a:cubicBezTo>
                  <a:pt x="452" y="308"/>
                  <a:pt x="452" y="308"/>
                  <a:pt x="452" y="308"/>
                </a:cubicBezTo>
                <a:cubicBezTo>
                  <a:pt x="128" y="390"/>
                  <a:pt x="128" y="390"/>
                  <a:pt x="128" y="390"/>
                </a:cubicBezTo>
                <a:cubicBezTo>
                  <a:pt x="126" y="391"/>
                  <a:pt x="125" y="391"/>
                  <a:pt x="124" y="391"/>
                </a:cubicBezTo>
                <a:cubicBezTo>
                  <a:pt x="124" y="391"/>
                  <a:pt x="124" y="391"/>
                  <a:pt x="124" y="391"/>
                </a:cubicBezTo>
                <a:cubicBezTo>
                  <a:pt x="121" y="391"/>
                  <a:pt x="118" y="390"/>
                  <a:pt x="115" y="38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8" name="Freeform 300"/>
          <p:cNvSpPr>
            <a:spLocks/>
          </p:cNvSpPr>
          <p:nvPr userDrawn="1"/>
        </p:nvSpPr>
        <p:spPr bwMode="auto">
          <a:xfrm>
            <a:off x="1178547" y="3719966"/>
            <a:ext cx="433387" cy="433388"/>
          </a:xfrm>
          <a:custGeom>
            <a:avLst/>
            <a:gdLst/>
            <a:ahLst/>
            <a:cxnLst>
              <a:cxn ang="0">
                <a:pos x="271" y="2"/>
              </a:cxn>
              <a:cxn ang="0">
                <a:pos x="250" y="13"/>
              </a:cxn>
              <a:cxn ang="0">
                <a:pos x="106" y="157"/>
              </a:cxn>
              <a:cxn ang="0">
                <a:pos x="102" y="167"/>
              </a:cxn>
              <a:cxn ang="0">
                <a:pos x="106" y="176"/>
              </a:cxn>
              <a:cxn ang="0">
                <a:pos x="125" y="176"/>
              </a:cxn>
              <a:cxn ang="0">
                <a:pos x="269" y="31"/>
              </a:cxn>
              <a:cxn ang="0">
                <a:pos x="271" y="29"/>
              </a:cxn>
              <a:cxn ang="0">
                <a:pos x="271" y="30"/>
              </a:cxn>
              <a:cxn ang="0">
                <a:pos x="275" y="28"/>
              </a:cxn>
              <a:cxn ang="0">
                <a:pos x="329" y="63"/>
              </a:cxn>
              <a:cxn ang="0">
                <a:pos x="357" y="110"/>
              </a:cxn>
              <a:cxn ang="0">
                <a:pos x="356" y="116"/>
              </a:cxn>
              <a:cxn ang="0">
                <a:pos x="356" y="115"/>
              </a:cxn>
              <a:cxn ang="0">
                <a:pos x="355" y="116"/>
              </a:cxn>
              <a:cxn ang="0">
                <a:pos x="147" y="323"/>
              </a:cxn>
              <a:cxn ang="0">
                <a:pos x="33" y="353"/>
              </a:cxn>
              <a:cxn ang="0">
                <a:pos x="63" y="238"/>
              </a:cxn>
              <a:cxn ang="0">
                <a:pos x="91" y="218"/>
              </a:cxn>
              <a:cxn ang="0">
                <a:pos x="69" y="249"/>
              </a:cxn>
              <a:cxn ang="0">
                <a:pos x="65" y="259"/>
              </a:cxn>
              <a:cxn ang="0">
                <a:pos x="69" y="268"/>
              </a:cxn>
              <a:cxn ang="0">
                <a:pos x="88" y="268"/>
              </a:cxn>
              <a:cxn ang="0">
                <a:pos x="135" y="249"/>
              </a:cxn>
              <a:cxn ang="0">
                <a:pos x="136" y="252"/>
              </a:cxn>
              <a:cxn ang="0">
                <a:pos x="115" y="296"/>
              </a:cxn>
              <a:cxn ang="0">
                <a:pos x="111" y="305"/>
              </a:cxn>
              <a:cxn ang="0">
                <a:pos x="112" y="310"/>
              </a:cxn>
              <a:cxn ang="0">
                <a:pos x="113" y="311"/>
              </a:cxn>
              <a:cxn ang="0">
                <a:pos x="114" y="313"/>
              </a:cxn>
              <a:cxn ang="0">
                <a:pos x="114" y="313"/>
              </a:cxn>
              <a:cxn ang="0">
                <a:pos x="115" y="315"/>
              </a:cxn>
              <a:cxn ang="0">
                <a:pos x="115" y="315"/>
              </a:cxn>
              <a:cxn ang="0">
                <a:pos x="115" y="315"/>
              </a:cxn>
              <a:cxn ang="0">
                <a:pos x="117" y="316"/>
              </a:cxn>
              <a:cxn ang="0">
                <a:pos x="117" y="316"/>
              </a:cxn>
              <a:cxn ang="0">
                <a:pos x="134" y="315"/>
              </a:cxn>
              <a:cxn ang="0">
                <a:pos x="135" y="313"/>
              </a:cxn>
              <a:cxn ang="0">
                <a:pos x="136" y="313"/>
              </a:cxn>
              <a:cxn ang="0">
                <a:pos x="162" y="252"/>
              </a:cxn>
              <a:cxn ang="0">
                <a:pos x="154" y="230"/>
              </a:cxn>
              <a:cxn ang="0">
                <a:pos x="118" y="224"/>
              </a:cxn>
              <a:cxn ang="0">
                <a:pos x="122" y="206"/>
              </a:cxn>
              <a:cxn ang="0">
                <a:pos x="117" y="192"/>
              </a:cxn>
              <a:cxn ang="0">
                <a:pos x="103" y="187"/>
              </a:cxn>
              <a:cxn ang="0">
                <a:pos x="41" y="222"/>
              </a:cxn>
              <a:cxn ang="0">
                <a:pos x="38" y="227"/>
              </a:cxn>
              <a:cxn ang="0">
                <a:pos x="38" y="228"/>
              </a:cxn>
              <a:cxn ang="0">
                <a:pos x="38" y="228"/>
              </a:cxn>
              <a:cxn ang="0">
                <a:pos x="1" y="368"/>
              </a:cxn>
              <a:cxn ang="0">
                <a:pos x="5" y="381"/>
              </a:cxn>
              <a:cxn ang="0">
                <a:pos x="17" y="384"/>
              </a:cxn>
              <a:cxn ang="0">
                <a:pos x="157" y="348"/>
              </a:cxn>
              <a:cxn ang="0">
                <a:pos x="163" y="344"/>
              </a:cxn>
              <a:cxn ang="0">
                <a:pos x="373" y="136"/>
              </a:cxn>
              <a:cxn ang="0">
                <a:pos x="384" y="114"/>
              </a:cxn>
              <a:cxn ang="0">
                <a:pos x="384" y="110"/>
              </a:cxn>
              <a:cxn ang="0">
                <a:pos x="348" y="44"/>
              </a:cxn>
              <a:cxn ang="0">
                <a:pos x="348" y="44"/>
              </a:cxn>
              <a:cxn ang="0">
                <a:pos x="271" y="2"/>
              </a:cxn>
            </a:cxnLst>
            <a:rect l="0" t="0" r="r" b="b"/>
            <a:pathLst>
              <a:path w="384" h="386">
                <a:moveTo>
                  <a:pt x="271" y="2"/>
                </a:moveTo>
                <a:cubicBezTo>
                  <a:pt x="259" y="3"/>
                  <a:pt x="253" y="10"/>
                  <a:pt x="250" y="13"/>
                </a:cubicBezTo>
                <a:cubicBezTo>
                  <a:pt x="249" y="14"/>
                  <a:pt x="106" y="157"/>
                  <a:pt x="106" y="157"/>
                </a:cubicBezTo>
                <a:cubicBezTo>
                  <a:pt x="103" y="160"/>
                  <a:pt x="102" y="163"/>
                  <a:pt x="102" y="167"/>
                </a:cubicBezTo>
                <a:cubicBezTo>
                  <a:pt x="102" y="170"/>
                  <a:pt x="103" y="173"/>
                  <a:pt x="106" y="176"/>
                </a:cubicBezTo>
                <a:cubicBezTo>
                  <a:pt x="111" y="181"/>
                  <a:pt x="120" y="181"/>
                  <a:pt x="125" y="176"/>
                </a:cubicBezTo>
                <a:cubicBezTo>
                  <a:pt x="269" y="31"/>
                  <a:pt x="269" y="31"/>
                  <a:pt x="269" y="31"/>
                </a:cubicBezTo>
                <a:cubicBezTo>
                  <a:pt x="270" y="31"/>
                  <a:pt x="271" y="30"/>
                  <a:pt x="271" y="29"/>
                </a:cubicBezTo>
                <a:cubicBezTo>
                  <a:pt x="271" y="30"/>
                  <a:pt x="271" y="30"/>
                  <a:pt x="271" y="30"/>
                </a:cubicBezTo>
                <a:cubicBezTo>
                  <a:pt x="271" y="30"/>
                  <a:pt x="272" y="28"/>
                  <a:pt x="275" y="28"/>
                </a:cubicBezTo>
                <a:cubicBezTo>
                  <a:pt x="281" y="28"/>
                  <a:pt x="298" y="32"/>
                  <a:pt x="329" y="63"/>
                </a:cubicBezTo>
                <a:cubicBezTo>
                  <a:pt x="352" y="87"/>
                  <a:pt x="357" y="102"/>
                  <a:pt x="357" y="110"/>
                </a:cubicBezTo>
                <a:cubicBezTo>
                  <a:pt x="357" y="113"/>
                  <a:pt x="357" y="115"/>
                  <a:pt x="356" y="116"/>
                </a:cubicBezTo>
                <a:cubicBezTo>
                  <a:pt x="356" y="115"/>
                  <a:pt x="356" y="115"/>
                  <a:pt x="356" y="115"/>
                </a:cubicBezTo>
                <a:cubicBezTo>
                  <a:pt x="356" y="115"/>
                  <a:pt x="355" y="116"/>
                  <a:pt x="355" y="116"/>
                </a:cubicBezTo>
                <a:cubicBezTo>
                  <a:pt x="355" y="116"/>
                  <a:pt x="152" y="318"/>
                  <a:pt x="147" y="323"/>
                </a:cubicBezTo>
                <a:cubicBezTo>
                  <a:pt x="142" y="324"/>
                  <a:pt x="63" y="345"/>
                  <a:pt x="33" y="353"/>
                </a:cubicBezTo>
                <a:cubicBezTo>
                  <a:pt x="41" y="322"/>
                  <a:pt x="61" y="243"/>
                  <a:pt x="63" y="238"/>
                </a:cubicBezTo>
                <a:cubicBezTo>
                  <a:pt x="71" y="231"/>
                  <a:pt x="82" y="223"/>
                  <a:pt x="91" y="218"/>
                </a:cubicBezTo>
                <a:cubicBezTo>
                  <a:pt x="86" y="228"/>
                  <a:pt x="77" y="241"/>
                  <a:pt x="69" y="249"/>
                </a:cubicBezTo>
                <a:cubicBezTo>
                  <a:pt x="66" y="252"/>
                  <a:pt x="65" y="255"/>
                  <a:pt x="65" y="259"/>
                </a:cubicBezTo>
                <a:cubicBezTo>
                  <a:pt x="65" y="262"/>
                  <a:pt x="66" y="266"/>
                  <a:pt x="69" y="268"/>
                </a:cubicBezTo>
                <a:cubicBezTo>
                  <a:pt x="74" y="274"/>
                  <a:pt x="83" y="274"/>
                  <a:pt x="88" y="268"/>
                </a:cubicBezTo>
                <a:cubicBezTo>
                  <a:pt x="101" y="255"/>
                  <a:pt x="130" y="246"/>
                  <a:pt x="135" y="249"/>
                </a:cubicBezTo>
                <a:cubicBezTo>
                  <a:pt x="136" y="250"/>
                  <a:pt x="136" y="251"/>
                  <a:pt x="136" y="252"/>
                </a:cubicBezTo>
                <a:cubicBezTo>
                  <a:pt x="136" y="261"/>
                  <a:pt x="127" y="284"/>
                  <a:pt x="115" y="296"/>
                </a:cubicBezTo>
                <a:cubicBezTo>
                  <a:pt x="113" y="298"/>
                  <a:pt x="111" y="302"/>
                  <a:pt x="111" y="305"/>
                </a:cubicBezTo>
                <a:cubicBezTo>
                  <a:pt x="111" y="307"/>
                  <a:pt x="112" y="309"/>
                  <a:pt x="112" y="310"/>
                </a:cubicBezTo>
                <a:cubicBezTo>
                  <a:pt x="112" y="310"/>
                  <a:pt x="113" y="310"/>
                  <a:pt x="113" y="311"/>
                </a:cubicBezTo>
                <a:cubicBezTo>
                  <a:pt x="113" y="311"/>
                  <a:pt x="113" y="312"/>
                  <a:pt x="114" y="313"/>
                </a:cubicBezTo>
                <a:cubicBezTo>
                  <a:pt x="114" y="313"/>
                  <a:pt x="114" y="313"/>
                  <a:pt x="114" y="313"/>
                </a:cubicBezTo>
                <a:cubicBezTo>
                  <a:pt x="115" y="314"/>
                  <a:pt x="115" y="314"/>
                  <a:pt x="115" y="315"/>
                </a:cubicBezTo>
                <a:cubicBezTo>
                  <a:pt x="115" y="315"/>
                  <a:pt x="115" y="315"/>
                  <a:pt x="115" y="315"/>
                </a:cubicBezTo>
                <a:cubicBezTo>
                  <a:pt x="115" y="315"/>
                  <a:pt x="115" y="315"/>
                  <a:pt x="115" y="315"/>
                </a:cubicBezTo>
                <a:cubicBezTo>
                  <a:pt x="116" y="315"/>
                  <a:pt x="116" y="316"/>
                  <a:pt x="117" y="316"/>
                </a:cubicBezTo>
                <a:cubicBezTo>
                  <a:pt x="117" y="316"/>
                  <a:pt x="117" y="316"/>
                  <a:pt x="117" y="316"/>
                </a:cubicBezTo>
                <a:cubicBezTo>
                  <a:pt x="123" y="320"/>
                  <a:pt x="130" y="319"/>
                  <a:pt x="134" y="315"/>
                </a:cubicBezTo>
                <a:cubicBezTo>
                  <a:pt x="135" y="313"/>
                  <a:pt x="135" y="313"/>
                  <a:pt x="135" y="313"/>
                </a:cubicBezTo>
                <a:cubicBezTo>
                  <a:pt x="136" y="313"/>
                  <a:pt x="136" y="313"/>
                  <a:pt x="136" y="313"/>
                </a:cubicBezTo>
                <a:cubicBezTo>
                  <a:pt x="147" y="300"/>
                  <a:pt x="162" y="274"/>
                  <a:pt x="162" y="252"/>
                </a:cubicBezTo>
                <a:cubicBezTo>
                  <a:pt x="162" y="243"/>
                  <a:pt x="160" y="236"/>
                  <a:pt x="154" y="230"/>
                </a:cubicBezTo>
                <a:cubicBezTo>
                  <a:pt x="145" y="221"/>
                  <a:pt x="132" y="220"/>
                  <a:pt x="118" y="224"/>
                </a:cubicBezTo>
                <a:cubicBezTo>
                  <a:pt x="121" y="218"/>
                  <a:pt x="122" y="212"/>
                  <a:pt x="122" y="206"/>
                </a:cubicBezTo>
                <a:cubicBezTo>
                  <a:pt x="122" y="201"/>
                  <a:pt x="121" y="196"/>
                  <a:pt x="117" y="192"/>
                </a:cubicBezTo>
                <a:cubicBezTo>
                  <a:pt x="114" y="190"/>
                  <a:pt x="110" y="187"/>
                  <a:pt x="103" y="187"/>
                </a:cubicBezTo>
                <a:cubicBezTo>
                  <a:pt x="84" y="187"/>
                  <a:pt x="53" y="210"/>
                  <a:pt x="41" y="222"/>
                </a:cubicBezTo>
                <a:cubicBezTo>
                  <a:pt x="40" y="223"/>
                  <a:pt x="39" y="225"/>
                  <a:pt x="38" y="227"/>
                </a:cubicBezTo>
                <a:cubicBezTo>
                  <a:pt x="38" y="228"/>
                  <a:pt x="38" y="228"/>
                  <a:pt x="38" y="228"/>
                </a:cubicBezTo>
                <a:cubicBezTo>
                  <a:pt x="38" y="228"/>
                  <a:pt x="38" y="228"/>
                  <a:pt x="38" y="228"/>
                </a:cubicBezTo>
                <a:cubicBezTo>
                  <a:pt x="1" y="368"/>
                  <a:pt x="1" y="368"/>
                  <a:pt x="1" y="368"/>
                </a:cubicBezTo>
                <a:cubicBezTo>
                  <a:pt x="0" y="373"/>
                  <a:pt x="1" y="378"/>
                  <a:pt x="5" y="381"/>
                </a:cubicBezTo>
                <a:cubicBezTo>
                  <a:pt x="8" y="384"/>
                  <a:pt x="13" y="386"/>
                  <a:pt x="17" y="384"/>
                </a:cubicBezTo>
                <a:cubicBezTo>
                  <a:pt x="157" y="348"/>
                  <a:pt x="157" y="348"/>
                  <a:pt x="157" y="348"/>
                </a:cubicBezTo>
                <a:cubicBezTo>
                  <a:pt x="160" y="347"/>
                  <a:pt x="162" y="346"/>
                  <a:pt x="163" y="344"/>
                </a:cubicBezTo>
                <a:cubicBezTo>
                  <a:pt x="163" y="344"/>
                  <a:pt x="372" y="136"/>
                  <a:pt x="373" y="136"/>
                </a:cubicBezTo>
                <a:cubicBezTo>
                  <a:pt x="376" y="133"/>
                  <a:pt x="383" y="126"/>
                  <a:pt x="384" y="114"/>
                </a:cubicBezTo>
                <a:cubicBezTo>
                  <a:pt x="384" y="112"/>
                  <a:pt x="384" y="111"/>
                  <a:pt x="384" y="110"/>
                </a:cubicBezTo>
                <a:cubicBezTo>
                  <a:pt x="384" y="91"/>
                  <a:pt x="372" y="69"/>
                  <a:pt x="348" y="44"/>
                </a:cubicBezTo>
                <a:cubicBezTo>
                  <a:pt x="348" y="44"/>
                  <a:pt x="348" y="44"/>
                  <a:pt x="348" y="44"/>
                </a:cubicBezTo>
                <a:cubicBezTo>
                  <a:pt x="318" y="14"/>
                  <a:pt x="292" y="0"/>
                  <a:pt x="271" y="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9" name="Freeform 179"/>
          <p:cNvSpPr>
            <a:spLocks/>
          </p:cNvSpPr>
          <p:nvPr userDrawn="1"/>
        </p:nvSpPr>
        <p:spPr bwMode="auto">
          <a:xfrm>
            <a:off x="2545294" y="1160077"/>
            <a:ext cx="520700" cy="523875"/>
          </a:xfrm>
          <a:custGeom>
            <a:avLst/>
            <a:gdLst/>
            <a:ahLst/>
            <a:cxnLst>
              <a:cxn ang="0">
                <a:pos x="12" y="165"/>
              </a:cxn>
              <a:cxn ang="0">
                <a:pos x="2" y="213"/>
              </a:cxn>
              <a:cxn ang="0">
                <a:pos x="64" y="219"/>
              </a:cxn>
              <a:cxn ang="0">
                <a:pos x="64" y="215"/>
              </a:cxn>
              <a:cxn ang="0">
                <a:pos x="107" y="105"/>
              </a:cxn>
              <a:cxn ang="0">
                <a:pos x="333" y="164"/>
              </a:cxn>
              <a:cxn ang="0">
                <a:pos x="314" y="244"/>
              </a:cxn>
              <a:cxn ang="0">
                <a:pos x="356" y="313"/>
              </a:cxn>
              <a:cxn ang="0">
                <a:pos x="350" y="296"/>
              </a:cxn>
              <a:cxn ang="0">
                <a:pos x="342" y="229"/>
              </a:cxn>
              <a:cxn ang="0">
                <a:pos x="361" y="166"/>
              </a:cxn>
              <a:cxn ang="0">
                <a:pos x="202" y="39"/>
              </a:cxn>
              <a:cxn ang="0">
                <a:pos x="38" y="211"/>
              </a:cxn>
              <a:cxn ang="0">
                <a:pos x="37" y="218"/>
              </a:cxn>
              <a:cxn ang="0">
                <a:pos x="37" y="219"/>
              </a:cxn>
              <a:cxn ang="0">
                <a:pos x="28" y="208"/>
              </a:cxn>
              <a:cxn ang="0">
                <a:pos x="36" y="179"/>
              </a:cxn>
              <a:cxn ang="0">
                <a:pos x="38" y="174"/>
              </a:cxn>
              <a:cxn ang="0">
                <a:pos x="209" y="28"/>
              </a:cxn>
              <a:cxn ang="0">
                <a:pos x="381" y="166"/>
              </a:cxn>
              <a:cxn ang="0">
                <a:pos x="387" y="173"/>
              </a:cxn>
              <a:cxn ang="0">
                <a:pos x="418" y="189"/>
              </a:cxn>
              <a:cxn ang="0">
                <a:pos x="387" y="308"/>
              </a:cxn>
              <a:cxn ang="0">
                <a:pos x="372" y="309"/>
              </a:cxn>
              <a:cxn ang="0">
                <a:pos x="365" y="323"/>
              </a:cxn>
              <a:cxn ang="0">
                <a:pos x="274" y="420"/>
              </a:cxn>
              <a:cxn ang="0">
                <a:pos x="237" y="423"/>
              </a:cxn>
              <a:cxn ang="0">
                <a:pos x="227" y="431"/>
              </a:cxn>
              <a:cxn ang="0">
                <a:pos x="206" y="435"/>
              </a:cxn>
              <a:cxn ang="0">
                <a:pos x="208" y="423"/>
              </a:cxn>
              <a:cxn ang="0">
                <a:pos x="233" y="417"/>
              </a:cxn>
              <a:cxn ang="0">
                <a:pos x="211" y="396"/>
              </a:cxn>
              <a:cxn ang="0">
                <a:pos x="161" y="422"/>
              </a:cxn>
              <a:cxn ang="0">
                <a:pos x="246" y="449"/>
              </a:cxn>
              <a:cxn ang="0">
                <a:pos x="389" y="334"/>
              </a:cxn>
              <a:cxn ang="0">
                <a:pos x="461" y="246"/>
              </a:cxn>
              <a:cxn ang="0">
                <a:pos x="438" y="171"/>
              </a:cxn>
              <a:cxn ang="0">
                <a:pos x="333" y="46"/>
              </a:cxn>
              <a:cxn ang="0">
                <a:pos x="81" y="48"/>
              </a:cxn>
            </a:cxnLst>
            <a:rect l="0" t="0" r="r" b="b"/>
            <a:pathLst>
              <a:path w="461" h="464">
                <a:moveTo>
                  <a:pt x="81" y="48"/>
                </a:moveTo>
                <a:cubicBezTo>
                  <a:pt x="46" y="78"/>
                  <a:pt x="22" y="119"/>
                  <a:pt x="12" y="165"/>
                </a:cubicBezTo>
                <a:cubicBezTo>
                  <a:pt x="6" y="171"/>
                  <a:pt x="0" y="181"/>
                  <a:pt x="0" y="197"/>
                </a:cubicBezTo>
                <a:cubicBezTo>
                  <a:pt x="0" y="202"/>
                  <a:pt x="0" y="207"/>
                  <a:pt x="2" y="213"/>
                </a:cubicBezTo>
                <a:cubicBezTo>
                  <a:pt x="8" y="243"/>
                  <a:pt x="26" y="247"/>
                  <a:pt x="36" y="246"/>
                </a:cubicBezTo>
                <a:cubicBezTo>
                  <a:pt x="49" y="246"/>
                  <a:pt x="63" y="237"/>
                  <a:pt x="64" y="219"/>
                </a:cubicBezTo>
                <a:cubicBezTo>
                  <a:pt x="64" y="220"/>
                  <a:pt x="64" y="220"/>
                  <a:pt x="64" y="220"/>
                </a:cubicBezTo>
                <a:cubicBezTo>
                  <a:pt x="64" y="215"/>
                  <a:pt x="64" y="215"/>
                  <a:pt x="64" y="215"/>
                </a:cubicBezTo>
                <a:cubicBezTo>
                  <a:pt x="64" y="214"/>
                  <a:pt x="64" y="214"/>
                  <a:pt x="64" y="213"/>
                </a:cubicBezTo>
                <a:cubicBezTo>
                  <a:pt x="64" y="172"/>
                  <a:pt x="80" y="132"/>
                  <a:pt x="107" y="105"/>
                </a:cubicBezTo>
                <a:cubicBezTo>
                  <a:pt x="133" y="79"/>
                  <a:pt x="166" y="65"/>
                  <a:pt x="201" y="66"/>
                </a:cubicBezTo>
                <a:cubicBezTo>
                  <a:pt x="259" y="67"/>
                  <a:pt x="311" y="106"/>
                  <a:pt x="333" y="164"/>
                </a:cubicBezTo>
                <a:cubicBezTo>
                  <a:pt x="322" y="179"/>
                  <a:pt x="317" y="199"/>
                  <a:pt x="315" y="228"/>
                </a:cubicBezTo>
                <a:cubicBezTo>
                  <a:pt x="315" y="231"/>
                  <a:pt x="314" y="236"/>
                  <a:pt x="314" y="244"/>
                </a:cubicBezTo>
                <a:cubicBezTo>
                  <a:pt x="314" y="269"/>
                  <a:pt x="318" y="311"/>
                  <a:pt x="339" y="320"/>
                </a:cubicBezTo>
                <a:cubicBezTo>
                  <a:pt x="345" y="323"/>
                  <a:pt x="353" y="320"/>
                  <a:pt x="356" y="313"/>
                </a:cubicBezTo>
                <a:cubicBezTo>
                  <a:pt x="359" y="306"/>
                  <a:pt x="356" y="299"/>
                  <a:pt x="349" y="296"/>
                </a:cubicBezTo>
                <a:cubicBezTo>
                  <a:pt x="350" y="296"/>
                  <a:pt x="350" y="296"/>
                  <a:pt x="350" y="296"/>
                </a:cubicBezTo>
                <a:cubicBezTo>
                  <a:pt x="347" y="293"/>
                  <a:pt x="341" y="274"/>
                  <a:pt x="341" y="244"/>
                </a:cubicBezTo>
                <a:cubicBezTo>
                  <a:pt x="341" y="240"/>
                  <a:pt x="341" y="235"/>
                  <a:pt x="342" y="229"/>
                </a:cubicBezTo>
                <a:cubicBezTo>
                  <a:pt x="343" y="203"/>
                  <a:pt x="349" y="185"/>
                  <a:pt x="358" y="175"/>
                </a:cubicBezTo>
                <a:cubicBezTo>
                  <a:pt x="360" y="172"/>
                  <a:pt x="361" y="169"/>
                  <a:pt x="361" y="166"/>
                </a:cubicBezTo>
                <a:cubicBezTo>
                  <a:pt x="361" y="164"/>
                  <a:pt x="361" y="162"/>
                  <a:pt x="360" y="160"/>
                </a:cubicBezTo>
                <a:cubicBezTo>
                  <a:pt x="336" y="89"/>
                  <a:pt x="273" y="40"/>
                  <a:pt x="202" y="39"/>
                </a:cubicBezTo>
                <a:cubicBezTo>
                  <a:pt x="159" y="39"/>
                  <a:pt x="119" y="55"/>
                  <a:pt x="88" y="86"/>
                </a:cubicBezTo>
                <a:cubicBezTo>
                  <a:pt x="56" y="118"/>
                  <a:pt x="38" y="164"/>
                  <a:pt x="38" y="211"/>
                </a:cubicBezTo>
                <a:cubicBezTo>
                  <a:pt x="38" y="212"/>
                  <a:pt x="38" y="212"/>
                  <a:pt x="38" y="213"/>
                </a:cubicBezTo>
                <a:cubicBezTo>
                  <a:pt x="38" y="214"/>
                  <a:pt x="37" y="218"/>
                  <a:pt x="37" y="218"/>
                </a:cubicBezTo>
                <a:cubicBezTo>
                  <a:pt x="37" y="218"/>
                  <a:pt x="37" y="218"/>
                  <a:pt x="37" y="218"/>
                </a:cubicBezTo>
                <a:cubicBezTo>
                  <a:pt x="37" y="219"/>
                  <a:pt x="37" y="219"/>
                  <a:pt x="37" y="219"/>
                </a:cubicBezTo>
                <a:cubicBezTo>
                  <a:pt x="37" y="219"/>
                  <a:pt x="36" y="220"/>
                  <a:pt x="36" y="220"/>
                </a:cubicBezTo>
                <a:cubicBezTo>
                  <a:pt x="34" y="220"/>
                  <a:pt x="30" y="220"/>
                  <a:pt x="28" y="208"/>
                </a:cubicBezTo>
                <a:cubicBezTo>
                  <a:pt x="26" y="201"/>
                  <a:pt x="25" y="189"/>
                  <a:pt x="31" y="184"/>
                </a:cubicBezTo>
                <a:cubicBezTo>
                  <a:pt x="33" y="183"/>
                  <a:pt x="35" y="181"/>
                  <a:pt x="36" y="179"/>
                </a:cubicBezTo>
                <a:cubicBezTo>
                  <a:pt x="37" y="178"/>
                  <a:pt x="37" y="178"/>
                  <a:pt x="37" y="178"/>
                </a:cubicBezTo>
                <a:cubicBezTo>
                  <a:pt x="37" y="177"/>
                  <a:pt x="37" y="175"/>
                  <a:pt x="38" y="174"/>
                </a:cubicBezTo>
                <a:cubicBezTo>
                  <a:pt x="46" y="133"/>
                  <a:pt x="67" y="95"/>
                  <a:pt x="98" y="68"/>
                </a:cubicBezTo>
                <a:cubicBezTo>
                  <a:pt x="129" y="41"/>
                  <a:pt x="168" y="27"/>
                  <a:pt x="209" y="28"/>
                </a:cubicBezTo>
                <a:cubicBezTo>
                  <a:pt x="248" y="28"/>
                  <a:pt x="285" y="42"/>
                  <a:pt x="316" y="67"/>
                </a:cubicBezTo>
                <a:cubicBezTo>
                  <a:pt x="347" y="92"/>
                  <a:pt x="370" y="127"/>
                  <a:pt x="381" y="166"/>
                </a:cubicBezTo>
                <a:cubicBezTo>
                  <a:pt x="382" y="168"/>
                  <a:pt x="383" y="170"/>
                  <a:pt x="385" y="172"/>
                </a:cubicBezTo>
                <a:cubicBezTo>
                  <a:pt x="387" y="173"/>
                  <a:pt x="387" y="173"/>
                  <a:pt x="387" y="173"/>
                </a:cubicBezTo>
                <a:cubicBezTo>
                  <a:pt x="389" y="175"/>
                  <a:pt x="392" y="177"/>
                  <a:pt x="395" y="177"/>
                </a:cubicBezTo>
                <a:cubicBezTo>
                  <a:pt x="405" y="178"/>
                  <a:pt x="413" y="184"/>
                  <a:pt x="418" y="189"/>
                </a:cubicBezTo>
                <a:cubicBezTo>
                  <a:pt x="429" y="202"/>
                  <a:pt x="435" y="223"/>
                  <a:pt x="434" y="245"/>
                </a:cubicBezTo>
                <a:cubicBezTo>
                  <a:pt x="432" y="280"/>
                  <a:pt x="410" y="309"/>
                  <a:pt x="387" y="308"/>
                </a:cubicBezTo>
                <a:cubicBezTo>
                  <a:pt x="385" y="308"/>
                  <a:pt x="384" y="307"/>
                  <a:pt x="382" y="307"/>
                </a:cubicBezTo>
                <a:cubicBezTo>
                  <a:pt x="379" y="306"/>
                  <a:pt x="375" y="307"/>
                  <a:pt x="372" y="309"/>
                </a:cubicBezTo>
                <a:cubicBezTo>
                  <a:pt x="369" y="310"/>
                  <a:pt x="367" y="313"/>
                  <a:pt x="366" y="317"/>
                </a:cubicBezTo>
                <a:cubicBezTo>
                  <a:pt x="365" y="323"/>
                  <a:pt x="365" y="323"/>
                  <a:pt x="365" y="323"/>
                </a:cubicBezTo>
                <a:cubicBezTo>
                  <a:pt x="365" y="323"/>
                  <a:pt x="365" y="323"/>
                  <a:pt x="365" y="323"/>
                </a:cubicBezTo>
                <a:cubicBezTo>
                  <a:pt x="354" y="373"/>
                  <a:pt x="320" y="409"/>
                  <a:pt x="274" y="420"/>
                </a:cubicBezTo>
                <a:cubicBezTo>
                  <a:pt x="264" y="422"/>
                  <a:pt x="253" y="423"/>
                  <a:pt x="242" y="422"/>
                </a:cubicBezTo>
                <a:cubicBezTo>
                  <a:pt x="240" y="422"/>
                  <a:pt x="239" y="423"/>
                  <a:pt x="237" y="423"/>
                </a:cubicBezTo>
                <a:cubicBezTo>
                  <a:pt x="234" y="424"/>
                  <a:pt x="234" y="424"/>
                  <a:pt x="234" y="424"/>
                </a:cubicBezTo>
                <a:cubicBezTo>
                  <a:pt x="231" y="426"/>
                  <a:pt x="228" y="428"/>
                  <a:pt x="227" y="431"/>
                </a:cubicBezTo>
                <a:cubicBezTo>
                  <a:pt x="227" y="431"/>
                  <a:pt x="227" y="431"/>
                  <a:pt x="227" y="431"/>
                </a:cubicBezTo>
                <a:cubicBezTo>
                  <a:pt x="225" y="433"/>
                  <a:pt x="218" y="436"/>
                  <a:pt x="206" y="435"/>
                </a:cubicBezTo>
                <a:cubicBezTo>
                  <a:pt x="195" y="433"/>
                  <a:pt x="189" y="428"/>
                  <a:pt x="188" y="426"/>
                </a:cubicBezTo>
                <a:cubicBezTo>
                  <a:pt x="190" y="424"/>
                  <a:pt x="197" y="421"/>
                  <a:pt x="208" y="423"/>
                </a:cubicBezTo>
                <a:cubicBezTo>
                  <a:pt x="211" y="423"/>
                  <a:pt x="214" y="424"/>
                  <a:pt x="216" y="425"/>
                </a:cubicBezTo>
                <a:cubicBezTo>
                  <a:pt x="223" y="427"/>
                  <a:pt x="231" y="424"/>
                  <a:pt x="233" y="417"/>
                </a:cubicBezTo>
                <a:cubicBezTo>
                  <a:pt x="236" y="410"/>
                  <a:pt x="233" y="402"/>
                  <a:pt x="226" y="400"/>
                </a:cubicBezTo>
                <a:cubicBezTo>
                  <a:pt x="221" y="398"/>
                  <a:pt x="216" y="397"/>
                  <a:pt x="211" y="396"/>
                </a:cubicBezTo>
                <a:cubicBezTo>
                  <a:pt x="196" y="394"/>
                  <a:pt x="182" y="397"/>
                  <a:pt x="172" y="404"/>
                </a:cubicBezTo>
                <a:cubicBezTo>
                  <a:pt x="166" y="409"/>
                  <a:pt x="162" y="415"/>
                  <a:pt x="161" y="422"/>
                </a:cubicBezTo>
                <a:cubicBezTo>
                  <a:pt x="159" y="441"/>
                  <a:pt x="177" y="458"/>
                  <a:pt x="203" y="461"/>
                </a:cubicBezTo>
                <a:cubicBezTo>
                  <a:pt x="221" y="464"/>
                  <a:pt x="237" y="459"/>
                  <a:pt x="246" y="449"/>
                </a:cubicBezTo>
                <a:cubicBezTo>
                  <a:pt x="257" y="449"/>
                  <a:pt x="269" y="448"/>
                  <a:pt x="280" y="446"/>
                </a:cubicBezTo>
                <a:cubicBezTo>
                  <a:pt x="335" y="433"/>
                  <a:pt x="376" y="392"/>
                  <a:pt x="389" y="334"/>
                </a:cubicBezTo>
                <a:cubicBezTo>
                  <a:pt x="407" y="334"/>
                  <a:pt x="424" y="325"/>
                  <a:pt x="438" y="309"/>
                </a:cubicBezTo>
                <a:cubicBezTo>
                  <a:pt x="451" y="292"/>
                  <a:pt x="459" y="270"/>
                  <a:pt x="461" y="246"/>
                </a:cubicBezTo>
                <a:cubicBezTo>
                  <a:pt x="461" y="244"/>
                  <a:pt x="461" y="241"/>
                  <a:pt x="461" y="239"/>
                </a:cubicBezTo>
                <a:cubicBezTo>
                  <a:pt x="461" y="212"/>
                  <a:pt x="453" y="188"/>
                  <a:pt x="438" y="171"/>
                </a:cubicBezTo>
                <a:cubicBezTo>
                  <a:pt x="428" y="161"/>
                  <a:pt x="417" y="154"/>
                  <a:pt x="405" y="151"/>
                </a:cubicBezTo>
                <a:cubicBezTo>
                  <a:pt x="391" y="110"/>
                  <a:pt x="366" y="73"/>
                  <a:pt x="333" y="46"/>
                </a:cubicBezTo>
                <a:cubicBezTo>
                  <a:pt x="297" y="17"/>
                  <a:pt x="254" y="1"/>
                  <a:pt x="209" y="1"/>
                </a:cubicBezTo>
                <a:cubicBezTo>
                  <a:pt x="162" y="0"/>
                  <a:pt x="117" y="17"/>
                  <a:pt x="81" y="4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0" name="Freeform 221"/>
          <p:cNvSpPr>
            <a:spLocks/>
          </p:cNvSpPr>
          <p:nvPr userDrawn="1"/>
        </p:nvSpPr>
        <p:spPr bwMode="auto">
          <a:xfrm>
            <a:off x="2561958" y="4446885"/>
            <a:ext cx="487364" cy="428625"/>
          </a:xfrm>
          <a:custGeom>
            <a:avLst/>
            <a:gdLst/>
            <a:ahLst/>
            <a:cxnLst>
              <a:cxn ang="0">
                <a:pos x="240" y="0"/>
              </a:cxn>
              <a:cxn ang="0">
                <a:pos x="61" y="126"/>
              </a:cxn>
              <a:cxn ang="0">
                <a:pos x="59" y="133"/>
              </a:cxn>
              <a:cxn ang="0">
                <a:pos x="67" y="146"/>
              </a:cxn>
              <a:cxn ang="0">
                <a:pos x="107" y="158"/>
              </a:cxn>
              <a:cxn ang="0">
                <a:pos x="55" y="178"/>
              </a:cxn>
              <a:cxn ang="0">
                <a:pos x="26" y="105"/>
              </a:cxn>
              <a:cxn ang="0">
                <a:pos x="8" y="95"/>
              </a:cxn>
              <a:cxn ang="0">
                <a:pos x="3" y="113"/>
              </a:cxn>
              <a:cxn ang="0">
                <a:pos x="3" y="113"/>
              </a:cxn>
              <a:cxn ang="0">
                <a:pos x="37" y="199"/>
              </a:cxn>
              <a:cxn ang="0">
                <a:pos x="52" y="203"/>
              </a:cxn>
              <a:cxn ang="0">
                <a:pos x="141" y="167"/>
              </a:cxn>
              <a:cxn ang="0">
                <a:pos x="149" y="156"/>
              </a:cxn>
              <a:cxn ang="0">
                <a:pos x="140" y="144"/>
              </a:cxn>
              <a:cxn ang="0">
                <a:pos x="85" y="127"/>
              </a:cxn>
              <a:cxn ang="0">
                <a:pos x="85" y="126"/>
              </a:cxn>
              <a:cxn ang="0">
                <a:pos x="122" y="72"/>
              </a:cxn>
              <a:cxn ang="0">
                <a:pos x="240" y="23"/>
              </a:cxn>
              <a:cxn ang="0">
                <a:pos x="359" y="72"/>
              </a:cxn>
              <a:cxn ang="0">
                <a:pos x="408" y="191"/>
              </a:cxn>
              <a:cxn ang="0">
                <a:pos x="359" y="309"/>
              </a:cxn>
              <a:cxn ang="0">
                <a:pos x="240" y="358"/>
              </a:cxn>
              <a:cxn ang="0">
                <a:pos x="122" y="309"/>
              </a:cxn>
              <a:cxn ang="0">
                <a:pos x="92" y="268"/>
              </a:cxn>
              <a:cxn ang="0">
                <a:pos x="198" y="224"/>
              </a:cxn>
              <a:cxn ang="0">
                <a:pos x="199" y="224"/>
              </a:cxn>
              <a:cxn ang="0">
                <a:pos x="207" y="209"/>
              </a:cxn>
              <a:cxn ang="0">
                <a:pos x="203" y="192"/>
              </a:cxn>
              <a:cxn ang="0">
                <a:pos x="241" y="154"/>
              </a:cxn>
              <a:cxn ang="0">
                <a:pos x="278" y="192"/>
              </a:cxn>
              <a:cxn ang="0">
                <a:pos x="241" y="230"/>
              </a:cxn>
              <a:cxn ang="0">
                <a:pos x="235" y="229"/>
              </a:cxn>
              <a:cxn ang="0">
                <a:pos x="233" y="229"/>
              </a:cxn>
              <a:cxn ang="0">
                <a:pos x="233" y="229"/>
              </a:cxn>
              <a:cxn ang="0">
                <a:pos x="231" y="229"/>
              </a:cxn>
              <a:cxn ang="0">
                <a:pos x="219" y="239"/>
              </a:cxn>
              <a:cxn ang="0">
                <a:pos x="219" y="240"/>
              </a:cxn>
              <a:cxn ang="0">
                <a:pos x="230" y="253"/>
              </a:cxn>
              <a:cxn ang="0">
                <a:pos x="230" y="253"/>
              </a:cxn>
              <a:cxn ang="0">
                <a:pos x="230" y="253"/>
              </a:cxn>
              <a:cxn ang="0">
                <a:pos x="241" y="254"/>
              </a:cxn>
              <a:cxn ang="0">
                <a:pos x="302" y="192"/>
              </a:cxn>
              <a:cxn ang="0">
                <a:pos x="241" y="130"/>
              </a:cxn>
              <a:cxn ang="0">
                <a:pos x="179" y="192"/>
              </a:cxn>
              <a:cxn ang="0">
                <a:pos x="180" y="206"/>
              </a:cxn>
              <a:cxn ang="0">
                <a:pos x="74" y="250"/>
              </a:cxn>
              <a:cxn ang="0">
                <a:pos x="66" y="268"/>
              </a:cxn>
              <a:cxn ang="0">
                <a:pos x="71" y="277"/>
              </a:cxn>
              <a:cxn ang="0">
                <a:pos x="240" y="381"/>
              </a:cxn>
              <a:cxn ang="0">
                <a:pos x="431" y="191"/>
              </a:cxn>
              <a:cxn ang="0">
                <a:pos x="240" y="0"/>
              </a:cxn>
            </a:cxnLst>
            <a:rect l="0" t="0" r="r" b="b"/>
            <a:pathLst>
              <a:path w="431" h="381">
                <a:moveTo>
                  <a:pt x="240" y="0"/>
                </a:moveTo>
                <a:cubicBezTo>
                  <a:pt x="158" y="0"/>
                  <a:pt x="88" y="53"/>
                  <a:pt x="61" y="126"/>
                </a:cubicBezTo>
                <a:cubicBezTo>
                  <a:pt x="60" y="129"/>
                  <a:pt x="60" y="130"/>
                  <a:pt x="59" y="133"/>
                </a:cubicBezTo>
                <a:cubicBezTo>
                  <a:pt x="57" y="140"/>
                  <a:pt x="60" y="144"/>
                  <a:pt x="67" y="146"/>
                </a:cubicBezTo>
                <a:cubicBezTo>
                  <a:pt x="107" y="158"/>
                  <a:pt x="107" y="158"/>
                  <a:pt x="107" y="158"/>
                </a:cubicBezTo>
                <a:cubicBezTo>
                  <a:pt x="55" y="178"/>
                  <a:pt x="55" y="178"/>
                  <a:pt x="55" y="178"/>
                </a:cubicBezTo>
                <a:cubicBezTo>
                  <a:pt x="26" y="105"/>
                  <a:pt x="26" y="105"/>
                  <a:pt x="26" y="105"/>
                </a:cubicBezTo>
                <a:cubicBezTo>
                  <a:pt x="23" y="95"/>
                  <a:pt x="15" y="92"/>
                  <a:pt x="8" y="95"/>
                </a:cubicBezTo>
                <a:cubicBezTo>
                  <a:pt x="0" y="97"/>
                  <a:pt x="0" y="106"/>
                  <a:pt x="3" y="113"/>
                </a:cubicBezTo>
                <a:cubicBezTo>
                  <a:pt x="3" y="113"/>
                  <a:pt x="3" y="113"/>
                  <a:pt x="3" y="113"/>
                </a:cubicBezTo>
                <a:cubicBezTo>
                  <a:pt x="37" y="199"/>
                  <a:pt x="37" y="199"/>
                  <a:pt x="37" y="199"/>
                </a:cubicBezTo>
                <a:cubicBezTo>
                  <a:pt x="40" y="205"/>
                  <a:pt x="47" y="205"/>
                  <a:pt x="52" y="203"/>
                </a:cubicBezTo>
                <a:cubicBezTo>
                  <a:pt x="141" y="167"/>
                  <a:pt x="141" y="167"/>
                  <a:pt x="141" y="167"/>
                </a:cubicBezTo>
                <a:cubicBezTo>
                  <a:pt x="147" y="164"/>
                  <a:pt x="149" y="162"/>
                  <a:pt x="149" y="156"/>
                </a:cubicBezTo>
                <a:cubicBezTo>
                  <a:pt x="148" y="150"/>
                  <a:pt x="146" y="146"/>
                  <a:pt x="140" y="144"/>
                </a:cubicBezTo>
                <a:cubicBezTo>
                  <a:pt x="85" y="127"/>
                  <a:pt x="85" y="127"/>
                  <a:pt x="85" y="127"/>
                </a:cubicBezTo>
                <a:cubicBezTo>
                  <a:pt x="85" y="126"/>
                  <a:pt x="85" y="126"/>
                  <a:pt x="85" y="126"/>
                </a:cubicBezTo>
                <a:cubicBezTo>
                  <a:pt x="94" y="106"/>
                  <a:pt x="107" y="87"/>
                  <a:pt x="122" y="72"/>
                </a:cubicBezTo>
                <a:cubicBezTo>
                  <a:pt x="152" y="42"/>
                  <a:pt x="194" y="23"/>
                  <a:pt x="240" y="23"/>
                </a:cubicBezTo>
                <a:cubicBezTo>
                  <a:pt x="287" y="23"/>
                  <a:pt x="329" y="42"/>
                  <a:pt x="359" y="72"/>
                </a:cubicBezTo>
                <a:cubicBezTo>
                  <a:pt x="389" y="103"/>
                  <a:pt x="408" y="144"/>
                  <a:pt x="408" y="191"/>
                </a:cubicBezTo>
                <a:cubicBezTo>
                  <a:pt x="408" y="237"/>
                  <a:pt x="389" y="279"/>
                  <a:pt x="359" y="309"/>
                </a:cubicBezTo>
                <a:cubicBezTo>
                  <a:pt x="329" y="339"/>
                  <a:pt x="287" y="358"/>
                  <a:pt x="240" y="358"/>
                </a:cubicBezTo>
                <a:cubicBezTo>
                  <a:pt x="194" y="358"/>
                  <a:pt x="152" y="339"/>
                  <a:pt x="122" y="309"/>
                </a:cubicBezTo>
                <a:cubicBezTo>
                  <a:pt x="110" y="297"/>
                  <a:pt x="100" y="283"/>
                  <a:pt x="92" y="268"/>
                </a:cubicBezTo>
                <a:cubicBezTo>
                  <a:pt x="92" y="268"/>
                  <a:pt x="165" y="238"/>
                  <a:pt x="198" y="224"/>
                </a:cubicBezTo>
                <a:cubicBezTo>
                  <a:pt x="198" y="224"/>
                  <a:pt x="198" y="224"/>
                  <a:pt x="199" y="224"/>
                </a:cubicBezTo>
                <a:cubicBezTo>
                  <a:pt x="209" y="219"/>
                  <a:pt x="207" y="209"/>
                  <a:pt x="207" y="209"/>
                </a:cubicBezTo>
                <a:cubicBezTo>
                  <a:pt x="204" y="204"/>
                  <a:pt x="203" y="198"/>
                  <a:pt x="203" y="192"/>
                </a:cubicBezTo>
                <a:cubicBezTo>
                  <a:pt x="203" y="171"/>
                  <a:pt x="220" y="154"/>
                  <a:pt x="241" y="154"/>
                </a:cubicBezTo>
                <a:cubicBezTo>
                  <a:pt x="261" y="154"/>
                  <a:pt x="278" y="171"/>
                  <a:pt x="278" y="192"/>
                </a:cubicBezTo>
                <a:cubicBezTo>
                  <a:pt x="278" y="213"/>
                  <a:pt x="261" y="230"/>
                  <a:pt x="241" y="230"/>
                </a:cubicBezTo>
                <a:cubicBezTo>
                  <a:pt x="239" y="230"/>
                  <a:pt x="237" y="230"/>
                  <a:pt x="235" y="229"/>
                </a:cubicBezTo>
                <a:cubicBezTo>
                  <a:pt x="235" y="229"/>
                  <a:pt x="234" y="229"/>
                  <a:pt x="233" y="229"/>
                </a:cubicBezTo>
                <a:cubicBezTo>
                  <a:pt x="233" y="229"/>
                  <a:pt x="233" y="229"/>
                  <a:pt x="233" y="229"/>
                </a:cubicBezTo>
                <a:cubicBezTo>
                  <a:pt x="232" y="229"/>
                  <a:pt x="232" y="229"/>
                  <a:pt x="231" y="229"/>
                </a:cubicBezTo>
                <a:cubicBezTo>
                  <a:pt x="225" y="229"/>
                  <a:pt x="220" y="233"/>
                  <a:pt x="219" y="239"/>
                </a:cubicBezTo>
                <a:cubicBezTo>
                  <a:pt x="219" y="239"/>
                  <a:pt x="219" y="240"/>
                  <a:pt x="219" y="240"/>
                </a:cubicBezTo>
                <a:cubicBezTo>
                  <a:pt x="219" y="246"/>
                  <a:pt x="224" y="251"/>
                  <a:pt x="230" y="253"/>
                </a:cubicBezTo>
                <a:cubicBezTo>
                  <a:pt x="230" y="253"/>
                  <a:pt x="230" y="253"/>
                  <a:pt x="230" y="253"/>
                </a:cubicBezTo>
                <a:cubicBezTo>
                  <a:pt x="230" y="253"/>
                  <a:pt x="230" y="253"/>
                  <a:pt x="230" y="253"/>
                </a:cubicBezTo>
                <a:cubicBezTo>
                  <a:pt x="234" y="253"/>
                  <a:pt x="237" y="254"/>
                  <a:pt x="241" y="254"/>
                </a:cubicBezTo>
                <a:cubicBezTo>
                  <a:pt x="275" y="254"/>
                  <a:pt x="302" y="226"/>
                  <a:pt x="302" y="192"/>
                </a:cubicBezTo>
                <a:cubicBezTo>
                  <a:pt x="302" y="158"/>
                  <a:pt x="275" y="130"/>
                  <a:pt x="241" y="130"/>
                </a:cubicBezTo>
                <a:cubicBezTo>
                  <a:pt x="206" y="130"/>
                  <a:pt x="179" y="158"/>
                  <a:pt x="179" y="192"/>
                </a:cubicBezTo>
                <a:cubicBezTo>
                  <a:pt x="179" y="197"/>
                  <a:pt x="179" y="201"/>
                  <a:pt x="180" y="206"/>
                </a:cubicBezTo>
                <a:cubicBezTo>
                  <a:pt x="74" y="250"/>
                  <a:pt x="74" y="250"/>
                  <a:pt x="74" y="250"/>
                </a:cubicBezTo>
                <a:cubicBezTo>
                  <a:pt x="68" y="253"/>
                  <a:pt x="62" y="257"/>
                  <a:pt x="66" y="268"/>
                </a:cubicBezTo>
                <a:cubicBezTo>
                  <a:pt x="71" y="277"/>
                  <a:pt x="71" y="277"/>
                  <a:pt x="71" y="277"/>
                </a:cubicBezTo>
                <a:cubicBezTo>
                  <a:pt x="102" y="339"/>
                  <a:pt x="166" y="381"/>
                  <a:pt x="240" y="381"/>
                </a:cubicBezTo>
                <a:cubicBezTo>
                  <a:pt x="346" y="381"/>
                  <a:pt x="431" y="296"/>
                  <a:pt x="431" y="191"/>
                </a:cubicBezTo>
                <a:cubicBezTo>
                  <a:pt x="431" y="86"/>
                  <a:pt x="346" y="0"/>
                  <a:pt x="240" y="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1" name="Freeform 267"/>
          <p:cNvSpPr>
            <a:spLocks/>
          </p:cNvSpPr>
          <p:nvPr userDrawn="1"/>
        </p:nvSpPr>
        <p:spPr bwMode="auto">
          <a:xfrm>
            <a:off x="2550845" y="2387033"/>
            <a:ext cx="509589" cy="509587"/>
          </a:xfrm>
          <a:custGeom>
            <a:avLst/>
            <a:gdLst/>
            <a:ahLst/>
            <a:cxnLst>
              <a:cxn ang="0">
                <a:pos x="0" y="226"/>
              </a:cxn>
              <a:cxn ang="0">
                <a:pos x="226" y="453"/>
              </a:cxn>
              <a:cxn ang="0">
                <a:pos x="453" y="226"/>
              </a:cxn>
              <a:cxn ang="0">
                <a:pos x="314" y="18"/>
              </a:cxn>
              <a:cxn ang="0">
                <a:pos x="297" y="25"/>
              </a:cxn>
              <a:cxn ang="0">
                <a:pos x="304" y="42"/>
              </a:cxn>
              <a:cxn ang="0">
                <a:pos x="426" y="226"/>
              </a:cxn>
              <a:cxn ang="0">
                <a:pos x="226" y="426"/>
              </a:cxn>
              <a:cxn ang="0">
                <a:pos x="27" y="226"/>
              </a:cxn>
              <a:cxn ang="0">
                <a:pos x="213" y="27"/>
              </a:cxn>
              <a:cxn ang="0">
                <a:pos x="213" y="226"/>
              </a:cxn>
              <a:cxn ang="0">
                <a:pos x="221" y="239"/>
              </a:cxn>
              <a:cxn ang="0">
                <a:pos x="236" y="236"/>
              </a:cxn>
              <a:cxn ang="0">
                <a:pos x="329" y="142"/>
              </a:cxn>
              <a:cxn ang="0">
                <a:pos x="329" y="123"/>
              </a:cxn>
              <a:cxn ang="0">
                <a:pos x="310" y="123"/>
              </a:cxn>
              <a:cxn ang="0">
                <a:pos x="240" y="194"/>
              </a:cxn>
              <a:cxn ang="0">
                <a:pos x="240" y="13"/>
              </a:cxn>
              <a:cxn ang="0">
                <a:pos x="226" y="0"/>
              </a:cxn>
              <a:cxn ang="0">
                <a:pos x="0" y="226"/>
              </a:cxn>
            </a:cxnLst>
            <a:rect l="0" t="0" r="r" b="b"/>
            <a:pathLst>
              <a:path w="453" h="453">
                <a:moveTo>
                  <a:pt x="0" y="226"/>
                </a:moveTo>
                <a:cubicBezTo>
                  <a:pt x="0" y="351"/>
                  <a:pt x="102" y="453"/>
                  <a:pt x="226" y="453"/>
                </a:cubicBezTo>
                <a:cubicBezTo>
                  <a:pt x="351" y="453"/>
                  <a:pt x="453" y="351"/>
                  <a:pt x="453" y="226"/>
                </a:cubicBezTo>
                <a:cubicBezTo>
                  <a:pt x="453" y="135"/>
                  <a:pt x="398" y="53"/>
                  <a:pt x="314" y="18"/>
                </a:cubicBezTo>
                <a:cubicBezTo>
                  <a:pt x="308" y="15"/>
                  <a:pt x="300" y="18"/>
                  <a:pt x="297" y="25"/>
                </a:cubicBezTo>
                <a:cubicBezTo>
                  <a:pt x="294" y="32"/>
                  <a:pt x="297" y="39"/>
                  <a:pt x="304" y="42"/>
                </a:cubicBezTo>
                <a:cubicBezTo>
                  <a:pt x="378" y="74"/>
                  <a:pt x="426" y="146"/>
                  <a:pt x="426" y="226"/>
                </a:cubicBezTo>
                <a:cubicBezTo>
                  <a:pt x="426" y="336"/>
                  <a:pt x="336" y="426"/>
                  <a:pt x="226" y="426"/>
                </a:cubicBezTo>
                <a:cubicBezTo>
                  <a:pt x="116" y="426"/>
                  <a:pt x="27" y="336"/>
                  <a:pt x="27" y="226"/>
                </a:cubicBezTo>
                <a:cubicBezTo>
                  <a:pt x="27" y="121"/>
                  <a:pt x="109" y="34"/>
                  <a:pt x="213" y="27"/>
                </a:cubicBezTo>
                <a:cubicBezTo>
                  <a:pt x="213" y="51"/>
                  <a:pt x="213" y="226"/>
                  <a:pt x="213" y="226"/>
                </a:cubicBezTo>
                <a:cubicBezTo>
                  <a:pt x="213" y="232"/>
                  <a:pt x="216" y="237"/>
                  <a:pt x="221" y="239"/>
                </a:cubicBezTo>
                <a:cubicBezTo>
                  <a:pt x="226" y="241"/>
                  <a:pt x="232" y="240"/>
                  <a:pt x="236" y="236"/>
                </a:cubicBezTo>
                <a:cubicBezTo>
                  <a:pt x="329" y="142"/>
                  <a:pt x="329" y="142"/>
                  <a:pt x="329" y="142"/>
                </a:cubicBezTo>
                <a:cubicBezTo>
                  <a:pt x="334" y="137"/>
                  <a:pt x="334" y="129"/>
                  <a:pt x="329" y="123"/>
                </a:cubicBezTo>
                <a:cubicBezTo>
                  <a:pt x="324" y="118"/>
                  <a:pt x="316" y="118"/>
                  <a:pt x="310" y="123"/>
                </a:cubicBezTo>
                <a:cubicBezTo>
                  <a:pt x="310" y="123"/>
                  <a:pt x="266" y="168"/>
                  <a:pt x="240" y="194"/>
                </a:cubicBezTo>
                <a:cubicBezTo>
                  <a:pt x="240" y="148"/>
                  <a:pt x="240" y="13"/>
                  <a:pt x="240" y="13"/>
                </a:cubicBezTo>
                <a:cubicBezTo>
                  <a:pt x="240" y="6"/>
                  <a:pt x="234" y="0"/>
                  <a:pt x="226" y="0"/>
                </a:cubicBezTo>
                <a:cubicBezTo>
                  <a:pt x="102" y="0"/>
                  <a:pt x="0" y="102"/>
                  <a:pt x="0" y="22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2" name="Freeform 276"/>
          <p:cNvSpPr>
            <a:spLocks/>
          </p:cNvSpPr>
          <p:nvPr userDrawn="1"/>
        </p:nvSpPr>
        <p:spPr bwMode="auto">
          <a:xfrm>
            <a:off x="2561963" y="2991761"/>
            <a:ext cx="487362" cy="512763"/>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3" name="Freeform 280"/>
          <p:cNvSpPr>
            <a:spLocks noEditPoints="1"/>
          </p:cNvSpPr>
          <p:nvPr userDrawn="1"/>
        </p:nvSpPr>
        <p:spPr bwMode="auto">
          <a:xfrm>
            <a:off x="2546090" y="1762823"/>
            <a:ext cx="519113" cy="482600"/>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4" name="Freeform 316"/>
          <p:cNvSpPr>
            <a:spLocks/>
          </p:cNvSpPr>
          <p:nvPr userDrawn="1"/>
        </p:nvSpPr>
        <p:spPr bwMode="auto">
          <a:xfrm>
            <a:off x="2542114" y="5070689"/>
            <a:ext cx="527049" cy="504825"/>
          </a:xfrm>
          <a:custGeom>
            <a:avLst/>
            <a:gdLst/>
            <a:ahLst/>
            <a:cxnLst>
              <a:cxn ang="0">
                <a:pos x="233" y="0"/>
              </a:cxn>
              <a:cxn ang="0">
                <a:pos x="208" y="19"/>
              </a:cxn>
              <a:cxn ang="0">
                <a:pos x="153" y="130"/>
              </a:cxn>
              <a:cxn ang="0">
                <a:pos x="146" y="135"/>
              </a:cxn>
              <a:cxn ang="0">
                <a:pos x="106" y="141"/>
              </a:cxn>
              <a:cxn ang="0">
                <a:pos x="25" y="153"/>
              </a:cxn>
              <a:cxn ang="0">
                <a:pos x="3" y="170"/>
              </a:cxn>
              <a:cxn ang="0">
                <a:pos x="13" y="202"/>
              </a:cxn>
              <a:cxn ang="0">
                <a:pos x="52" y="239"/>
              </a:cxn>
              <a:cxn ang="0">
                <a:pos x="82" y="268"/>
              </a:cxn>
              <a:cxn ang="0">
                <a:pos x="100" y="268"/>
              </a:cxn>
              <a:cxn ang="0">
                <a:pos x="104" y="259"/>
              </a:cxn>
              <a:cxn ang="0">
                <a:pos x="100" y="249"/>
              </a:cxn>
              <a:cxn ang="0">
                <a:pos x="70" y="220"/>
              </a:cxn>
              <a:cxn ang="0">
                <a:pos x="32" y="183"/>
              </a:cxn>
              <a:cxn ang="0">
                <a:pos x="29" y="179"/>
              </a:cxn>
              <a:cxn ang="0">
                <a:pos x="110" y="167"/>
              </a:cxn>
              <a:cxn ang="0">
                <a:pos x="150" y="161"/>
              </a:cxn>
              <a:cxn ang="0">
                <a:pos x="177" y="142"/>
              </a:cxn>
              <a:cxn ang="0">
                <a:pos x="232" y="31"/>
              </a:cxn>
              <a:cxn ang="0">
                <a:pos x="233" y="29"/>
              </a:cxn>
              <a:cxn ang="0">
                <a:pos x="234" y="31"/>
              </a:cxn>
              <a:cxn ang="0">
                <a:pos x="289" y="143"/>
              </a:cxn>
              <a:cxn ang="0">
                <a:pos x="314" y="161"/>
              </a:cxn>
              <a:cxn ang="0">
                <a:pos x="435" y="178"/>
              </a:cxn>
              <a:cxn ang="0">
                <a:pos x="437" y="179"/>
              </a:cxn>
              <a:cxn ang="0">
                <a:pos x="435" y="181"/>
              </a:cxn>
              <a:cxn ang="0">
                <a:pos x="347" y="268"/>
              </a:cxn>
              <a:cxn ang="0">
                <a:pos x="338" y="290"/>
              </a:cxn>
              <a:cxn ang="0">
                <a:pos x="339" y="294"/>
              </a:cxn>
              <a:cxn ang="0">
                <a:pos x="360" y="415"/>
              </a:cxn>
              <a:cxn ang="0">
                <a:pos x="360" y="417"/>
              </a:cxn>
              <a:cxn ang="0">
                <a:pos x="359" y="420"/>
              </a:cxn>
              <a:cxn ang="0">
                <a:pos x="355" y="418"/>
              </a:cxn>
              <a:cxn ang="0">
                <a:pos x="249" y="363"/>
              </a:cxn>
              <a:cxn ang="0">
                <a:pos x="217" y="363"/>
              </a:cxn>
              <a:cxn ang="0">
                <a:pos x="110" y="418"/>
              </a:cxn>
              <a:cxn ang="0">
                <a:pos x="105" y="420"/>
              </a:cxn>
              <a:cxn ang="0">
                <a:pos x="105" y="420"/>
              </a:cxn>
              <a:cxn ang="0">
                <a:pos x="106" y="417"/>
              </a:cxn>
              <a:cxn ang="0">
                <a:pos x="122" y="324"/>
              </a:cxn>
              <a:cxn ang="0">
                <a:pos x="122" y="322"/>
              </a:cxn>
              <a:cxn ang="0">
                <a:pos x="111" y="309"/>
              </a:cxn>
              <a:cxn ang="0">
                <a:pos x="96" y="320"/>
              </a:cxn>
              <a:cxn ang="0">
                <a:pos x="79" y="412"/>
              </a:cxn>
              <a:cxn ang="0">
                <a:pos x="88" y="442"/>
              </a:cxn>
              <a:cxn ang="0">
                <a:pos x="122" y="443"/>
              </a:cxn>
              <a:cxn ang="0">
                <a:pos x="229" y="387"/>
              </a:cxn>
              <a:cxn ang="0">
                <a:pos x="237" y="387"/>
              </a:cxn>
              <a:cxn ang="0">
                <a:pos x="344" y="443"/>
              </a:cxn>
              <a:cxn ang="0">
                <a:pos x="376" y="441"/>
              </a:cxn>
              <a:cxn ang="0">
                <a:pos x="386" y="410"/>
              </a:cxn>
              <a:cxn ang="0">
                <a:pos x="365" y="290"/>
              </a:cxn>
              <a:cxn ang="0">
                <a:pos x="366" y="287"/>
              </a:cxn>
              <a:cxn ang="0">
                <a:pos x="454" y="200"/>
              </a:cxn>
              <a:cxn ang="0">
                <a:pos x="463" y="170"/>
              </a:cxn>
              <a:cxn ang="0">
                <a:pos x="438" y="152"/>
              </a:cxn>
              <a:cxn ang="0">
                <a:pos x="318" y="134"/>
              </a:cxn>
              <a:cxn ang="0">
                <a:pos x="313" y="131"/>
              </a:cxn>
              <a:cxn ang="0">
                <a:pos x="258" y="19"/>
              </a:cxn>
              <a:cxn ang="0">
                <a:pos x="233" y="0"/>
              </a:cxn>
            </a:cxnLst>
            <a:rect l="0" t="0" r="r" b="b"/>
            <a:pathLst>
              <a:path w="467" h="448">
                <a:moveTo>
                  <a:pt x="233" y="0"/>
                </a:moveTo>
                <a:cubicBezTo>
                  <a:pt x="227" y="0"/>
                  <a:pt x="216" y="3"/>
                  <a:pt x="208" y="19"/>
                </a:cubicBezTo>
                <a:cubicBezTo>
                  <a:pt x="208" y="19"/>
                  <a:pt x="153" y="130"/>
                  <a:pt x="153" y="130"/>
                </a:cubicBezTo>
                <a:cubicBezTo>
                  <a:pt x="152" y="132"/>
                  <a:pt x="149" y="134"/>
                  <a:pt x="146" y="135"/>
                </a:cubicBezTo>
                <a:cubicBezTo>
                  <a:pt x="146" y="135"/>
                  <a:pt x="106" y="141"/>
                  <a:pt x="106" y="141"/>
                </a:cubicBezTo>
                <a:cubicBezTo>
                  <a:pt x="25" y="153"/>
                  <a:pt x="25" y="153"/>
                  <a:pt x="25" y="153"/>
                </a:cubicBezTo>
                <a:cubicBezTo>
                  <a:pt x="14" y="155"/>
                  <a:pt x="6" y="161"/>
                  <a:pt x="3" y="170"/>
                </a:cubicBezTo>
                <a:cubicBezTo>
                  <a:pt x="0" y="180"/>
                  <a:pt x="4" y="192"/>
                  <a:pt x="13" y="202"/>
                </a:cubicBezTo>
                <a:cubicBezTo>
                  <a:pt x="19" y="207"/>
                  <a:pt x="35" y="223"/>
                  <a:pt x="52" y="239"/>
                </a:cubicBezTo>
                <a:cubicBezTo>
                  <a:pt x="82" y="268"/>
                  <a:pt x="82" y="268"/>
                  <a:pt x="82" y="268"/>
                </a:cubicBezTo>
                <a:cubicBezTo>
                  <a:pt x="87" y="274"/>
                  <a:pt x="95" y="274"/>
                  <a:pt x="100" y="268"/>
                </a:cubicBezTo>
                <a:cubicBezTo>
                  <a:pt x="103" y="266"/>
                  <a:pt x="104" y="262"/>
                  <a:pt x="104" y="259"/>
                </a:cubicBezTo>
                <a:cubicBezTo>
                  <a:pt x="104" y="255"/>
                  <a:pt x="103" y="252"/>
                  <a:pt x="100" y="249"/>
                </a:cubicBezTo>
                <a:cubicBezTo>
                  <a:pt x="70" y="220"/>
                  <a:pt x="70" y="220"/>
                  <a:pt x="70" y="220"/>
                </a:cubicBezTo>
                <a:cubicBezTo>
                  <a:pt x="53" y="204"/>
                  <a:pt x="38" y="188"/>
                  <a:pt x="32" y="183"/>
                </a:cubicBezTo>
                <a:cubicBezTo>
                  <a:pt x="31" y="181"/>
                  <a:pt x="30" y="180"/>
                  <a:pt x="29" y="179"/>
                </a:cubicBezTo>
                <a:cubicBezTo>
                  <a:pt x="29" y="179"/>
                  <a:pt x="110" y="167"/>
                  <a:pt x="110" y="167"/>
                </a:cubicBezTo>
                <a:cubicBezTo>
                  <a:pt x="150" y="161"/>
                  <a:pt x="150" y="161"/>
                  <a:pt x="150" y="161"/>
                </a:cubicBezTo>
                <a:cubicBezTo>
                  <a:pt x="162" y="159"/>
                  <a:pt x="172" y="152"/>
                  <a:pt x="177" y="142"/>
                </a:cubicBezTo>
                <a:cubicBezTo>
                  <a:pt x="232" y="31"/>
                  <a:pt x="232" y="31"/>
                  <a:pt x="232" y="31"/>
                </a:cubicBezTo>
                <a:cubicBezTo>
                  <a:pt x="232" y="30"/>
                  <a:pt x="232" y="29"/>
                  <a:pt x="233" y="29"/>
                </a:cubicBezTo>
                <a:cubicBezTo>
                  <a:pt x="233" y="29"/>
                  <a:pt x="234" y="30"/>
                  <a:pt x="234" y="31"/>
                </a:cubicBezTo>
                <a:cubicBezTo>
                  <a:pt x="243" y="48"/>
                  <a:pt x="284" y="133"/>
                  <a:pt x="289" y="143"/>
                </a:cubicBezTo>
                <a:cubicBezTo>
                  <a:pt x="294" y="152"/>
                  <a:pt x="303" y="159"/>
                  <a:pt x="314" y="161"/>
                </a:cubicBezTo>
                <a:cubicBezTo>
                  <a:pt x="382" y="171"/>
                  <a:pt x="423" y="177"/>
                  <a:pt x="435" y="178"/>
                </a:cubicBezTo>
                <a:cubicBezTo>
                  <a:pt x="436" y="179"/>
                  <a:pt x="437" y="179"/>
                  <a:pt x="437" y="179"/>
                </a:cubicBezTo>
                <a:cubicBezTo>
                  <a:pt x="437" y="180"/>
                  <a:pt x="436" y="180"/>
                  <a:pt x="435" y="181"/>
                </a:cubicBezTo>
                <a:cubicBezTo>
                  <a:pt x="429" y="188"/>
                  <a:pt x="399" y="217"/>
                  <a:pt x="347" y="268"/>
                </a:cubicBezTo>
                <a:cubicBezTo>
                  <a:pt x="341" y="274"/>
                  <a:pt x="338" y="282"/>
                  <a:pt x="338" y="290"/>
                </a:cubicBezTo>
                <a:cubicBezTo>
                  <a:pt x="338" y="291"/>
                  <a:pt x="338" y="293"/>
                  <a:pt x="339" y="294"/>
                </a:cubicBezTo>
                <a:cubicBezTo>
                  <a:pt x="339" y="294"/>
                  <a:pt x="360" y="415"/>
                  <a:pt x="360" y="415"/>
                </a:cubicBezTo>
                <a:cubicBezTo>
                  <a:pt x="360" y="416"/>
                  <a:pt x="360" y="417"/>
                  <a:pt x="360" y="417"/>
                </a:cubicBezTo>
                <a:cubicBezTo>
                  <a:pt x="360" y="419"/>
                  <a:pt x="360" y="419"/>
                  <a:pt x="359" y="420"/>
                </a:cubicBezTo>
                <a:cubicBezTo>
                  <a:pt x="359" y="420"/>
                  <a:pt x="357" y="419"/>
                  <a:pt x="355" y="418"/>
                </a:cubicBezTo>
                <a:cubicBezTo>
                  <a:pt x="346" y="414"/>
                  <a:pt x="309" y="395"/>
                  <a:pt x="249" y="363"/>
                </a:cubicBezTo>
                <a:cubicBezTo>
                  <a:pt x="239" y="358"/>
                  <a:pt x="227" y="358"/>
                  <a:pt x="217" y="363"/>
                </a:cubicBezTo>
                <a:cubicBezTo>
                  <a:pt x="157" y="395"/>
                  <a:pt x="117" y="415"/>
                  <a:pt x="110" y="418"/>
                </a:cubicBezTo>
                <a:cubicBezTo>
                  <a:pt x="108" y="419"/>
                  <a:pt x="106" y="420"/>
                  <a:pt x="105" y="420"/>
                </a:cubicBezTo>
                <a:cubicBezTo>
                  <a:pt x="105" y="420"/>
                  <a:pt x="105" y="420"/>
                  <a:pt x="105" y="420"/>
                </a:cubicBezTo>
                <a:cubicBezTo>
                  <a:pt x="105" y="419"/>
                  <a:pt x="105" y="418"/>
                  <a:pt x="106" y="417"/>
                </a:cubicBezTo>
                <a:cubicBezTo>
                  <a:pt x="122" y="324"/>
                  <a:pt x="122" y="324"/>
                  <a:pt x="122" y="324"/>
                </a:cubicBezTo>
                <a:cubicBezTo>
                  <a:pt x="122" y="323"/>
                  <a:pt x="122" y="323"/>
                  <a:pt x="122" y="322"/>
                </a:cubicBezTo>
                <a:cubicBezTo>
                  <a:pt x="122" y="315"/>
                  <a:pt x="117" y="310"/>
                  <a:pt x="111" y="309"/>
                </a:cubicBezTo>
                <a:cubicBezTo>
                  <a:pt x="104" y="307"/>
                  <a:pt x="97" y="312"/>
                  <a:pt x="96" y="320"/>
                </a:cubicBezTo>
                <a:cubicBezTo>
                  <a:pt x="79" y="412"/>
                  <a:pt x="79" y="412"/>
                  <a:pt x="79" y="412"/>
                </a:cubicBezTo>
                <a:cubicBezTo>
                  <a:pt x="76" y="429"/>
                  <a:pt x="84" y="438"/>
                  <a:pt x="88" y="442"/>
                </a:cubicBezTo>
                <a:cubicBezTo>
                  <a:pt x="97" y="448"/>
                  <a:pt x="109" y="448"/>
                  <a:pt x="122" y="443"/>
                </a:cubicBezTo>
                <a:cubicBezTo>
                  <a:pt x="131" y="438"/>
                  <a:pt x="193" y="406"/>
                  <a:pt x="229" y="387"/>
                </a:cubicBezTo>
                <a:cubicBezTo>
                  <a:pt x="231" y="385"/>
                  <a:pt x="234" y="385"/>
                  <a:pt x="237" y="387"/>
                </a:cubicBezTo>
                <a:cubicBezTo>
                  <a:pt x="279" y="409"/>
                  <a:pt x="332" y="437"/>
                  <a:pt x="344" y="443"/>
                </a:cubicBezTo>
                <a:cubicBezTo>
                  <a:pt x="356" y="448"/>
                  <a:pt x="367" y="447"/>
                  <a:pt x="376" y="441"/>
                </a:cubicBezTo>
                <a:cubicBezTo>
                  <a:pt x="384" y="435"/>
                  <a:pt x="388" y="423"/>
                  <a:pt x="386" y="410"/>
                </a:cubicBezTo>
                <a:cubicBezTo>
                  <a:pt x="386" y="410"/>
                  <a:pt x="365" y="290"/>
                  <a:pt x="365" y="290"/>
                </a:cubicBezTo>
                <a:cubicBezTo>
                  <a:pt x="365" y="289"/>
                  <a:pt x="365" y="288"/>
                  <a:pt x="366" y="287"/>
                </a:cubicBezTo>
                <a:cubicBezTo>
                  <a:pt x="418" y="236"/>
                  <a:pt x="448" y="207"/>
                  <a:pt x="454" y="200"/>
                </a:cubicBezTo>
                <a:cubicBezTo>
                  <a:pt x="463" y="191"/>
                  <a:pt x="467" y="180"/>
                  <a:pt x="463" y="170"/>
                </a:cubicBezTo>
                <a:cubicBezTo>
                  <a:pt x="460" y="160"/>
                  <a:pt x="451" y="154"/>
                  <a:pt x="438" y="152"/>
                </a:cubicBezTo>
                <a:cubicBezTo>
                  <a:pt x="430" y="151"/>
                  <a:pt x="403" y="147"/>
                  <a:pt x="318" y="134"/>
                </a:cubicBezTo>
                <a:cubicBezTo>
                  <a:pt x="316" y="134"/>
                  <a:pt x="314" y="133"/>
                  <a:pt x="313" y="131"/>
                </a:cubicBezTo>
                <a:cubicBezTo>
                  <a:pt x="308" y="121"/>
                  <a:pt x="267" y="37"/>
                  <a:pt x="258" y="19"/>
                </a:cubicBezTo>
                <a:cubicBezTo>
                  <a:pt x="249" y="2"/>
                  <a:pt x="238" y="0"/>
                  <a:pt x="233" y="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5" name="Freeform 341"/>
          <p:cNvSpPr>
            <a:spLocks/>
          </p:cNvSpPr>
          <p:nvPr userDrawn="1"/>
        </p:nvSpPr>
        <p:spPr bwMode="auto">
          <a:xfrm>
            <a:off x="2548465" y="3718388"/>
            <a:ext cx="514350" cy="436563"/>
          </a:xfrm>
          <a:custGeom>
            <a:avLst/>
            <a:gdLst/>
            <a:ahLst/>
            <a:cxnLst>
              <a:cxn ang="0">
                <a:pos x="228" y="14"/>
              </a:cxn>
              <a:cxn ang="0">
                <a:pos x="124" y="0"/>
              </a:cxn>
              <a:cxn ang="0">
                <a:pos x="0" y="54"/>
              </a:cxn>
              <a:cxn ang="0">
                <a:pos x="1" y="56"/>
              </a:cxn>
              <a:cxn ang="0">
                <a:pos x="14" y="160"/>
              </a:cxn>
              <a:cxn ang="0">
                <a:pos x="1" y="265"/>
              </a:cxn>
              <a:cxn ang="0">
                <a:pos x="16" y="373"/>
              </a:cxn>
              <a:cxn ang="0">
                <a:pos x="124" y="388"/>
              </a:cxn>
              <a:cxn ang="0">
                <a:pos x="228" y="375"/>
              </a:cxn>
              <a:cxn ang="0">
                <a:pos x="333" y="388"/>
              </a:cxn>
              <a:cxn ang="0">
                <a:pos x="456" y="335"/>
              </a:cxn>
              <a:cxn ang="0">
                <a:pos x="443" y="230"/>
              </a:cxn>
              <a:cxn ang="0">
                <a:pos x="456" y="126"/>
              </a:cxn>
              <a:cxn ang="0">
                <a:pos x="429" y="9"/>
              </a:cxn>
              <a:cxn ang="0">
                <a:pos x="411" y="27"/>
              </a:cxn>
              <a:cxn ang="0">
                <a:pos x="429" y="56"/>
              </a:cxn>
              <a:cxn ang="0">
                <a:pos x="409" y="91"/>
              </a:cxn>
              <a:cxn ang="0">
                <a:pos x="416" y="149"/>
              </a:cxn>
              <a:cxn ang="0">
                <a:pos x="416" y="172"/>
              </a:cxn>
              <a:cxn ang="0">
                <a:pos x="409" y="230"/>
              </a:cxn>
              <a:cxn ang="0">
                <a:pos x="429" y="265"/>
              </a:cxn>
              <a:cxn ang="0">
                <a:pos x="411" y="294"/>
              </a:cxn>
              <a:cxn ang="0">
                <a:pos x="418" y="312"/>
              </a:cxn>
              <a:cxn ang="0">
                <a:pos x="379" y="348"/>
              </a:cxn>
              <a:cxn ang="0">
                <a:pos x="333" y="361"/>
              </a:cxn>
              <a:cxn ang="0">
                <a:pos x="286" y="348"/>
              </a:cxn>
              <a:cxn ang="0">
                <a:pos x="228" y="341"/>
              </a:cxn>
              <a:cxn ang="0">
                <a:pos x="170" y="348"/>
              </a:cxn>
              <a:cxn ang="0">
                <a:pos x="124" y="361"/>
              </a:cxn>
              <a:cxn ang="0">
                <a:pos x="95" y="343"/>
              </a:cxn>
              <a:cxn ang="0">
                <a:pos x="54" y="362"/>
              </a:cxn>
              <a:cxn ang="0">
                <a:pos x="41" y="311"/>
              </a:cxn>
              <a:cxn ang="0">
                <a:pos x="41" y="288"/>
              </a:cxn>
              <a:cxn ang="0">
                <a:pos x="47" y="230"/>
              </a:cxn>
              <a:cxn ang="0">
                <a:pos x="27" y="195"/>
              </a:cxn>
              <a:cxn ang="0">
                <a:pos x="47" y="160"/>
              </a:cxn>
              <a:cxn ang="0">
                <a:pos x="41" y="102"/>
              </a:cxn>
              <a:cxn ang="0">
                <a:pos x="41" y="79"/>
              </a:cxn>
              <a:cxn ang="0">
                <a:pos x="27" y="54"/>
              </a:cxn>
              <a:cxn ang="0">
                <a:pos x="89" y="47"/>
              </a:cxn>
              <a:cxn ang="0">
                <a:pos x="147" y="41"/>
              </a:cxn>
              <a:cxn ang="0">
                <a:pos x="194" y="27"/>
              </a:cxn>
              <a:cxn ang="0">
                <a:pos x="240" y="41"/>
              </a:cxn>
              <a:cxn ang="0">
                <a:pos x="298" y="47"/>
              </a:cxn>
              <a:cxn ang="0">
                <a:pos x="347" y="14"/>
              </a:cxn>
            </a:cxnLst>
            <a:rect l="0" t="0" r="r" b="b"/>
            <a:pathLst>
              <a:path w="456" h="388">
                <a:moveTo>
                  <a:pt x="298" y="14"/>
                </a:moveTo>
                <a:cubicBezTo>
                  <a:pt x="289" y="5"/>
                  <a:pt x="276" y="0"/>
                  <a:pt x="263" y="0"/>
                </a:cubicBezTo>
                <a:cubicBezTo>
                  <a:pt x="250" y="0"/>
                  <a:pt x="238" y="5"/>
                  <a:pt x="228" y="14"/>
                </a:cubicBezTo>
                <a:cubicBezTo>
                  <a:pt x="219" y="5"/>
                  <a:pt x="207" y="0"/>
                  <a:pt x="194" y="0"/>
                </a:cubicBezTo>
                <a:cubicBezTo>
                  <a:pt x="181" y="0"/>
                  <a:pt x="168" y="5"/>
                  <a:pt x="159" y="14"/>
                </a:cubicBezTo>
                <a:cubicBezTo>
                  <a:pt x="149" y="5"/>
                  <a:pt x="137" y="0"/>
                  <a:pt x="124" y="0"/>
                </a:cubicBezTo>
                <a:cubicBezTo>
                  <a:pt x="111" y="0"/>
                  <a:pt x="98" y="5"/>
                  <a:pt x="89" y="14"/>
                </a:cubicBezTo>
                <a:cubicBezTo>
                  <a:pt x="79" y="5"/>
                  <a:pt x="67" y="0"/>
                  <a:pt x="54" y="0"/>
                </a:cubicBezTo>
                <a:cubicBezTo>
                  <a:pt x="24" y="0"/>
                  <a:pt x="0" y="24"/>
                  <a:pt x="0" y="54"/>
                </a:cubicBezTo>
                <a:cubicBezTo>
                  <a:pt x="0" y="54"/>
                  <a:pt x="0" y="55"/>
                  <a:pt x="0" y="55"/>
                </a:cubicBezTo>
                <a:cubicBezTo>
                  <a:pt x="1" y="57"/>
                  <a:pt x="1" y="57"/>
                  <a:pt x="1" y="57"/>
                </a:cubicBezTo>
                <a:cubicBezTo>
                  <a:pt x="1" y="57"/>
                  <a:pt x="1" y="56"/>
                  <a:pt x="1" y="56"/>
                </a:cubicBezTo>
                <a:cubicBezTo>
                  <a:pt x="1" y="69"/>
                  <a:pt x="5" y="81"/>
                  <a:pt x="14" y="90"/>
                </a:cubicBezTo>
                <a:cubicBezTo>
                  <a:pt x="5" y="100"/>
                  <a:pt x="1" y="112"/>
                  <a:pt x="1" y="125"/>
                </a:cubicBezTo>
                <a:cubicBezTo>
                  <a:pt x="1" y="138"/>
                  <a:pt x="5" y="151"/>
                  <a:pt x="14" y="160"/>
                </a:cubicBezTo>
                <a:cubicBezTo>
                  <a:pt x="5" y="170"/>
                  <a:pt x="1" y="182"/>
                  <a:pt x="1" y="195"/>
                </a:cubicBezTo>
                <a:cubicBezTo>
                  <a:pt x="1" y="208"/>
                  <a:pt x="5" y="220"/>
                  <a:pt x="14" y="230"/>
                </a:cubicBezTo>
                <a:cubicBezTo>
                  <a:pt x="5" y="240"/>
                  <a:pt x="1" y="252"/>
                  <a:pt x="1" y="265"/>
                </a:cubicBezTo>
                <a:cubicBezTo>
                  <a:pt x="1" y="278"/>
                  <a:pt x="5" y="290"/>
                  <a:pt x="14" y="300"/>
                </a:cubicBezTo>
                <a:cubicBezTo>
                  <a:pt x="5" y="309"/>
                  <a:pt x="1" y="322"/>
                  <a:pt x="1" y="335"/>
                </a:cubicBezTo>
                <a:cubicBezTo>
                  <a:pt x="1" y="349"/>
                  <a:pt x="6" y="362"/>
                  <a:pt x="16" y="373"/>
                </a:cubicBezTo>
                <a:cubicBezTo>
                  <a:pt x="26" y="383"/>
                  <a:pt x="40" y="388"/>
                  <a:pt x="54" y="388"/>
                </a:cubicBezTo>
                <a:cubicBezTo>
                  <a:pt x="67" y="388"/>
                  <a:pt x="79" y="383"/>
                  <a:pt x="89" y="375"/>
                </a:cubicBezTo>
                <a:cubicBezTo>
                  <a:pt x="99" y="383"/>
                  <a:pt x="111" y="388"/>
                  <a:pt x="124" y="388"/>
                </a:cubicBezTo>
                <a:cubicBezTo>
                  <a:pt x="137" y="388"/>
                  <a:pt x="149" y="383"/>
                  <a:pt x="158" y="375"/>
                </a:cubicBezTo>
                <a:cubicBezTo>
                  <a:pt x="168" y="383"/>
                  <a:pt x="180" y="388"/>
                  <a:pt x="193" y="388"/>
                </a:cubicBezTo>
                <a:cubicBezTo>
                  <a:pt x="206" y="388"/>
                  <a:pt x="219" y="383"/>
                  <a:pt x="228" y="375"/>
                </a:cubicBezTo>
                <a:cubicBezTo>
                  <a:pt x="238" y="383"/>
                  <a:pt x="250" y="388"/>
                  <a:pt x="263" y="388"/>
                </a:cubicBezTo>
                <a:cubicBezTo>
                  <a:pt x="276" y="388"/>
                  <a:pt x="288" y="383"/>
                  <a:pt x="298" y="375"/>
                </a:cubicBezTo>
                <a:cubicBezTo>
                  <a:pt x="308" y="383"/>
                  <a:pt x="320" y="388"/>
                  <a:pt x="333" y="388"/>
                </a:cubicBezTo>
                <a:cubicBezTo>
                  <a:pt x="346" y="388"/>
                  <a:pt x="358" y="383"/>
                  <a:pt x="368" y="375"/>
                </a:cubicBezTo>
                <a:cubicBezTo>
                  <a:pt x="377" y="383"/>
                  <a:pt x="390" y="388"/>
                  <a:pt x="403" y="388"/>
                </a:cubicBezTo>
                <a:cubicBezTo>
                  <a:pt x="432" y="388"/>
                  <a:pt x="456" y="364"/>
                  <a:pt x="456" y="335"/>
                </a:cubicBezTo>
                <a:cubicBezTo>
                  <a:pt x="456" y="322"/>
                  <a:pt x="451" y="309"/>
                  <a:pt x="443" y="300"/>
                </a:cubicBezTo>
                <a:cubicBezTo>
                  <a:pt x="451" y="290"/>
                  <a:pt x="456" y="278"/>
                  <a:pt x="456" y="265"/>
                </a:cubicBezTo>
                <a:cubicBezTo>
                  <a:pt x="456" y="252"/>
                  <a:pt x="451" y="240"/>
                  <a:pt x="443" y="230"/>
                </a:cubicBezTo>
                <a:cubicBezTo>
                  <a:pt x="451" y="221"/>
                  <a:pt x="456" y="208"/>
                  <a:pt x="456" y="195"/>
                </a:cubicBezTo>
                <a:cubicBezTo>
                  <a:pt x="456" y="182"/>
                  <a:pt x="451" y="170"/>
                  <a:pt x="443" y="161"/>
                </a:cubicBezTo>
                <a:cubicBezTo>
                  <a:pt x="451" y="151"/>
                  <a:pt x="456" y="139"/>
                  <a:pt x="456" y="126"/>
                </a:cubicBezTo>
                <a:cubicBezTo>
                  <a:pt x="456" y="113"/>
                  <a:pt x="451" y="100"/>
                  <a:pt x="443" y="91"/>
                </a:cubicBezTo>
                <a:cubicBezTo>
                  <a:pt x="451" y="81"/>
                  <a:pt x="456" y="69"/>
                  <a:pt x="456" y="56"/>
                </a:cubicBezTo>
                <a:cubicBezTo>
                  <a:pt x="456" y="37"/>
                  <a:pt x="446" y="19"/>
                  <a:pt x="429" y="9"/>
                </a:cubicBezTo>
                <a:cubicBezTo>
                  <a:pt x="424" y="6"/>
                  <a:pt x="418" y="7"/>
                  <a:pt x="413" y="11"/>
                </a:cubicBezTo>
                <a:cubicBezTo>
                  <a:pt x="411" y="14"/>
                  <a:pt x="409" y="17"/>
                  <a:pt x="409" y="21"/>
                </a:cubicBezTo>
                <a:cubicBezTo>
                  <a:pt x="409" y="23"/>
                  <a:pt x="410" y="25"/>
                  <a:pt x="411" y="27"/>
                </a:cubicBezTo>
                <a:cubicBezTo>
                  <a:pt x="411" y="28"/>
                  <a:pt x="411" y="28"/>
                  <a:pt x="411" y="28"/>
                </a:cubicBezTo>
                <a:cubicBezTo>
                  <a:pt x="412" y="30"/>
                  <a:pt x="415" y="32"/>
                  <a:pt x="417" y="33"/>
                </a:cubicBezTo>
                <a:cubicBezTo>
                  <a:pt x="425" y="38"/>
                  <a:pt x="429" y="47"/>
                  <a:pt x="429" y="56"/>
                </a:cubicBezTo>
                <a:cubicBezTo>
                  <a:pt x="429" y="65"/>
                  <a:pt x="424" y="74"/>
                  <a:pt x="416" y="79"/>
                </a:cubicBezTo>
                <a:cubicBezTo>
                  <a:pt x="412" y="81"/>
                  <a:pt x="409" y="86"/>
                  <a:pt x="409" y="91"/>
                </a:cubicBezTo>
                <a:cubicBezTo>
                  <a:pt x="409" y="91"/>
                  <a:pt x="409" y="91"/>
                  <a:pt x="409" y="91"/>
                </a:cubicBezTo>
                <a:cubicBezTo>
                  <a:pt x="409" y="95"/>
                  <a:pt x="412" y="100"/>
                  <a:pt x="416" y="102"/>
                </a:cubicBezTo>
                <a:cubicBezTo>
                  <a:pt x="424" y="107"/>
                  <a:pt x="429" y="116"/>
                  <a:pt x="429" y="126"/>
                </a:cubicBezTo>
                <a:cubicBezTo>
                  <a:pt x="429" y="135"/>
                  <a:pt x="424" y="144"/>
                  <a:pt x="416" y="149"/>
                </a:cubicBezTo>
                <a:cubicBezTo>
                  <a:pt x="412" y="151"/>
                  <a:pt x="409" y="156"/>
                  <a:pt x="409" y="161"/>
                </a:cubicBezTo>
                <a:cubicBezTo>
                  <a:pt x="409" y="161"/>
                  <a:pt x="409" y="161"/>
                  <a:pt x="409" y="161"/>
                </a:cubicBezTo>
                <a:cubicBezTo>
                  <a:pt x="409" y="165"/>
                  <a:pt x="412" y="170"/>
                  <a:pt x="416" y="172"/>
                </a:cubicBezTo>
                <a:cubicBezTo>
                  <a:pt x="424" y="177"/>
                  <a:pt x="429" y="186"/>
                  <a:pt x="429" y="195"/>
                </a:cubicBezTo>
                <a:cubicBezTo>
                  <a:pt x="429" y="205"/>
                  <a:pt x="424" y="214"/>
                  <a:pt x="416" y="219"/>
                </a:cubicBezTo>
                <a:cubicBezTo>
                  <a:pt x="412" y="221"/>
                  <a:pt x="409" y="225"/>
                  <a:pt x="409" y="230"/>
                </a:cubicBezTo>
                <a:cubicBezTo>
                  <a:pt x="409" y="230"/>
                  <a:pt x="409" y="230"/>
                  <a:pt x="409" y="230"/>
                </a:cubicBezTo>
                <a:cubicBezTo>
                  <a:pt x="409" y="235"/>
                  <a:pt x="412" y="239"/>
                  <a:pt x="416" y="242"/>
                </a:cubicBezTo>
                <a:cubicBezTo>
                  <a:pt x="424" y="247"/>
                  <a:pt x="429" y="256"/>
                  <a:pt x="429" y="265"/>
                </a:cubicBezTo>
                <a:cubicBezTo>
                  <a:pt x="429" y="274"/>
                  <a:pt x="425" y="283"/>
                  <a:pt x="417" y="288"/>
                </a:cubicBezTo>
                <a:cubicBezTo>
                  <a:pt x="414" y="289"/>
                  <a:pt x="412" y="291"/>
                  <a:pt x="411" y="294"/>
                </a:cubicBezTo>
                <a:cubicBezTo>
                  <a:pt x="411" y="294"/>
                  <a:pt x="411" y="294"/>
                  <a:pt x="411" y="294"/>
                </a:cubicBezTo>
                <a:cubicBezTo>
                  <a:pt x="410" y="296"/>
                  <a:pt x="409" y="298"/>
                  <a:pt x="409" y="300"/>
                </a:cubicBezTo>
                <a:cubicBezTo>
                  <a:pt x="409" y="304"/>
                  <a:pt x="411" y="307"/>
                  <a:pt x="413" y="310"/>
                </a:cubicBezTo>
                <a:cubicBezTo>
                  <a:pt x="415" y="311"/>
                  <a:pt x="416" y="312"/>
                  <a:pt x="418" y="312"/>
                </a:cubicBezTo>
                <a:cubicBezTo>
                  <a:pt x="425" y="317"/>
                  <a:pt x="430" y="326"/>
                  <a:pt x="430" y="335"/>
                </a:cubicBezTo>
                <a:cubicBezTo>
                  <a:pt x="430" y="349"/>
                  <a:pt x="418" y="361"/>
                  <a:pt x="403" y="361"/>
                </a:cubicBezTo>
                <a:cubicBezTo>
                  <a:pt x="393" y="361"/>
                  <a:pt x="384" y="356"/>
                  <a:pt x="379" y="348"/>
                </a:cubicBezTo>
                <a:cubicBezTo>
                  <a:pt x="377" y="344"/>
                  <a:pt x="373" y="341"/>
                  <a:pt x="368" y="341"/>
                </a:cubicBezTo>
                <a:cubicBezTo>
                  <a:pt x="363" y="341"/>
                  <a:pt x="359" y="344"/>
                  <a:pt x="356" y="348"/>
                </a:cubicBezTo>
                <a:cubicBezTo>
                  <a:pt x="351" y="356"/>
                  <a:pt x="342" y="361"/>
                  <a:pt x="333" y="361"/>
                </a:cubicBezTo>
                <a:cubicBezTo>
                  <a:pt x="323" y="361"/>
                  <a:pt x="314" y="356"/>
                  <a:pt x="310" y="348"/>
                </a:cubicBezTo>
                <a:cubicBezTo>
                  <a:pt x="307" y="344"/>
                  <a:pt x="303" y="341"/>
                  <a:pt x="298" y="341"/>
                </a:cubicBezTo>
                <a:cubicBezTo>
                  <a:pt x="293" y="341"/>
                  <a:pt x="289" y="344"/>
                  <a:pt x="286" y="348"/>
                </a:cubicBezTo>
                <a:cubicBezTo>
                  <a:pt x="282" y="356"/>
                  <a:pt x="273" y="361"/>
                  <a:pt x="263" y="361"/>
                </a:cubicBezTo>
                <a:cubicBezTo>
                  <a:pt x="254" y="361"/>
                  <a:pt x="245" y="356"/>
                  <a:pt x="240" y="348"/>
                </a:cubicBezTo>
                <a:cubicBezTo>
                  <a:pt x="237" y="344"/>
                  <a:pt x="233" y="341"/>
                  <a:pt x="228" y="341"/>
                </a:cubicBezTo>
                <a:cubicBezTo>
                  <a:pt x="223" y="341"/>
                  <a:pt x="219" y="344"/>
                  <a:pt x="217" y="348"/>
                </a:cubicBezTo>
                <a:cubicBezTo>
                  <a:pt x="212" y="356"/>
                  <a:pt x="203" y="361"/>
                  <a:pt x="193" y="361"/>
                </a:cubicBezTo>
                <a:cubicBezTo>
                  <a:pt x="184" y="361"/>
                  <a:pt x="175" y="356"/>
                  <a:pt x="170" y="348"/>
                </a:cubicBezTo>
                <a:cubicBezTo>
                  <a:pt x="168" y="344"/>
                  <a:pt x="163" y="341"/>
                  <a:pt x="158" y="341"/>
                </a:cubicBezTo>
                <a:cubicBezTo>
                  <a:pt x="154" y="341"/>
                  <a:pt x="149" y="344"/>
                  <a:pt x="147" y="348"/>
                </a:cubicBezTo>
                <a:cubicBezTo>
                  <a:pt x="142" y="356"/>
                  <a:pt x="133" y="361"/>
                  <a:pt x="124" y="361"/>
                </a:cubicBezTo>
                <a:cubicBezTo>
                  <a:pt x="114" y="361"/>
                  <a:pt x="106" y="357"/>
                  <a:pt x="101" y="349"/>
                </a:cubicBezTo>
                <a:cubicBezTo>
                  <a:pt x="100" y="347"/>
                  <a:pt x="98" y="344"/>
                  <a:pt x="95" y="343"/>
                </a:cubicBezTo>
                <a:cubicBezTo>
                  <a:pt x="95" y="343"/>
                  <a:pt x="95" y="343"/>
                  <a:pt x="95" y="343"/>
                </a:cubicBezTo>
                <a:cubicBezTo>
                  <a:pt x="90" y="340"/>
                  <a:pt x="83" y="341"/>
                  <a:pt x="79" y="345"/>
                </a:cubicBezTo>
                <a:cubicBezTo>
                  <a:pt x="78" y="347"/>
                  <a:pt x="77" y="348"/>
                  <a:pt x="76" y="350"/>
                </a:cubicBezTo>
                <a:cubicBezTo>
                  <a:pt x="71" y="357"/>
                  <a:pt x="63" y="362"/>
                  <a:pt x="54" y="362"/>
                </a:cubicBezTo>
                <a:cubicBezTo>
                  <a:pt x="47" y="362"/>
                  <a:pt x="40" y="359"/>
                  <a:pt x="35" y="354"/>
                </a:cubicBezTo>
                <a:cubicBezTo>
                  <a:pt x="30" y="349"/>
                  <a:pt x="27" y="342"/>
                  <a:pt x="27" y="335"/>
                </a:cubicBezTo>
                <a:cubicBezTo>
                  <a:pt x="27" y="325"/>
                  <a:pt x="32" y="316"/>
                  <a:pt x="41" y="311"/>
                </a:cubicBezTo>
                <a:cubicBezTo>
                  <a:pt x="45" y="309"/>
                  <a:pt x="47" y="305"/>
                  <a:pt x="47" y="300"/>
                </a:cubicBezTo>
                <a:cubicBezTo>
                  <a:pt x="47" y="300"/>
                  <a:pt x="47" y="300"/>
                  <a:pt x="47" y="300"/>
                </a:cubicBezTo>
                <a:cubicBezTo>
                  <a:pt x="47" y="295"/>
                  <a:pt x="45" y="291"/>
                  <a:pt x="41" y="288"/>
                </a:cubicBezTo>
                <a:cubicBezTo>
                  <a:pt x="32" y="283"/>
                  <a:pt x="27" y="275"/>
                  <a:pt x="27" y="265"/>
                </a:cubicBezTo>
                <a:cubicBezTo>
                  <a:pt x="27" y="255"/>
                  <a:pt x="32" y="246"/>
                  <a:pt x="41" y="242"/>
                </a:cubicBezTo>
                <a:cubicBezTo>
                  <a:pt x="45" y="239"/>
                  <a:pt x="47" y="235"/>
                  <a:pt x="47" y="230"/>
                </a:cubicBezTo>
                <a:cubicBezTo>
                  <a:pt x="47" y="230"/>
                  <a:pt x="47" y="230"/>
                  <a:pt x="47" y="230"/>
                </a:cubicBezTo>
                <a:cubicBezTo>
                  <a:pt x="47" y="225"/>
                  <a:pt x="45" y="221"/>
                  <a:pt x="41" y="218"/>
                </a:cubicBezTo>
                <a:cubicBezTo>
                  <a:pt x="32" y="214"/>
                  <a:pt x="27" y="205"/>
                  <a:pt x="27" y="195"/>
                </a:cubicBezTo>
                <a:cubicBezTo>
                  <a:pt x="27" y="186"/>
                  <a:pt x="32" y="177"/>
                  <a:pt x="41" y="172"/>
                </a:cubicBezTo>
                <a:cubicBezTo>
                  <a:pt x="45" y="169"/>
                  <a:pt x="47" y="165"/>
                  <a:pt x="47" y="160"/>
                </a:cubicBezTo>
                <a:cubicBezTo>
                  <a:pt x="47" y="160"/>
                  <a:pt x="47" y="160"/>
                  <a:pt x="47" y="160"/>
                </a:cubicBezTo>
                <a:cubicBezTo>
                  <a:pt x="47" y="155"/>
                  <a:pt x="45" y="151"/>
                  <a:pt x="41" y="149"/>
                </a:cubicBezTo>
                <a:cubicBezTo>
                  <a:pt x="32" y="144"/>
                  <a:pt x="27" y="135"/>
                  <a:pt x="27" y="125"/>
                </a:cubicBezTo>
                <a:cubicBezTo>
                  <a:pt x="27" y="116"/>
                  <a:pt x="32" y="107"/>
                  <a:pt x="41" y="102"/>
                </a:cubicBezTo>
                <a:cubicBezTo>
                  <a:pt x="45" y="100"/>
                  <a:pt x="47" y="95"/>
                  <a:pt x="47" y="91"/>
                </a:cubicBezTo>
                <a:cubicBezTo>
                  <a:pt x="47" y="91"/>
                  <a:pt x="47" y="90"/>
                  <a:pt x="47" y="90"/>
                </a:cubicBezTo>
                <a:cubicBezTo>
                  <a:pt x="47" y="86"/>
                  <a:pt x="45" y="81"/>
                  <a:pt x="41" y="79"/>
                </a:cubicBezTo>
                <a:cubicBezTo>
                  <a:pt x="32" y="74"/>
                  <a:pt x="27" y="65"/>
                  <a:pt x="27" y="56"/>
                </a:cubicBezTo>
                <a:cubicBezTo>
                  <a:pt x="27" y="55"/>
                  <a:pt x="27" y="55"/>
                  <a:pt x="27" y="54"/>
                </a:cubicBezTo>
                <a:cubicBezTo>
                  <a:pt x="27" y="54"/>
                  <a:pt x="27" y="54"/>
                  <a:pt x="27" y="54"/>
                </a:cubicBezTo>
                <a:cubicBezTo>
                  <a:pt x="27" y="39"/>
                  <a:pt x="39" y="27"/>
                  <a:pt x="54" y="27"/>
                </a:cubicBezTo>
                <a:cubicBezTo>
                  <a:pt x="64" y="27"/>
                  <a:pt x="72" y="32"/>
                  <a:pt x="77" y="41"/>
                </a:cubicBezTo>
                <a:cubicBezTo>
                  <a:pt x="80" y="45"/>
                  <a:pt x="84" y="47"/>
                  <a:pt x="89" y="47"/>
                </a:cubicBezTo>
                <a:cubicBezTo>
                  <a:pt x="94" y="47"/>
                  <a:pt x="98" y="45"/>
                  <a:pt x="100" y="41"/>
                </a:cubicBezTo>
                <a:cubicBezTo>
                  <a:pt x="105" y="32"/>
                  <a:pt x="114" y="27"/>
                  <a:pt x="124" y="27"/>
                </a:cubicBezTo>
                <a:cubicBezTo>
                  <a:pt x="133" y="27"/>
                  <a:pt x="142" y="32"/>
                  <a:pt x="147" y="41"/>
                </a:cubicBezTo>
                <a:cubicBezTo>
                  <a:pt x="149" y="45"/>
                  <a:pt x="154" y="47"/>
                  <a:pt x="159" y="47"/>
                </a:cubicBezTo>
                <a:cubicBezTo>
                  <a:pt x="163" y="47"/>
                  <a:pt x="168" y="45"/>
                  <a:pt x="170" y="41"/>
                </a:cubicBezTo>
                <a:cubicBezTo>
                  <a:pt x="175" y="32"/>
                  <a:pt x="184" y="27"/>
                  <a:pt x="194" y="27"/>
                </a:cubicBezTo>
                <a:cubicBezTo>
                  <a:pt x="203" y="27"/>
                  <a:pt x="212" y="32"/>
                  <a:pt x="217" y="41"/>
                </a:cubicBezTo>
                <a:cubicBezTo>
                  <a:pt x="219" y="45"/>
                  <a:pt x="224" y="47"/>
                  <a:pt x="228" y="47"/>
                </a:cubicBezTo>
                <a:cubicBezTo>
                  <a:pt x="233" y="47"/>
                  <a:pt x="238" y="45"/>
                  <a:pt x="240" y="41"/>
                </a:cubicBezTo>
                <a:cubicBezTo>
                  <a:pt x="245" y="32"/>
                  <a:pt x="254" y="27"/>
                  <a:pt x="263" y="27"/>
                </a:cubicBezTo>
                <a:cubicBezTo>
                  <a:pt x="273" y="27"/>
                  <a:pt x="282" y="32"/>
                  <a:pt x="287" y="41"/>
                </a:cubicBezTo>
                <a:cubicBezTo>
                  <a:pt x="289" y="45"/>
                  <a:pt x="293" y="47"/>
                  <a:pt x="298" y="47"/>
                </a:cubicBezTo>
                <a:cubicBezTo>
                  <a:pt x="303" y="47"/>
                  <a:pt x="307" y="45"/>
                  <a:pt x="310" y="41"/>
                </a:cubicBezTo>
                <a:cubicBezTo>
                  <a:pt x="315" y="32"/>
                  <a:pt x="324" y="27"/>
                  <a:pt x="333" y="27"/>
                </a:cubicBezTo>
                <a:cubicBezTo>
                  <a:pt x="341" y="27"/>
                  <a:pt x="347" y="21"/>
                  <a:pt x="347" y="14"/>
                </a:cubicBezTo>
                <a:cubicBezTo>
                  <a:pt x="347" y="6"/>
                  <a:pt x="341" y="0"/>
                  <a:pt x="333" y="0"/>
                </a:cubicBezTo>
                <a:cubicBezTo>
                  <a:pt x="320" y="0"/>
                  <a:pt x="308" y="5"/>
                  <a:pt x="298" y="1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6" name="Freeform 155"/>
          <p:cNvSpPr>
            <a:spLocks/>
          </p:cNvSpPr>
          <p:nvPr userDrawn="1"/>
        </p:nvSpPr>
        <p:spPr bwMode="auto">
          <a:xfrm>
            <a:off x="3199295" y="1190233"/>
            <a:ext cx="438150" cy="463551"/>
          </a:xfrm>
          <a:custGeom>
            <a:avLst/>
            <a:gdLst/>
            <a:ahLst/>
            <a:cxnLst>
              <a:cxn ang="0">
                <a:pos x="43" y="292"/>
              </a:cxn>
              <a:cxn ang="0">
                <a:pos x="252" y="292"/>
              </a:cxn>
              <a:cxn ang="0">
                <a:pos x="252" y="241"/>
              </a:cxn>
              <a:cxn ang="0">
                <a:pos x="217" y="241"/>
              </a:cxn>
              <a:cxn ang="0">
                <a:pos x="169" y="195"/>
              </a:cxn>
              <a:cxn ang="0">
                <a:pos x="276" y="195"/>
              </a:cxn>
              <a:cxn ang="0">
                <a:pos x="276" y="0"/>
              </a:cxn>
              <a:cxn ang="0">
                <a:pos x="0" y="0"/>
              </a:cxn>
              <a:cxn ang="0">
                <a:pos x="0" y="191"/>
              </a:cxn>
              <a:cxn ang="0">
                <a:pos x="106" y="191"/>
              </a:cxn>
              <a:cxn ang="0">
                <a:pos x="106" y="244"/>
              </a:cxn>
            </a:cxnLst>
            <a:rect l="0" t="0" r="r" b="b"/>
            <a:pathLst>
              <a:path w="276" h="292">
                <a:moveTo>
                  <a:pt x="43" y="292"/>
                </a:moveTo>
                <a:lnTo>
                  <a:pt x="252" y="292"/>
                </a:lnTo>
                <a:lnTo>
                  <a:pt x="252" y="241"/>
                </a:lnTo>
                <a:lnTo>
                  <a:pt x="217" y="241"/>
                </a:lnTo>
                <a:lnTo>
                  <a:pt x="169" y="195"/>
                </a:lnTo>
                <a:lnTo>
                  <a:pt x="276" y="195"/>
                </a:lnTo>
                <a:lnTo>
                  <a:pt x="276" y="0"/>
                </a:lnTo>
                <a:lnTo>
                  <a:pt x="0" y="0"/>
                </a:lnTo>
                <a:lnTo>
                  <a:pt x="0" y="191"/>
                </a:lnTo>
                <a:lnTo>
                  <a:pt x="106" y="191"/>
                </a:lnTo>
                <a:lnTo>
                  <a:pt x="106" y="244"/>
                </a:lnTo>
              </a:path>
            </a:pathLst>
          </a:custGeom>
          <a:noFill/>
          <a:ln w="30163"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7" name="Freeform 238"/>
          <p:cNvSpPr>
            <a:spLocks/>
          </p:cNvSpPr>
          <p:nvPr userDrawn="1"/>
        </p:nvSpPr>
        <p:spPr bwMode="auto">
          <a:xfrm>
            <a:off x="3154845" y="4423073"/>
            <a:ext cx="527049" cy="476249"/>
          </a:xfrm>
          <a:custGeom>
            <a:avLst/>
            <a:gdLst/>
            <a:ahLst/>
            <a:cxnLst>
              <a:cxn ang="0">
                <a:pos x="162" y="286"/>
              </a:cxn>
              <a:cxn ang="0">
                <a:pos x="162" y="268"/>
              </a:cxn>
              <a:cxn ang="0">
                <a:pos x="181" y="48"/>
              </a:cxn>
              <a:cxn ang="0">
                <a:pos x="177" y="118"/>
              </a:cxn>
              <a:cxn ang="0">
                <a:pos x="168" y="122"/>
              </a:cxn>
              <a:cxn ang="0">
                <a:pos x="27" y="122"/>
              </a:cxn>
              <a:cxn ang="0">
                <a:pos x="168" y="171"/>
              </a:cxn>
              <a:cxn ang="0">
                <a:pos x="182" y="184"/>
              </a:cxn>
              <a:cxn ang="0">
                <a:pos x="168" y="198"/>
              </a:cxn>
              <a:cxn ang="0">
                <a:pos x="13" y="198"/>
              </a:cxn>
              <a:cxn ang="0">
                <a:pos x="4" y="194"/>
              </a:cxn>
              <a:cxn ang="0">
                <a:pos x="0" y="184"/>
              </a:cxn>
              <a:cxn ang="0">
                <a:pos x="4" y="100"/>
              </a:cxn>
              <a:cxn ang="0">
                <a:pos x="13" y="96"/>
              </a:cxn>
              <a:cxn ang="0">
                <a:pos x="155" y="96"/>
              </a:cxn>
              <a:cxn ang="0">
                <a:pos x="163" y="2"/>
              </a:cxn>
              <a:cxn ang="0">
                <a:pos x="178" y="6"/>
              </a:cxn>
              <a:cxn ang="0">
                <a:pos x="304" y="138"/>
              </a:cxn>
              <a:cxn ang="0">
                <a:pos x="304" y="156"/>
              </a:cxn>
              <a:cxn ang="0">
                <a:pos x="286" y="376"/>
              </a:cxn>
              <a:cxn ang="0">
                <a:pos x="289" y="305"/>
              </a:cxn>
              <a:cxn ang="0">
                <a:pos x="299" y="301"/>
              </a:cxn>
              <a:cxn ang="0">
                <a:pos x="440" y="301"/>
              </a:cxn>
              <a:cxn ang="0">
                <a:pos x="298" y="252"/>
              </a:cxn>
              <a:cxn ang="0">
                <a:pos x="285" y="239"/>
              </a:cxn>
              <a:cxn ang="0">
                <a:pos x="298" y="226"/>
              </a:cxn>
              <a:cxn ang="0">
                <a:pos x="463" y="229"/>
              </a:cxn>
              <a:cxn ang="0">
                <a:pos x="467" y="239"/>
              </a:cxn>
              <a:cxn ang="0">
                <a:pos x="467" y="314"/>
              </a:cxn>
              <a:cxn ang="0">
                <a:pos x="463" y="324"/>
              </a:cxn>
              <a:cxn ang="0">
                <a:pos x="453" y="328"/>
              </a:cxn>
              <a:cxn ang="0">
                <a:pos x="312" y="409"/>
              </a:cxn>
              <a:cxn ang="0">
                <a:pos x="304" y="421"/>
              </a:cxn>
              <a:cxn ang="0">
                <a:pos x="299" y="422"/>
              </a:cxn>
            </a:cxnLst>
            <a:rect l="0" t="0" r="r" b="b"/>
            <a:pathLst>
              <a:path w="467" h="422">
                <a:moveTo>
                  <a:pt x="289" y="418"/>
                </a:moveTo>
                <a:cubicBezTo>
                  <a:pt x="162" y="286"/>
                  <a:pt x="162" y="286"/>
                  <a:pt x="162" y="286"/>
                </a:cubicBezTo>
                <a:cubicBezTo>
                  <a:pt x="157" y="281"/>
                  <a:pt x="157" y="273"/>
                  <a:pt x="162" y="268"/>
                </a:cubicBezTo>
                <a:cubicBezTo>
                  <a:pt x="162" y="268"/>
                  <a:pt x="162" y="268"/>
                  <a:pt x="162" y="268"/>
                </a:cubicBezTo>
                <a:cubicBezTo>
                  <a:pt x="276" y="147"/>
                  <a:pt x="276" y="147"/>
                  <a:pt x="276" y="147"/>
                </a:cubicBezTo>
                <a:cubicBezTo>
                  <a:pt x="181" y="48"/>
                  <a:pt x="181" y="48"/>
                  <a:pt x="181" y="48"/>
                </a:cubicBezTo>
                <a:cubicBezTo>
                  <a:pt x="181" y="109"/>
                  <a:pt x="181" y="109"/>
                  <a:pt x="181" y="109"/>
                </a:cubicBezTo>
                <a:cubicBezTo>
                  <a:pt x="181" y="113"/>
                  <a:pt x="180" y="116"/>
                  <a:pt x="177" y="118"/>
                </a:cubicBezTo>
                <a:cubicBezTo>
                  <a:pt x="177" y="118"/>
                  <a:pt x="177" y="118"/>
                  <a:pt x="177" y="118"/>
                </a:cubicBezTo>
                <a:cubicBezTo>
                  <a:pt x="175" y="121"/>
                  <a:pt x="171" y="122"/>
                  <a:pt x="168" y="122"/>
                </a:cubicBezTo>
                <a:cubicBezTo>
                  <a:pt x="168" y="122"/>
                  <a:pt x="168" y="122"/>
                  <a:pt x="168" y="122"/>
                </a:cubicBezTo>
                <a:cubicBezTo>
                  <a:pt x="27" y="122"/>
                  <a:pt x="27" y="122"/>
                  <a:pt x="27" y="122"/>
                </a:cubicBezTo>
                <a:cubicBezTo>
                  <a:pt x="27" y="171"/>
                  <a:pt x="27" y="171"/>
                  <a:pt x="27" y="171"/>
                </a:cubicBezTo>
                <a:cubicBezTo>
                  <a:pt x="168" y="171"/>
                  <a:pt x="168" y="171"/>
                  <a:pt x="168" y="171"/>
                </a:cubicBezTo>
                <a:cubicBezTo>
                  <a:pt x="168" y="171"/>
                  <a:pt x="168" y="171"/>
                  <a:pt x="168" y="171"/>
                </a:cubicBezTo>
                <a:cubicBezTo>
                  <a:pt x="176" y="171"/>
                  <a:pt x="182" y="177"/>
                  <a:pt x="182" y="184"/>
                </a:cubicBezTo>
                <a:cubicBezTo>
                  <a:pt x="182" y="184"/>
                  <a:pt x="182" y="184"/>
                  <a:pt x="182" y="184"/>
                </a:cubicBezTo>
                <a:cubicBezTo>
                  <a:pt x="182" y="192"/>
                  <a:pt x="176" y="198"/>
                  <a:pt x="168" y="198"/>
                </a:cubicBezTo>
                <a:cubicBezTo>
                  <a:pt x="168" y="198"/>
                  <a:pt x="168" y="198"/>
                  <a:pt x="168" y="198"/>
                </a:cubicBezTo>
                <a:cubicBezTo>
                  <a:pt x="13" y="198"/>
                  <a:pt x="13" y="198"/>
                  <a:pt x="13" y="198"/>
                </a:cubicBezTo>
                <a:cubicBezTo>
                  <a:pt x="10" y="198"/>
                  <a:pt x="6" y="196"/>
                  <a:pt x="4" y="194"/>
                </a:cubicBezTo>
                <a:cubicBezTo>
                  <a:pt x="4" y="194"/>
                  <a:pt x="4" y="194"/>
                  <a:pt x="4" y="194"/>
                </a:cubicBezTo>
                <a:cubicBezTo>
                  <a:pt x="2" y="191"/>
                  <a:pt x="0" y="188"/>
                  <a:pt x="0" y="184"/>
                </a:cubicBezTo>
                <a:cubicBezTo>
                  <a:pt x="0" y="184"/>
                  <a:pt x="0" y="184"/>
                  <a:pt x="0" y="184"/>
                </a:cubicBezTo>
                <a:cubicBezTo>
                  <a:pt x="0" y="109"/>
                  <a:pt x="0" y="109"/>
                  <a:pt x="0" y="109"/>
                </a:cubicBezTo>
                <a:cubicBezTo>
                  <a:pt x="0" y="106"/>
                  <a:pt x="2" y="102"/>
                  <a:pt x="4" y="100"/>
                </a:cubicBezTo>
                <a:cubicBezTo>
                  <a:pt x="4" y="100"/>
                  <a:pt x="4" y="100"/>
                  <a:pt x="4" y="100"/>
                </a:cubicBezTo>
                <a:cubicBezTo>
                  <a:pt x="6" y="97"/>
                  <a:pt x="10" y="96"/>
                  <a:pt x="13" y="96"/>
                </a:cubicBezTo>
                <a:cubicBezTo>
                  <a:pt x="13" y="96"/>
                  <a:pt x="13" y="96"/>
                  <a:pt x="13" y="96"/>
                </a:cubicBezTo>
                <a:cubicBezTo>
                  <a:pt x="155" y="96"/>
                  <a:pt x="155" y="96"/>
                  <a:pt x="155" y="96"/>
                </a:cubicBezTo>
                <a:cubicBezTo>
                  <a:pt x="155" y="15"/>
                  <a:pt x="155" y="15"/>
                  <a:pt x="155" y="15"/>
                </a:cubicBezTo>
                <a:cubicBezTo>
                  <a:pt x="155" y="9"/>
                  <a:pt x="158" y="4"/>
                  <a:pt x="163" y="2"/>
                </a:cubicBezTo>
                <a:cubicBezTo>
                  <a:pt x="163" y="2"/>
                  <a:pt x="163" y="2"/>
                  <a:pt x="163" y="2"/>
                </a:cubicBezTo>
                <a:cubicBezTo>
                  <a:pt x="168" y="0"/>
                  <a:pt x="174" y="2"/>
                  <a:pt x="178" y="6"/>
                </a:cubicBezTo>
                <a:cubicBezTo>
                  <a:pt x="178" y="6"/>
                  <a:pt x="178" y="6"/>
                  <a:pt x="178" y="6"/>
                </a:cubicBezTo>
                <a:cubicBezTo>
                  <a:pt x="304" y="138"/>
                  <a:pt x="304" y="138"/>
                  <a:pt x="304" y="138"/>
                </a:cubicBezTo>
                <a:cubicBezTo>
                  <a:pt x="309" y="143"/>
                  <a:pt x="309" y="151"/>
                  <a:pt x="304" y="156"/>
                </a:cubicBezTo>
                <a:cubicBezTo>
                  <a:pt x="304" y="156"/>
                  <a:pt x="304" y="156"/>
                  <a:pt x="304" y="156"/>
                </a:cubicBezTo>
                <a:cubicBezTo>
                  <a:pt x="190" y="277"/>
                  <a:pt x="190" y="277"/>
                  <a:pt x="190" y="277"/>
                </a:cubicBezTo>
                <a:cubicBezTo>
                  <a:pt x="286" y="376"/>
                  <a:pt x="286" y="376"/>
                  <a:pt x="286" y="376"/>
                </a:cubicBezTo>
                <a:cubicBezTo>
                  <a:pt x="286" y="314"/>
                  <a:pt x="286" y="314"/>
                  <a:pt x="286" y="314"/>
                </a:cubicBezTo>
                <a:cubicBezTo>
                  <a:pt x="286" y="311"/>
                  <a:pt x="287" y="307"/>
                  <a:pt x="289" y="305"/>
                </a:cubicBezTo>
                <a:cubicBezTo>
                  <a:pt x="289" y="305"/>
                  <a:pt x="289" y="305"/>
                  <a:pt x="289" y="305"/>
                </a:cubicBezTo>
                <a:cubicBezTo>
                  <a:pt x="292" y="302"/>
                  <a:pt x="295" y="301"/>
                  <a:pt x="299" y="301"/>
                </a:cubicBezTo>
                <a:cubicBezTo>
                  <a:pt x="299" y="301"/>
                  <a:pt x="299" y="301"/>
                  <a:pt x="299" y="301"/>
                </a:cubicBezTo>
                <a:cubicBezTo>
                  <a:pt x="440" y="301"/>
                  <a:pt x="440" y="301"/>
                  <a:pt x="440" y="301"/>
                </a:cubicBezTo>
                <a:cubicBezTo>
                  <a:pt x="440" y="252"/>
                  <a:pt x="440" y="252"/>
                  <a:pt x="440" y="252"/>
                </a:cubicBezTo>
                <a:cubicBezTo>
                  <a:pt x="298" y="252"/>
                  <a:pt x="298" y="252"/>
                  <a:pt x="298" y="252"/>
                </a:cubicBezTo>
                <a:cubicBezTo>
                  <a:pt x="291" y="252"/>
                  <a:pt x="285" y="246"/>
                  <a:pt x="285" y="239"/>
                </a:cubicBezTo>
                <a:cubicBezTo>
                  <a:pt x="285" y="239"/>
                  <a:pt x="285" y="239"/>
                  <a:pt x="285" y="239"/>
                </a:cubicBezTo>
                <a:cubicBezTo>
                  <a:pt x="285" y="231"/>
                  <a:pt x="291" y="226"/>
                  <a:pt x="298" y="226"/>
                </a:cubicBezTo>
                <a:cubicBezTo>
                  <a:pt x="298" y="226"/>
                  <a:pt x="298" y="226"/>
                  <a:pt x="298" y="226"/>
                </a:cubicBezTo>
                <a:cubicBezTo>
                  <a:pt x="453" y="226"/>
                  <a:pt x="453" y="226"/>
                  <a:pt x="453" y="226"/>
                </a:cubicBezTo>
                <a:cubicBezTo>
                  <a:pt x="457" y="226"/>
                  <a:pt x="460" y="227"/>
                  <a:pt x="463" y="229"/>
                </a:cubicBezTo>
                <a:cubicBezTo>
                  <a:pt x="463" y="229"/>
                  <a:pt x="463" y="229"/>
                  <a:pt x="463" y="229"/>
                </a:cubicBezTo>
                <a:cubicBezTo>
                  <a:pt x="465" y="232"/>
                  <a:pt x="467" y="235"/>
                  <a:pt x="467" y="239"/>
                </a:cubicBezTo>
                <a:cubicBezTo>
                  <a:pt x="467" y="239"/>
                  <a:pt x="467" y="239"/>
                  <a:pt x="467" y="239"/>
                </a:cubicBezTo>
                <a:cubicBezTo>
                  <a:pt x="467" y="314"/>
                  <a:pt x="467" y="314"/>
                  <a:pt x="467" y="314"/>
                </a:cubicBezTo>
                <a:cubicBezTo>
                  <a:pt x="467" y="318"/>
                  <a:pt x="465" y="321"/>
                  <a:pt x="463" y="324"/>
                </a:cubicBezTo>
                <a:cubicBezTo>
                  <a:pt x="463" y="324"/>
                  <a:pt x="463" y="324"/>
                  <a:pt x="463" y="324"/>
                </a:cubicBezTo>
                <a:cubicBezTo>
                  <a:pt x="460" y="326"/>
                  <a:pt x="457" y="328"/>
                  <a:pt x="453" y="328"/>
                </a:cubicBezTo>
                <a:cubicBezTo>
                  <a:pt x="453" y="328"/>
                  <a:pt x="453" y="328"/>
                  <a:pt x="453" y="328"/>
                </a:cubicBezTo>
                <a:cubicBezTo>
                  <a:pt x="312" y="328"/>
                  <a:pt x="312" y="328"/>
                  <a:pt x="312" y="328"/>
                </a:cubicBezTo>
                <a:cubicBezTo>
                  <a:pt x="312" y="409"/>
                  <a:pt x="312" y="409"/>
                  <a:pt x="312" y="409"/>
                </a:cubicBezTo>
                <a:cubicBezTo>
                  <a:pt x="312" y="414"/>
                  <a:pt x="309" y="419"/>
                  <a:pt x="304" y="421"/>
                </a:cubicBezTo>
                <a:cubicBezTo>
                  <a:pt x="304" y="421"/>
                  <a:pt x="304" y="421"/>
                  <a:pt x="304" y="421"/>
                </a:cubicBezTo>
                <a:cubicBezTo>
                  <a:pt x="302" y="422"/>
                  <a:pt x="301" y="422"/>
                  <a:pt x="299" y="422"/>
                </a:cubicBezTo>
                <a:cubicBezTo>
                  <a:pt x="299" y="422"/>
                  <a:pt x="299" y="422"/>
                  <a:pt x="299" y="422"/>
                </a:cubicBezTo>
                <a:cubicBezTo>
                  <a:pt x="295" y="422"/>
                  <a:pt x="292" y="420"/>
                  <a:pt x="289" y="41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8" name="Freeform 284"/>
          <p:cNvSpPr>
            <a:spLocks/>
          </p:cNvSpPr>
          <p:nvPr userDrawn="1"/>
        </p:nvSpPr>
        <p:spPr bwMode="auto">
          <a:xfrm>
            <a:off x="3262797" y="1795367"/>
            <a:ext cx="311150" cy="417512"/>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9" name="Freeform 288"/>
          <p:cNvSpPr>
            <a:spLocks/>
          </p:cNvSpPr>
          <p:nvPr userDrawn="1"/>
        </p:nvSpPr>
        <p:spPr bwMode="auto">
          <a:xfrm>
            <a:off x="3185802" y="2421155"/>
            <a:ext cx="465138" cy="441324"/>
          </a:xfrm>
          <a:custGeom>
            <a:avLst/>
            <a:gdLst/>
            <a:ahLst/>
            <a:cxnLst>
              <a:cxn ang="0">
                <a:pos x="387" y="147"/>
              </a:cxn>
              <a:cxn ang="0">
                <a:pos x="334" y="107"/>
              </a:cxn>
              <a:cxn ang="0">
                <a:pos x="354" y="73"/>
              </a:cxn>
              <a:cxn ang="0">
                <a:pos x="306" y="26"/>
              </a:cxn>
              <a:cxn ang="0">
                <a:pos x="256" y="11"/>
              </a:cxn>
              <a:cxn ang="0">
                <a:pos x="240" y="38"/>
              </a:cxn>
              <a:cxn ang="0">
                <a:pos x="213" y="40"/>
              </a:cxn>
              <a:cxn ang="0">
                <a:pos x="181" y="29"/>
              </a:cxn>
              <a:cxn ang="0">
                <a:pos x="167" y="3"/>
              </a:cxn>
              <a:cxn ang="0">
                <a:pos x="70" y="49"/>
              </a:cxn>
              <a:cxn ang="0">
                <a:pos x="86" y="91"/>
              </a:cxn>
              <a:cxn ang="0">
                <a:pos x="26" y="129"/>
              </a:cxn>
              <a:cxn ang="0">
                <a:pos x="11" y="138"/>
              </a:cxn>
              <a:cxn ang="0">
                <a:pos x="13" y="246"/>
              </a:cxn>
              <a:cxn ang="0">
                <a:pos x="53" y="247"/>
              </a:cxn>
              <a:cxn ang="0">
                <a:pos x="56" y="320"/>
              </a:cxn>
              <a:cxn ang="0">
                <a:pos x="94" y="367"/>
              </a:cxn>
              <a:cxn ang="0">
                <a:pos x="157" y="383"/>
              </a:cxn>
              <a:cxn ang="0">
                <a:pos x="223" y="356"/>
              </a:cxn>
              <a:cxn ang="0">
                <a:pos x="238" y="332"/>
              </a:cxn>
              <a:cxn ang="0">
                <a:pos x="185" y="219"/>
              </a:cxn>
              <a:cxn ang="0">
                <a:pos x="143" y="123"/>
              </a:cxn>
              <a:cxn ang="0">
                <a:pos x="188" y="180"/>
              </a:cxn>
              <a:cxn ang="0">
                <a:pos x="221" y="177"/>
              </a:cxn>
              <a:cxn ang="0">
                <a:pos x="275" y="185"/>
              </a:cxn>
              <a:cxn ang="0">
                <a:pos x="292" y="228"/>
              </a:cxn>
              <a:cxn ang="0">
                <a:pos x="301" y="311"/>
              </a:cxn>
              <a:cxn ang="0">
                <a:pos x="236" y="384"/>
              </a:cxn>
              <a:cxn ang="0">
                <a:pos x="331" y="351"/>
              </a:cxn>
              <a:cxn ang="0">
                <a:pos x="327" y="273"/>
              </a:cxn>
              <a:cxn ang="0">
                <a:pos x="308" y="197"/>
              </a:cxn>
              <a:cxn ang="0">
                <a:pos x="253" y="151"/>
              </a:cxn>
              <a:cxn ang="0">
                <a:pos x="205" y="155"/>
              </a:cxn>
              <a:cxn ang="0">
                <a:pos x="141" y="94"/>
              </a:cxn>
              <a:cxn ang="0">
                <a:pos x="118" y="136"/>
              </a:cxn>
              <a:cxn ang="0">
                <a:pos x="160" y="309"/>
              </a:cxn>
              <a:cxn ang="0">
                <a:pos x="176" y="327"/>
              </a:cxn>
              <a:cxn ang="0">
                <a:pos x="139" y="361"/>
              </a:cxn>
              <a:cxn ang="0">
                <a:pos x="83" y="327"/>
              </a:cxn>
              <a:cxn ang="0">
                <a:pos x="104" y="284"/>
              </a:cxn>
              <a:cxn ang="0">
                <a:pos x="76" y="229"/>
              </a:cxn>
              <a:cxn ang="0">
                <a:pos x="31" y="222"/>
              </a:cxn>
              <a:cxn ang="0">
                <a:pos x="78" y="154"/>
              </a:cxn>
              <a:cxn ang="0">
                <a:pos x="107" y="108"/>
              </a:cxn>
              <a:cxn ang="0">
                <a:pos x="109" y="77"/>
              </a:cxn>
              <a:cxn ang="0">
                <a:pos x="152" y="29"/>
              </a:cxn>
              <a:cxn ang="0">
                <a:pos x="163" y="54"/>
              </a:cxn>
              <a:cxn ang="0">
                <a:pos x="188" y="67"/>
              </a:cxn>
              <a:cxn ang="0">
                <a:pos x="241" y="73"/>
              </a:cxn>
              <a:cxn ang="0">
                <a:pos x="263" y="51"/>
              </a:cxn>
              <a:cxn ang="0">
                <a:pos x="289" y="47"/>
              </a:cxn>
              <a:cxn ang="0">
                <a:pos x="324" y="75"/>
              </a:cxn>
              <a:cxn ang="0">
                <a:pos x="311" y="121"/>
              </a:cxn>
              <a:cxn ang="0">
                <a:pos x="334" y="169"/>
              </a:cxn>
              <a:cxn ang="0">
                <a:pos x="373" y="245"/>
              </a:cxn>
              <a:cxn ang="0">
                <a:pos x="395" y="261"/>
              </a:cxn>
            </a:cxnLst>
            <a:rect l="0" t="0" r="r" b="b"/>
            <a:pathLst>
              <a:path w="413" h="391">
                <a:moveTo>
                  <a:pt x="401" y="155"/>
                </a:moveTo>
                <a:cubicBezTo>
                  <a:pt x="400" y="152"/>
                  <a:pt x="398" y="150"/>
                  <a:pt x="396" y="149"/>
                </a:cubicBezTo>
                <a:cubicBezTo>
                  <a:pt x="393" y="147"/>
                  <a:pt x="390" y="146"/>
                  <a:pt x="387" y="147"/>
                </a:cubicBezTo>
                <a:cubicBezTo>
                  <a:pt x="356" y="150"/>
                  <a:pt x="356" y="150"/>
                  <a:pt x="356" y="150"/>
                </a:cubicBezTo>
                <a:cubicBezTo>
                  <a:pt x="354" y="145"/>
                  <a:pt x="351" y="138"/>
                  <a:pt x="347" y="131"/>
                </a:cubicBezTo>
                <a:cubicBezTo>
                  <a:pt x="343" y="121"/>
                  <a:pt x="338" y="113"/>
                  <a:pt x="334" y="107"/>
                </a:cubicBezTo>
                <a:cubicBezTo>
                  <a:pt x="351" y="83"/>
                  <a:pt x="351" y="83"/>
                  <a:pt x="351" y="83"/>
                </a:cubicBezTo>
                <a:cubicBezTo>
                  <a:pt x="351" y="83"/>
                  <a:pt x="351" y="83"/>
                  <a:pt x="352" y="83"/>
                </a:cubicBezTo>
                <a:cubicBezTo>
                  <a:pt x="353" y="80"/>
                  <a:pt x="354" y="76"/>
                  <a:pt x="354" y="73"/>
                </a:cubicBezTo>
                <a:cubicBezTo>
                  <a:pt x="354" y="73"/>
                  <a:pt x="354" y="73"/>
                  <a:pt x="354" y="73"/>
                </a:cubicBezTo>
                <a:cubicBezTo>
                  <a:pt x="353" y="67"/>
                  <a:pt x="350" y="61"/>
                  <a:pt x="335" y="48"/>
                </a:cubicBezTo>
                <a:cubicBezTo>
                  <a:pt x="326" y="40"/>
                  <a:pt x="315" y="33"/>
                  <a:pt x="306" y="26"/>
                </a:cubicBezTo>
                <a:cubicBezTo>
                  <a:pt x="305" y="26"/>
                  <a:pt x="304" y="25"/>
                  <a:pt x="303" y="25"/>
                </a:cubicBezTo>
                <a:cubicBezTo>
                  <a:pt x="282" y="11"/>
                  <a:pt x="268" y="7"/>
                  <a:pt x="256" y="11"/>
                </a:cubicBezTo>
                <a:cubicBezTo>
                  <a:pt x="256" y="11"/>
                  <a:pt x="256" y="11"/>
                  <a:pt x="256" y="11"/>
                </a:cubicBezTo>
                <a:cubicBezTo>
                  <a:pt x="255" y="11"/>
                  <a:pt x="254" y="12"/>
                  <a:pt x="253" y="13"/>
                </a:cubicBezTo>
                <a:cubicBezTo>
                  <a:pt x="251" y="14"/>
                  <a:pt x="249" y="16"/>
                  <a:pt x="248" y="17"/>
                </a:cubicBezTo>
                <a:cubicBezTo>
                  <a:pt x="247" y="20"/>
                  <a:pt x="245" y="25"/>
                  <a:pt x="240" y="38"/>
                </a:cubicBezTo>
                <a:cubicBezTo>
                  <a:pt x="238" y="41"/>
                  <a:pt x="238" y="41"/>
                  <a:pt x="238" y="41"/>
                </a:cubicBezTo>
                <a:cubicBezTo>
                  <a:pt x="238" y="42"/>
                  <a:pt x="238" y="43"/>
                  <a:pt x="237" y="44"/>
                </a:cubicBezTo>
                <a:cubicBezTo>
                  <a:pt x="231" y="42"/>
                  <a:pt x="222" y="41"/>
                  <a:pt x="213" y="40"/>
                </a:cubicBezTo>
                <a:cubicBezTo>
                  <a:pt x="203" y="40"/>
                  <a:pt x="194" y="40"/>
                  <a:pt x="187" y="40"/>
                </a:cubicBezTo>
                <a:cubicBezTo>
                  <a:pt x="185" y="38"/>
                  <a:pt x="184" y="34"/>
                  <a:pt x="182" y="30"/>
                </a:cubicBezTo>
                <a:cubicBezTo>
                  <a:pt x="181" y="29"/>
                  <a:pt x="181" y="29"/>
                  <a:pt x="181" y="29"/>
                </a:cubicBezTo>
                <a:cubicBezTo>
                  <a:pt x="178" y="23"/>
                  <a:pt x="174" y="14"/>
                  <a:pt x="172" y="10"/>
                </a:cubicBezTo>
                <a:cubicBezTo>
                  <a:pt x="171" y="8"/>
                  <a:pt x="170" y="5"/>
                  <a:pt x="167" y="4"/>
                </a:cubicBezTo>
                <a:cubicBezTo>
                  <a:pt x="167" y="4"/>
                  <a:pt x="167" y="4"/>
                  <a:pt x="167" y="3"/>
                </a:cubicBezTo>
                <a:cubicBezTo>
                  <a:pt x="165" y="2"/>
                  <a:pt x="163" y="1"/>
                  <a:pt x="160" y="1"/>
                </a:cubicBezTo>
                <a:cubicBezTo>
                  <a:pt x="147" y="0"/>
                  <a:pt x="120" y="13"/>
                  <a:pt x="112" y="17"/>
                </a:cubicBezTo>
                <a:cubicBezTo>
                  <a:pt x="90" y="28"/>
                  <a:pt x="76" y="39"/>
                  <a:pt x="70" y="49"/>
                </a:cubicBezTo>
                <a:cubicBezTo>
                  <a:pt x="69" y="50"/>
                  <a:pt x="68" y="51"/>
                  <a:pt x="67" y="53"/>
                </a:cubicBezTo>
                <a:cubicBezTo>
                  <a:pt x="65" y="57"/>
                  <a:pt x="66" y="62"/>
                  <a:pt x="69" y="67"/>
                </a:cubicBezTo>
                <a:cubicBezTo>
                  <a:pt x="75" y="77"/>
                  <a:pt x="80" y="84"/>
                  <a:pt x="86" y="91"/>
                </a:cubicBezTo>
                <a:cubicBezTo>
                  <a:pt x="80" y="98"/>
                  <a:pt x="73" y="107"/>
                  <a:pt x="68" y="116"/>
                </a:cubicBezTo>
                <a:cubicBezTo>
                  <a:pt x="63" y="122"/>
                  <a:pt x="60" y="129"/>
                  <a:pt x="57" y="134"/>
                </a:cubicBezTo>
                <a:cubicBezTo>
                  <a:pt x="26" y="129"/>
                  <a:pt x="26" y="129"/>
                  <a:pt x="26" y="129"/>
                </a:cubicBezTo>
                <a:cubicBezTo>
                  <a:pt x="21" y="128"/>
                  <a:pt x="15" y="131"/>
                  <a:pt x="12" y="135"/>
                </a:cubicBezTo>
                <a:cubicBezTo>
                  <a:pt x="12" y="136"/>
                  <a:pt x="12" y="136"/>
                  <a:pt x="12" y="136"/>
                </a:cubicBezTo>
                <a:cubicBezTo>
                  <a:pt x="11" y="137"/>
                  <a:pt x="11" y="137"/>
                  <a:pt x="11" y="138"/>
                </a:cubicBezTo>
                <a:cubicBezTo>
                  <a:pt x="10" y="138"/>
                  <a:pt x="10" y="138"/>
                  <a:pt x="10" y="139"/>
                </a:cubicBezTo>
                <a:cubicBezTo>
                  <a:pt x="6" y="150"/>
                  <a:pt x="0" y="215"/>
                  <a:pt x="7" y="238"/>
                </a:cubicBezTo>
                <a:cubicBezTo>
                  <a:pt x="8" y="241"/>
                  <a:pt x="10" y="244"/>
                  <a:pt x="13" y="246"/>
                </a:cubicBezTo>
                <a:cubicBezTo>
                  <a:pt x="15" y="248"/>
                  <a:pt x="18" y="249"/>
                  <a:pt x="20" y="249"/>
                </a:cubicBezTo>
                <a:cubicBezTo>
                  <a:pt x="21" y="249"/>
                  <a:pt x="21" y="249"/>
                  <a:pt x="21" y="249"/>
                </a:cubicBezTo>
                <a:cubicBezTo>
                  <a:pt x="29" y="249"/>
                  <a:pt x="42" y="248"/>
                  <a:pt x="53" y="247"/>
                </a:cubicBezTo>
                <a:cubicBezTo>
                  <a:pt x="58" y="261"/>
                  <a:pt x="68" y="280"/>
                  <a:pt x="76" y="292"/>
                </a:cubicBezTo>
                <a:cubicBezTo>
                  <a:pt x="67" y="304"/>
                  <a:pt x="56" y="320"/>
                  <a:pt x="56" y="320"/>
                </a:cubicBezTo>
                <a:cubicBezTo>
                  <a:pt x="56" y="320"/>
                  <a:pt x="56" y="320"/>
                  <a:pt x="56" y="320"/>
                </a:cubicBezTo>
                <a:cubicBezTo>
                  <a:pt x="53" y="324"/>
                  <a:pt x="53" y="329"/>
                  <a:pt x="55" y="333"/>
                </a:cubicBezTo>
                <a:cubicBezTo>
                  <a:pt x="58" y="341"/>
                  <a:pt x="68" y="351"/>
                  <a:pt x="86" y="363"/>
                </a:cubicBezTo>
                <a:cubicBezTo>
                  <a:pt x="89" y="364"/>
                  <a:pt x="91" y="366"/>
                  <a:pt x="94" y="367"/>
                </a:cubicBezTo>
                <a:cubicBezTo>
                  <a:pt x="103" y="373"/>
                  <a:pt x="127" y="387"/>
                  <a:pt x="143" y="389"/>
                </a:cubicBezTo>
                <a:cubicBezTo>
                  <a:pt x="144" y="390"/>
                  <a:pt x="144" y="390"/>
                  <a:pt x="145" y="390"/>
                </a:cubicBezTo>
                <a:cubicBezTo>
                  <a:pt x="150" y="390"/>
                  <a:pt x="155" y="387"/>
                  <a:pt x="157" y="383"/>
                </a:cubicBezTo>
                <a:cubicBezTo>
                  <a:pt x="158" y="383"/>
                  <a:pt x="158" y="382"/>
                  <a:pt x="158" y="381"/>
                </a:cubicBezTo>
                <a:cubicBezTo>
                  <a:pt x="172" y="354"/>
                  <a:pt x="172" y="354"/>
                  <a:pt x="172" y="354"/>
                </a:cubicBezTo>
                <a:cubicBezTo>
                  <a:pt x="190" y="358"/>
                  <a:pt x="209" y="357"/>
                  <a:pt x="223" y="356"/>
                </a:cubicBezTo>
                <a:cubicBezTo>
                  <a:pt x="229" y="356"/>
                  <a:pt x="229" y="356"/>
                  <a:pt x="229" y="356"/>
                </a:cubicBezTo>
                <a:cubicBezTo>
                  <a:pt x="234" y="356"/>
                  <a:pt x="238" y="354"/>
                  <a:pt x="241" y="350"/>
                </a:cubicBezTo>
                <a:cubicBezTo>
                  <a:pt x="245" y="344"/>
                  <a:pt x="244" y="336"/>
                  <a:pt x="238" y="332"/>
                </a:cubicBezTo>
                <a:cubicBezTo>
                  <a:pt x="181" y="292"/>
                  <a:pt x="181" y="292"/>
                  <a:pt x="181" y="292"/>
                </a:cubicBezTo>
                <a:cubicBezTo>
                  <a:pt x="178" y="287"/>
                  <a:pt x="170" y="270"/>
                  <a:pt x="176" y="252"/>
                </a:cubicBezTo>
                <a:cubicBezTo>
                  <a:pt x="179" y="241"/>
                  <a:pt x="182" y="230"/>
                  <a:pt x="185" y="219"/>
                </a:cubicBezTo>
                <a:cubicBezTo>
                  <a:pt x="186" y="216"/>
                  <a:pt x="186" y="212"/>
                  <a:pt x="184" y="209"/>
                </a:cubicBezTo>
                <a:cubicBezTo>
                  <a:pt x="142" y="125"/>
                  <a:pt x="142" y="125"/>
                  <a:pt x="142" y="125"/>
                </a:cubicBezTo>
                <a:cubicBezTo>
                  <a:pt x="142" y="124"/>
                  <a:pt x="142" y="123"/>
                  <a:pt x="143" y="123"/>
                </a:cubicBezTo>
                <a:cubicBezTo>
                  <a:pt x="153" y="118"/>
                  <a:pt x="153" y="118"/>
                  <a:pt x="153" y="118"/>
                </a:cubicBezTo>
                <a:cubicBezTo>
                  <a:pt x="155" y="117"/>
                  <a:pt x="156" y="117"/>
                  <a:pt x="157" y="117"/>
                </a:cubicBezTo>
                <a:cubicBezTo>
                  <a:pt x="188" y="180"/>
                  <a:pt x="188" y="180"/>
                  <a:pt x="188" y="180"/>
                </a:cubicBezTo>
                <a:cubicBezTo>
                  <a:pt x="190" y="184"/>
                  <a:pt x="193" y="187"/>
                  <a:pt x="197" y="187"/>
                </a:cubicBezTo>
                <a:cubicBezTo>
                  <a:pt x="201" y="188"/>
                  <a:pt x="205" y="187"/>
                  <a:pt x="208" y="185"/>
                </a:cubicBezTo>
                <a:cubicBezTo>
                  <a:pt x="215" y="179"/>
                  <a:pt x="220" y="178"/>
                  <a:pt x="221" y="177"/>
                </a:cubicBezTo>
                <a:cubicBezTo>
                  <a:pt x="234" y="183"/>
                  <a:pt x="242" y="180"/>
                  <a:pt x="247" y="178"/>
                </a:cubicBezTo>
                <a:cubicBezTo>
                  <a:pt x="247" y="178"/>
                  <a:pt x="248" y="177"/>
                  <a:pt x="249" y="177"/>
                </a:cubicBezTo>
                <a:cubicBezTo>
                  <a:pt x="257" y="179"/>
                  <a:pt x="271" y="183"/>
                  <a:pt x="275" y="185"/>
                </a:cubicBezTo>
                <a:cubicBezTo>
                  <a:pt x="276" y="186"/>
                  <a:pt x="276" y="188"/>
                  <a:pt x="280" y="197"/>
                </a:cubicBezTo>
                <a:cubicBezTo>
                  <a:pt x="280" y="200"/>
                  <a:pt x="281" y="202"/>
                  <a:pt x="282" y="206"/>
                </a:cubicBezTo>
                <a:cubicBezTo>
                  <a:pt x="285" y="213"/>
                  <a:pt x="289" y="221"/>
                  <a:pt x="292" y="228"/>
                </a:cubicBezTo>
                <a:cubicBezTo>
                  <a:pt x="297" y="238"/>
                  <a:pt x="302" y="248"/>
                  <a:pt x="302" y="256"/>
                </a:cubicBezTo>
                <a:cubicBezTo>
                  <a:pt x="302" y="260"/>
                  <a:pt x="301" y="265"/>
                  <a:pt x="300" y="271"/>
                </a:cubicBezTo>
                <a:cubicBezTo>
                  <a:pt x="299" y="283"/>
                  <a:pt x="298" y="297"/>
                  <a:pt x="301" y="311"/>
                </a:cubicBezTo>
                <a:cubicBezTo>
                  <a:pt x="303" y="319"/>
                  <a:pt x="306" y="327"/>
                  <a:pt x="308" y="333"/>
                </a:cubicBezTo>
                <a:cubicBezTo>
                  <a:pt x="242" y="366"/>
                  <a:pt x="242" y="366"/>
                  <a:pt x="242" y="366"/>
                </a:cubicBezTo>
                <a:cubicBezTo>
                  <a:pt x="235" y="369"/>
                  <a:pt x="233" y="377"/>
                  <a:pt x="236" y="384"/>
                </a:cubicBezTo>
                <a:cubicBezTo>
                  <a:pt x="238" y="388"/>
                  <a:pt x="243" y="391"/>
                  <a:pt x="248" y="391"/>
                </a:cubicBezTo>
                <a:cubicBezTo>
                  <a:pt x="250" y="391"/>
                  <a:pt x="252" y="390"/>
                  <a:pt x="254" y="389"/>
                </a:cubicBezTo>
                <a:cubicBezTo>
                  <a:pt x="331" y="351"/>
                  <a:pt x="331" y="351"/>
                  <a:pt x="331" y="351"/>
                </a:cubicBezTo>
                <a:cubicBezTo>
                  <a:pt x="337" y="348"/>
                  <a:pt x="340" y="340"/>
                  <a:pt x="337" y="334"/>
                </a:cubicBezTo>
                <a:cubicBezTo>
                  <a:pt x="337" y="333"/>
                  <a:pt x="331" y="321"/>
                  <a:pt x="327" y="305"/>
                </a:cubicBezTo>
                <a:cubicBezTo>
                  <a:pt x="325" y="295"/>
                  <a:pt x="326" y="284"/>
                  <a:pt x="327" y="273"/>
                </a:cubicBezTo>
                <a:cubicBezTo>
                  <a:pt x="328" y="267"/>
                  <a:pt x="328" y="261"/>
                  <a:pt x="328" y="255"/>
                </a:cubicBezTo>
                <a:cubicBezTo>
                  <a:pt x="328" y="243"/>
                  <a:pt x="322" y="230"/>
                  <a:pt x="316" y="216"/>
                </a:cubicBezTo>
                <a:cubicBezTo>
                  <a:pt x="313" y="210"/>
                  <a:pt x="310" y="203"/>
                  <a:pt x="308" y="197"/>
                </a:cubicBezTo>
                <a:cubicBezTo>
                  <a:pt x="306" y="193"/>
                  <a:pt x="305" y="191"/>
                  <a:pt x="305" y="188"/>
                </a:cubicBezTo>
                <a:cubicBezTo>
                  <a:pt x="300" y="175"/>
                  <a:pt x="299" y="172"/>
                  <a:pt x="294" y="167"/>
                </a:cubicBezTo>
                <a:cubicBezTo>
                  <a:pt x="285" y="157"/>
                  <a:pt x="253" y="151"/>
                  <a:pt x="253" y="151"/>
                </a:cubicBezTo>
                <a:cubicBezTo>
                  <a:pt x="246" y="150"/>
                  <a:pt x="241" y="152"/>
                  <a:pt x="237" y="153"/>
                </a:cubicBezTo>
                <a:cubicBezTo>
                  <a:pt x="235" y="154"/>
                  <a:pt x="235" y="154"/>
                  <a:pt x="233" y="153"/>
                </a:cubicBezTo>
                <a:cubicBezTo>
                  <a:pt x="225" y="149"/>
                  <a:pt x="216" y="150"/>
                  <a:pt x="205" y="155"/>
                </a:cubicBezTo>
                <a:cubicBezTo>
                  <a:pt x="180" y="105"/>
                  <a:pt x="180" y="105"/>
                  <a:pt x="180" y="105"/>
                </a:cubicBezTo>
                <a:cubicBezTo>
                  <a:pt x="177" y="98"/>
                  <a:pt x="170" y="93"/>
                  <a:pt x="162" y="91"/>
                </a:cubicBezTo>
                <a:cubicBezTo>
                  <a:pt x="155" y="90"/>
                  <a:pt x="148" y="91"/>
                  <a:pt x="141" y="94"/>
                </a:cubicBezTo>
                <a:cubicBezTo>
                  <a:pt x="131" y="99"/>
                  <a:pt x="131" y="99"/>
                  <a:pt x="131" y="99"/>
                </a:cubicBezTo>
                <a:cubicBezTo>
                  <a:pt x="125" y="102"/>
                  <a:pt x="119" y="108"/>
                  <a:pt x="117" y="115"/>
                </a:cubicBezTo>
                <a:cubicBezTo>
                  <a:pt x="114" y="122"/>
                  <a:pt x="114" y="130"/>
                  <a:pt x="118" y="136"/>
                </a:cubicBezTo>
                <a:cubicBezTo>
                  <a:pt x="158" y="217"/>
                  <a:pt x="158" y="217"/>
                  <a:pt x="158" y="217"/>
                </a:cubicBezTo>
                <a:cubicBezTo>
                  <a:pt x="155" y="226"/>
                  <a:pt x="152" y="235"/>
                  <a:pt x="150" y="245"/>
                </a:cubicBezTo>
                <a:cubicBezTo>
                  <a:pt x="140" y="279"/>
                  <a:pt x="160" y="308"/>
                  <a:pt x="160" y="309"/>
                </a:cubicBezTo>
                <a:cubicBezTo>
                  <a:pt x="161" y="310"/>
                  <a:pt x="162" y="312"/>
                  <a:pt x="164" y="312"/>
                </a:cubicBezTo>
                <a:cubicBezTo>
                  <a:pt x="188" y="329"/>
                  <a:pt x="188" y="329"/>
                  <a:pt x="188" y="329"/>
                </a:cubicBezTo>
                <a:cubicBezTo>
                  <a:pt x="184" y="329"/>
                  <a:pt x="180" y="328"/>
                  <a:pt x="176" y="327"/>
                </a:cubicBezTo>
                <a:cubicBezTo>
                  <a:pt x="168" y="325"/>
                  <a:pt x="168" y="325"/>
                  <a:pt x="168" y="325"/>
                </a:cubicBezTo>
                <a:cubicBezTo>
                  <a:pt x="162" y="324"/>
                  <a:pt x="156" y="327"/>
                  <a:pt x="153" y="332"/>
                </a:cubicBezTo>
                <a:cubicBezTo>
                  <a:pt x="139" y="361"/>
                  <a:pt x="139" y="361"/>
                  <a:pt x="139" y="361"/>
                </a:cubicBezTo>
                <a:cubicBezTo>
                  <a:pt x="131" y="357"/>
                  <a:pt x="119" y="351"/>
                  <a:pt x="107" y="344"/>
                </a:cubicBezTo>
                <a:cubicBezTo>
                  <a:pt x="105" y="343"/>
                  <a:pt x="103" y="342"/>
                  <a:pt x="101" y="340"/>
                </a:cubicBezTo>
                <a:cubicBezTo>
                  <a:pt x="92" y="334"/>
                  <a:pt x="87" y="330"/>
                  <a:pt x="83" y="327"/>
                </a:cubicBezTo>
                <a:cubicBezTo>
                  <a:pt x="88" y="321"/>
                  <a:pt x="94" y="313"/>
                  <a:pt x="99" y="306"/>
                </a:cubicBezTo>
                <a:cubicBezTo>
                  <a:pt x="104" y="300"/>
                  <a:pt x="104" y="300"/>
                  <a:pt x="104" y="300"/>
                </a:cubicBezTo>
                <a:cubicBezTo>
                  <a:pt x="107" y="295"/>
                  <a:pt x="107" y="289"/>
                  <a:pt x="104" y="284"/>
                </a:cubicBezTo>
                <a:cubicBezTo>
                  <a:pt x="99" y="278"/>
                  <a:pt x="99" y="278"/>
                  <a:pt x="99" y="278"/>
                </a:cubicBezTo>
                <a:cubicBezTo>
                  <a:pt x="91" y="267"/>
                  <a:pt x="82" y="249"/>
                  <a:pt x="78" y="237"/>
                </a:cubicBezTo>
                <a:cubicBezTo>
                  <a:pt x="76" y="229"/>
                  <a:pt x="76" y="229"/>
                  <a:pt x="76" y="229"/>
                </a:cubicBezTo>
                <a:cubicBezTo>
                  <a:pt x="74" y="223"/>
                  <a:pt x="68" y="219"/>
                  <a:pt x="62" y="219"/>
                </a:cubicBezTo>
                <a:cubicBezTo>
                  <a:pt x="54" y="220"/>
                  <a:pt x="54" y="220"/>
                  <a:pt x="54" y="220"/>
                </a:cubicBezTo>
                <a:cubicBezTo>
                  <a:pt x="47" y="220"/>
                  <a:pt x="38" y="221"/>
                  <a:pt x="31" y="222"/>
                </a:cubicBezTo>
                <a:cubicBezTo>
                  <a:pt x="30" y="204"/>
                  <a:pt x="32" y="174"/>
                  <a:pt x="34" y="157"/>
                </a:cubicBezTo>
                <a:cubicBezTo>
                  <a:pt x="64" y="162"/>
                  <a:pt x="64" y="162"/>
                  <a:pt x="64" y="162"/>
                </a:cubicBezTo>
                <a:cubicBezTo>
                  <a:pt x="70" y="163"/>
                  <a:pt x="76" y="160"/>
                  <a:pt x="78" y="154"/>
                </a:cubicBezTo>
                <a:cubicBezTo>
                  <a:pt x="81" y="146"/>
                  <a:pt x="81" y="146"/>
                  <a:pt x="81" y="146"/>
                </a:cubicBezTo>
                <a:cubicBezTo>
                  <a:pt x="83" y="142"/>
                  <a:pt x="86" y="136"/>
                  <a:pt x="90" y="130"/>
                </a:cubicBezTo>
                <a:cubicBezTo>
                  <a:pt x="95" y="122"/>
                  <a:pt x="102" y="114"/>
                  <a:pt x="107" y="108"/>
                </a:cubicBezTo>
                <a:cubicBezTo>
                  <a:pt x="114" y="101"/>
                  <a:pt x="114" y="101"/>
                  <a:pt x="114" y="101"/>
                </a:cubicBezTo>
                <a:cubicBezTo>
                  <a:pt x="118" y="97"/>
                  <a:pt x="119" y="89"/>
                  <a:pt x="114" y="84"/>
                </a:cubicBezTo>
                <a:cubicBezTo>
                  <a:pt x="109" y="77"/>
                  <a:pt x="109" y="77"/>
                  <a:pt x="109" y="77"/>
                </a:cubicBezTo>
                <a:cubicBezTo>
                  <a:pt x="104" y="71"/>
                  <a:pt x="100" y="66"/>
                  <a:pt x="96" y="59"/>
                </a:cubicBezTo>
                <a:cubicBezTo>
                  <a:pt x="101" y="55"/>
                  <a:pt x="110" y="48"/>
                  <a:pt x="124" y="41"/>
                </a:cubicBezTo>
                <a:cubicBezTo>
                  <a:pt x="136" y="35"/>
                  <a:pt x="146" y="31"/>
                  <a:pt x="152" y="29"/>
                </a:cubicBezTo>
                <a:cubicBezTo>
                  <a:pt x="153" y="33"/>
                  <a:pt x="155" y="37"/>
                  <a:pt x="157" y="41"/>
                </a:cubicBezTo>
                <a:cubicBezTo>
                  <a:pt x="157" y="41"/>
                  <a:pt x="157" y="41"/>
                  <a:pt x="157" y="41"/>
                </a:cubicBezTo>
                <a:cubicBezTo>
                  <a:pt x="160" y="47"/>
                  <a:pt x="162" y="51"/>
                  <a:pt x="163" y="54"/>
                </a:cubicBezTo>
                <a:cubicBezTo>
                  <a:pt x="167" y="61"/>
                  <a:pt x="167" y="61"/>
                  <a:pt x="167" y="61"/>
                </a:cubicBezTo>
                <a:cubicBezTo>
                  <a:pt x="169" y="66"/>
                  <a:pt x="175" y="69"/>
                  <a:pt x="180" y="68"/>
                </a:cubicBezTo>
                <a:cubicBezTo>
                  <a:pt x="188" y="67"/>
                  <a:pt x="188" y="67"/>
                  <a:pt x="188" y="67"/>
                </a:cubicBezTo>
                <a:cubicBezTo>
                  <a:pt x="194" y="66"/>
                  <a:pt x="202" y="66"/>
                  <a:pt x="211" y="67"/>
                </a:cubicBezTo>
                <a:cubicBezTo>
                  <a:pt x="220" y="68"/>
                  <a:pt x="227" y="69"/>
                  <a:pt x="233" y="70"/>
                </a:cubicBezTo>
                <a:cubicBezTo>
                  <a:pt x="241" y="73"/>
                  <a:pt x="241" y="73"/>
                  <a:pt x="241" y="73"/>
                </a:cubicBezTo>
                <a:cubicBezTo>
                  <a:pt x="248" y="75"/>
                  <a:pt x="255" y="71"/>
                  <a:pt x="257" y="65"/>
                </a:cubicBezTo>
                <a:cubicBezTo>
                  <a:pt x="261" y="56"/>
                  <a:pt x="261" y="56"/>
                  <a:pt x="261" y="56"/>
                </a:cubicBezTo>
                <a:cubicBezTo>
                  <a:pt x="262" y="55"/>
                  <a:pt x="262" y="53"/>
                  <a:pt x="263" y="51"/>
                </a:cubicBezTo>
                <a:cubicBezTo>
                  <a:pt x="264" y="48"/>
                  <a:pt x="264" y="48"/>
                  <a:pt x="264" y="48"/>
                </a:cubicBezTo>
                <a:cubicBezTo>
                  <a:pt x="266" y="44"/>
                  <a:pt x="268" y="40"/>
                  <a:pt x="269" y="37"/>
                </a:cubicBezTo>
                <a:cubicBezTo>
                  <a:pt x="273" y="38"/>
                  <a:pt x="279" y="41"/>
                  <a:pt x="289" y="47"/>
                </a:cubicBezTo>
                <a:cubicBezTo>
                  <a:pt x="290" y="48"/>
                  <a:pt x="291" y="48"/>
                  <a:pt x="291" y="49"/>
                </a:cubicBezTo>
                <a:cubicBezTo>
                  <a:pt x="300" y="54"/>
                  <a:pt x="309" y="61"/>
                  <a:pt x="317" y="68"/>
                </a:cubicBezTo>
                <a:cubicBezTo>
                  <a:pt x="320" y="71"/>
                  <a:pt x="323" y="73"/>
                  <a:pt x="324" y="75"/>
                </a:cubicBezTo>
                <a:cubicBezTo>
                  <a:pt x="307" y="99"/>
                  <a:pt x="307" y="99"/>
                  <a:pt x="307" y="99"/>
                </a:cubicBezTo>
                <a:cubicBezTo>
                  <a:pt x="304" y="104"/>
                  <a:pt x="304" y="110"/>
                  <a:pt x="307" y="115"/>
                </a:cubicBezTo>
                <a:cubicBezTo>
                  <a:pt x="311" y="121"/>
                  <a:pt x="311" y="121"/>
                  <a:pt x="311" y="121"/>
                </a:cubicBezTo>
                <a:cubicBezTo>
                  <a:pt x="314" y="124"/>
                  <a:pt x="318" y="130"/>
                  <a:pt x="323" y="142"/>
                </a:cubicBezTo>
                <a:cubicBezTo>
                  <a:pt x="327" y="150"/>
                  <a:pt x="330" y="156"/>
                  <a:pt x="331" y="161"/>
                </a:cubicBezTo>
                <a:cubicBezTo>
                  <a:pt x="334" y="169"/>
                  <a:pt x="334" y="169"/>
                  <a:pt x="334" y="169"/>
                </a:cubicBezTo>
                <a:cubicBezTo>
                  <a:pt x="336" y="175"/>
                  <a:pt x="342" y="179"/>
                  <a:pt x="348" y="178"/>
                </a:cubicBezTo>
                <a:cubicBezTo>
                  <a:pt x="379" y="174"/>
                  <a:pt x="379" y="174"/>
                  <a:pt x="379" y="174"/>
                </a:cubicBezTo>
                <a:cubicBezTo>
                  <a:pt x="381" y="191"/>
                  <a:pt x="383" y="224"/>
                  <a:pt x="373" y="245"/>
                </a:cubicBezTo>
                <a:cubicBezTo>
                  <a:pt x="371" y="247"/>
                  <a:pt x="370" y="250"/>
                  <a:pt x="369" y="253"/>
                </a:cubicBezTo>
                <a:cubicBezTo>
                  <a:pt x="368" y="260"/>
                  <a:pt x="374" y="267"/>
                  <a:pt x="381" y="268"/>
                </a:cubicBezTo>
                <a:cubicBezTo>
                  <a:pt x="386" y="268"/>
                  <a:pt x="392" y="266"/>
                  <a:pt x="395" y="261"/>
                </a:cubicBezTo>
                <a:cubicBezTo>
                  <a:pt x="395" y="261"/>
                  <a:pt x="395" y="260"/>
                  <a:pt x="395" y="260"/>
                </a:cubicBezTo>
                <a:cubicBezTo>
                  <a:pt x="413" y="227"/>
                  <a:pt x="407" y="167"/>
                  <a:pt x="401" y="15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30" name="Freeform 304"/>
          <p:cNvSpPr>
            <a:spLocks noEditPoints="1"/>
          </p:cNvSpPr>
          <p:nvPr userDrawn="1"/>
        </p:nvSpPr>
        <p:spPr bwMode="auto">
          <a:xfrm>
            <a:off x="3220728" y="2998905"/>
            <a:ext cx="395288" cy="498475"/>
          </a:xfrm>
          <a:custGeom>
            <a:avLst/>
            <a:gdLst/>
            <a:ahLst/>
            <a:cxnLst>
              <a:cxn ang="0">
                <a:pos x="144" y="17"/>
              </a:cxn>
              <a:cxn ang="0">
                <a:pos x="108" y="173"/>
              </a:cxn>
              <a:cxn ang="0">
                <a:pos x="89" y="249"/>
              </a:cxn>
              <a:cxn ang="0">
                <a:pos x="62" y="372"/>
              </a:cxn>
              <a:cxn ang="0">
                <a:pos x="0" y="385"/>
              </a:cxn>
              <a:cxn ang="0">
                <a:pos x="69" y="398"/>
              </a:cxn>
              <a:cxn ang="0">
                <a:pos x="139" y="309"/>
              </a:cxn>
              <a:cxn ang="0">
                <a:pos x="141" y="295"/>
              </a:cxn>
              <a:cxn ang="0">
                <a:pos x="110" y="223"/>
              </a:cxn>
              <a:cxn ang="0">
                <a:pos x="136" y="179"/>
              </a:cxn>
              <a:cxn ang="0">
                <a:pos x="130" y="131"/>
              </a:cxn>
              <a:cxn ang="0">
                <a:pos x="167" y="32"/>
              </a:cxn>
              <a:cxn ang="0">
                <a:pos x="238" y="131"/>
              </a:cxn>
              <a:cxn ang="0">
                <a:pos x="272" y="196"/>
              </a:cxn>
              <a:cxn ang="0">
                <a:pos x="271" y="209"/>
              </a:cxn>
              <a:cxn ang="0">
                <a:pos x="307" y="324"/>
              </a:cxn>
              <a:cxn ang="0">
                <a:pos x="170" y="265"/>
              </a:cxn>
              <a:cxn ang="0">
                <a:pos x="161" y="385"/>
              </a:cxn>
              <a:cxn ang="0">
                <a:pos x="240" y="398"/>
              </a:cxn>
              <a:cxn ang="0">
                <a:pos x="14" y="417"/>
              </a:cxn>
              <a:cxn ang="0">
                <a:pos x="14" y="444"/>
              </a:cxn>
              <a:cxn ang="0">
                <a:pos x="266" y="431"/>
              </a:cxn>
              <a:cxn ang="0">
                <a:pos x="253" y="372"/>
              </a:cxn>
              <a:cxn ang="0">
                <a:pos x="188" y="308"/>
              </a:cxn>
              <a:cxn ang="0">
                <a:pos x="325" y="348"/>
              </a:cxn>
              <a:cxn ang="0">
                <a:pos x="336" y="328"/>
              </a:cxn>
              <a:cxn ang="0">
                <a:pos x="332" y="145"/>
              </a:cxn>
              <a:cxn ang="0">
                <a:pos x="352" y="127"/>
              </a:cxn>
              <a:cxn ang="0">
                <a:pos x="334" y="114"/>
              </a:cxn>
              <a:cxn ang="0">
                <a:pos x="249" y="106"/>
              </a:cxn>
              <a:cxn ang="0">
                <a:pos x="157" y="4"/>
              </a:cxn>
              <a:cxn ang="0">
                <a:pos x="275" y="193"/>
              </a:cxn>
              <a:cxn ang="0">
                <a:pos x="274" y="195"/>
              </a:cxn>
              <a:cxn ang="0">
                <a:pos x="274" y="195"/>
              </a:cxn>
            </a:cxnLst>
            <a:rect l="0" t="0" r="r" b="b"/>
            <a:pathLst>
              <a:path w="352" h="444">
                <a:moveTo>
                  <a:pt x="157" y="4"/>
                </a:moveTo>
                <a:cubicBezTo>
                  <a:pt x="153" y="8"/>
                  <a:pt x="148" y="12"/>
                  <a:pt x="144" y="17"/>
                </a:cubicBezTo>
                <a:cubicBezTo>
                  <a:pt x="118" y="47"/>
                  <a:pt x="104" y="87"/>
                  <a:pt x="104" y="131"/>
                </a:cubicBezTo>
                <a:cubicBezTo>
                  <a:pt x="104" y="145"/>
                  <a:pt x="105" y="159"/>
                  <a:pt x="108" y="173"/>
                </a:cubicBezTo>
                <a:cubicBezTo>
                  <a:pt x="92" y="185"/>
                  <a:pt x="84" y="204"/>
                  <a:pt x="84" y="223"/>
                </a:cubicBezTo>
                <a:cubicBezTo>
                  <a:pt x="84" y="231"/>
                  <a:pt x="85" y="240"/>
                  <a:pt x="89" y="249"/>
                </a:cubicBezTo>
                <a:cubicBezTo>
                  <a:pt x="89" y="249"/>
                  <a:pt x="108" y="289"/>
                  <a:pt x="113" y="300"/>
                </a:cubicBezTo>
                <a:cubicBezTo>
                  <a:pt x="106" y="310"/>
                  <a:pt x="69" y="363"/>
                  <a:pt x="62" y="372"/>
                </a:cubicBezTo>
                <a:cubicBezTo>
                  <a:pt x="52" y="372"/>
                  <a:pt x="14" y="372"/>
                  <a:pt x="14" y="372"/>
                </a:cubicBezTo>
                <a:cubicBezTo>
                  <a:pt x="6" y="372"/>
                  <a:pt x="0" y="378"/>
                  <a:pt x="0" y="385"/>
                </a:cubicBezTo>
                <a:cubicBezTo>
                  <a:pt x="0" y="392"/>
                  <a:pt x="6" y="398"/>
                  <a:pt x="14" y="398"/>
                </a:cubicBezTo>
                <a:cubicBezTo>
                  <a:pt x="69" y="398"/>
                  <a:pt x="69" y="398"/>
                  <a:pt x="69" y="398"/>
                </a:cubicBezTo>
                <a:cubicBezTo>
                  <a:pt x="73" y="398"/>
                  <a:pt x="77" y="396"/>
                  <a:pt x="80" y="393"/>
                </a:cubicBezTo>
                <a:cubicBezTo>
                  <a:pt x="139" y="309"/>
                  <a:pt x="139" y="309"/>
                  <a:pt x="139" y="309"/>
                </a:cubicBezTo>
                <a:cubicBezTo>
                  <a:pt x="141" y="306"/>
                  <a:pt x="142" y="304"/>
                  <a:pt x="142" y="301"/>
                </a:cubicBezTo>
                <a:cubicBezTo>
                  <a:pt x="142" y="299"/>
                  <a:pt x="141" y="297"/>
                  <a:pt x="141" y="295"/>
                </a:cubicBezTo>
                <a:cubicBezTo>
                  <a:pt x="114" y="238"/>
                  <a:pt x="114" y="238"/>
                  <a:pt x="114" y="238"/>
                </a:cubicBezTo>
                <a:cubicBezTo>
                  <a:pt x="111" y="233"/>
                  <a:pt x="110" y="228"/>
                  <a:pt x="110" y="223"/>
                </a:cubicBezTo>
                <a:cubicBezTo>
                  <a:pt x="110" y="210"/>
                  <a:pt x="117" y="198"/>
                  <a:pt x="129" y="191"/>
                </a:cubicBezTo>
                <a:cubicBezTo>
                  <a:pt x="134" y="189"/>
                  <a:pt x="136" y="184"/>
                  <a:pt x="136" y="179"/>
                </a:cubicBezTo>
                <a:cubicBezTo>
                  <a:pt x="136" y="178"/>
                  <a:pt x="136" y="177"/>
                  <a:pt x="136" y="176"/>
                </a:cubicBezTo>
                <a:cubicBezTo>
                  <a:pt x="132" y="161"/>
                  <a:pt x="130" y="146"/>
                  <a:pt x="130" y="131"/>
                </a:cubicBezTo>
                <a:cubicBezTo>
                  <a:pt x="130" y="94"/>
                  <a:pt x="142" y="60"/>
                  <a:pt x="164" y="35"/>
                </a:cubicBezTo>
                <a:cubicBezTo>
                  <a:pt x="165" y="34"/>
                  <a:pt x="166" y="33"/>
                  <a:pt x="167" y="32"/>
                </a:cubicBezTo>
                <a:cubicBezTo>
                  <a:pt x="180" y="45"/>
                  <a:pt x="202" y="76"/>
                  <a:pt x="229" y="125"/>
                </a:cubicBezTo>
                <a:cubicBezTo>
                  <a:pt x="231" y="128"/>
                  <a:pt x="234" y="131"/>
                  <a:pt x="238" y="131"/>
                </a:cubicBezTo>
                <a:cubicBezTo>
                  <a:pt x="238" y="131"/>
                  <a:pt x="280" y="139"/>
                  <a:pt x="302" y="143"/>
                </a:cubicBezTo>
                <a:cubicBezTo>
                  <a:pt x="291" y="162"/>
                  <a:pt x="273" y="195"/>
                  <a:pt x="272" y="196"/>
                </a:cubicBezTo>
                <a:cubicBezTo>
                  <a:pt x="270" y="199"/>
                  <a:pt x="270" y="201"/>
                  <a:pt x="270" y="204"/>
                </a:cubicBezTo>
                <a:cubicBezTo>
                  <a:pt x="270" y="206"/>
                  <a:pt x="270" y="208"/>
                  <a:pt x="271" y="209"/>
                </a:cubicBezTo>
                <a:cubicBezTo>
                  <a:pt x="297" y="269"/>
                  <a:pt x="308" y="307"/>
                  <a:pt x="309" y="323"/>
                </a:cubicBezTo>
                <a:cubicBezTo>
                  <a:pt x="309" y="324"/>
                  <a:pt x="308" y="324"/>
                  <a:pt x="307" y="324"/>
                </a:cubicBezTo>
                <a:cubicBezTo>
                  <a:pt x="265" y="327"/>
                  <a:pt x="219" y="307"/>
                  <a:pt x="185" y="268"/>
                </a:cubicBezTo>
                <a:cubicBezTo>
                  <a:pt x="181" y="264"/>
                  <a:pt x="175" y="263"/>
                  <a:pt x="170" y="265"/>
                </a:cubicBezTo>
                <a:cubicBezTo>
                  <a:pt x="165" y="267"/>
                  <a:pt x="161" y="272"/>
                  <a:pt x="161" y="277"/>
                </a:cubicBezTo>
                <a:cubicBezTo>
                  <a:pt x="161" y="385"/>
                  <a:pt x="161" y="385"/>
                  <a:pt x="161" y="385"/>
                </a:cubicBezTo>
                <a:cubicBezTo>
                  <a:pt x="161" y="392"/>
                  <a:pt x="167" y="398"/>
                  <a:pt x="175" y="398"/>
                </a:cubicBezTo>
                <a:cubicBezTo>
                  <a:pt x="175" y="398"/>
                  <a:pt x="221" y="398"/>
                  <a:pt x="240" y="398"/>
                </a:cubicBezTo>
                <a:cubicBezTo>
                  <a:pt x="240" y="406"/>
                  <a:pt x="240" y="409"/>
                  <a:pt x="240" y="417"/>
                </a:cubicBezTo>
                <a:cubicBezTo>
                  <a:pt x="216" y="417"/>
                  <a:pt x="14" y="417"/>
                  <a:pt x="14" y="417"/>
                </a:cubicBezTo>
                <a:cubicBezTo>
                  <a:pt x="6" y="417"/>
                  <a:pt x="0" y="423"/>
                  <a:pt x="0" y="431"/>
                </a:cubicBezTo>
                <a:cubicBezTo>
                  <a:pt x="0" y="438"/>
                  <a:pt x="6" y="444"/>
                  <a:pt x="14" y="444"/>
                </a:cubicBezTo>
                <a:cubicBezTo>
                  <a:pt x="253" y="444"/>
                  <a:pt x="253" y="444"/>
                  <a:pt x="253" y="444"/>
                </a:cubicBezTo>
                <a:cubicBezTo>
                  <a:pt x="260" y="444"/>
                  <a:pt x="266" y="438"/>
                  <a:pt x="266" y="431"/>
                </a:cubicBezTo>
                <a:cubicBezTo>
                  <a:pt x="266" y="385"/>
                  <a:pt x="266" y="385"/>
                  <a:pt x="266" y="385"/>
                </a:cubicBezTo>
                <a:cubicBezTo>
                  <a:pt x="266" y="378"/>
                  <a:pt x="260" y="372"/>
                  <a:pt x="253" y="372"/>
                </a:cubicBezTo>
                <a:cubicBezTo>
                  <a:pt x="253" y="372"/>
                  <a:pt x="206" y="372"/>
                  <a:pt x="188" y="372"/>
                </a:cubicBezTo>
                <a:cubicBezTo>
                  <a:pt x="188" y="358"/>
                  <a:pt x="188" y="334"/>
                  <a:pt x="188" y="308"/>
                </a:cubicBezTo>
                <a:cubicBezTo>
                  <a:pt x="225" y="338"/>
                  <a:pt x="268" y="354"/>
                  <a:pt x="310" y="350"/>
                </a:cubicBezTo>
                <a:cubicBezTo>
                  <a:pt x="315" y="350"/>
                  <a:pt x="320" y="349"/>
                  <a:pt x="325" y="348"/>
                </a:cubicBezTo>
                <a:cubicBezTo>
                  <a:pt x="330" y="347"/>
                  <a:pt x="334" y="343"/>
                  <a:pt x="335" y="339"/>
                </a:cubicBezTo>
                <a:cubicBezTo>
                  <a:pt x="336" y="336"/>
                  <a:pt x="336" y="332"/>
                  <a:pt x="336" y="328"/>
                </a:cubicBezTo>
                <a:cubicBezTo>
                  <a:pt x="336" y="297"/>
                  <a:pt x="312" y="237"/>
                  <a:pt x="298" y="205"/>
                </a:cubicBezTo>
                <a:cubicBezTo>
                  <a:pt x="303" y="196"/>
                  <a:pt x="328" y="151"/>
                  <a:pt x="332" y="145"/>
                </a:cubicBezTo>
                <a:cubicBezTo>
                  <a:pt x="336" y="142"/>
                  <a:pt x="344" y="139"/>
                  <a:pt x="344" y="139"/>
                </a:cubicBezTo>
                <a:cubicBezTo>
                  <a:pt x="349" y="137"/>
                  <a:pt x="352" y="132"/>
                  <a:pt x="352" y="127"/>
                </a:cubicBezTo>
                <a:cubicBezTo>
                  <a:pt x="352" y="125"/>
                  <a:pt x="352" y="123"/>
                  <a:pt x="351" y="122"/>
                </a:cubicBezTo>
                <a:cubicBezTo>
                  <a:pt x="348" y="115"/>
                  <a:pt x="341" y="112"/>
                  <a:pt x="334" y="114"/>
                </a:cubicBezTo>
                <a:cubicBezTo>
                  <a:pt x="334" y="114"/>
                  <a:pt x="325" y="118"/>
                  <a:pt x="321" y="120"/>
                </a:cubicBezTo>
                <a:cubicBezTo>
                  <a:pt x="314" y="119"/>
                  <a:pt x="259" y="108"/>
                  <a:pt x="249" y="106"/>
                </a:cubicBezTo>
                <a:cubicBezTo>
                  <a:pt x="232" y="76"/>
                  <a:pt x="197" y="17"/>
                  <a:pt x="173" y="3"/>
                </a:cubicBezTo>
                <a:cubicBezTo>
                  <a:pt x="168" y="0"/>
                  <a:pt x="162" y="0"/>
                  <a:pt x="157" y="4"/>
                </a:cubicBezTo>
                <a:close/>
                <a:moveTo>
                  <a:pt x="277" y="192"/>
                </a:moveTo>
                <a:cubicBezTo>
                  <a:pt x="276" y="192"/>
                  <a:pt x="276" y="193"/>
                  <a:pt x="275" y="193"/>
                </a:cubicBezTo>
                <a:cubicBezTo>
                  <a:pt x="276" y="193"/>
                  <a:pt x="276" y="192"/>
                  <a:pt x="277" y="192"/>
                </a:cubicBezTo>
                <a:close/>
                <a:moveTo>
                  <a:pt x="274" y="195"/>
                </a:moveTo>
                <a:cubicBezTo>
                  <a:pt x="273" y="195"/>
                  <a:pt x="273" y="195"/>
                  <a:pt x="272" y="196"/>
                </a:cubicBezTo>
                <a:cubicBezTo>
                  <a:pt x="273" y="195"/>
                  <a:pt x="273" y="195"/>
                  <a:pt x="274" y="19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31" name="Freeform 337"/>
          <p:cNvSpPr>
            <a:spLocks noEditPoints="1"/>
          </p:cNvSpPr>
          <p:nvPr userDrawn="1"/>
        </p:nvSpPr>
        <p:spPr bwMode="auto">
          <a:xfrm>
            <a:off x="3168339" y="3678690"/>
            <a:ext cx="500062" cy="515939"/>
          </a:xfrm>
          <a:custGeom>
            <a:avLst/>
            <a:gdLst/>
            <a:ahLst/>
            <a:cxnLst>
              <a:cxn ang="0">
                <a:pos x="238" y="3"/>
              </a:cxn>
              <a:cxn ang="0">
                <a:pos x="176" y="46"/>
              </a:cxn>
              <a:cxn ang="0">
                <a:pos x="175" y="51"/>
              </a:cxn>
              <a:cxn ang="0">
                <a:pos x="175" y="94"/>
              </a:cxn>
              <a:cxn ang="0">
                <a:pos x="32" y="120"/>
              </a:cxn>
              <a:cxn ang="0">
                <a:pos x="21" y="132"/>
              </a:cxn>
              <a:cxn ang="0">
                <a:pos x="0" y="363"/>
              </a:cxn>
              <a:cxn ang="0">
                <a:pos x="0" y="364"/>
              </a:cxn>
              <a:cxn ang="0">
                <a:pos x="5" y="374"/>
              </a:cxn>
              <a:cxn ang="0">
                <a:pos x="95" y="453"/>
              </a:cxn>
              <a:cxn ang="0">
                <a:pos x="109" y="456"/>
              </a:cxn>
              <a:cxn ang="0">
                <a:pos x="117" y="444"/>
              </a:cxn>
              <a:cxn ang="0">
                <a:pos x="130" y="202"/>
              </a:cxn>
              <a:cxn ang="0">
                <a:pos x="191" y="185"/>
              </a:cxn>
              <a:cxn ang="0">
                <a:pos x="201" y="172"/>
              </a:cxn>
              <a:cxn ang="0">
                <a:pos x="201" y="116"/>
              </a:cxn>
              <a:cxn ang="0">
                <a:pos x="279" y="102"/>
              </a:cxn>
              <a:cxn ang="0">
                <a:pos x="280" y="123"/>
              </a:cxn>
              <a:cxn ang="0">
                <a:pos x="293" y="136"/>
              </a:cxn>
              <a:cxn ang="0">
                <a:pos x="306" y="123"/>
              </a:cxn>
              <a:cxn ang="0">
                <a:pos x="306" y="97"/>
              </a:cxn>
              <a:cxn ang="0">
                <a:pos x="380" y="83"/>
              </a:cxn>
              <a:cxn ang="0">
                <a:pos x="418" y="111"/>
              </a:cxn>
              <a:cxn ang="0">
                <a:pos x="418" y="366"/>
              </a:cxn>
              <a:cxn ang="0">
                <a:pos x="158" y="423"/>
              </a:cxn>
              <a:cxn ang="0">
                <a:pos x="148" y="436"/>
              </a:cxn>
              <a:cxn ang="0">
                <a:pos x="148" y="439"/>
              </a:cxn>
              <a:cxn ang="0">
                <a:pos x="164" y="449"/>
              </a:cxn>
              <a:cxn ang="0">
                <a:pos x="435" y="389"/>
              </a:cxn>
              <a:cxn ang="0">
                <a:pos x="445" y="376"/>
              </a:cxn>
              <a:cxn ang="0">
                <a:pos x="445" y="105"/>
              </a:cxn>
              <a:cxn ang="0">
                <a:pos x="440" y="94"/>
              </a:cxn>
              <a:cxn ang="0">
                <a:pos x="391" y="59"/>
              </a:cxn>
              <a:cxn ang="0">
                <a:pos x="381" y="56"/>
              </a:cxn>
              <a:cxn ang="0">
                <a:pos x="305" y="70"/>
              </a:cxn>
              <a:cxn ang="0">
                <a:pos x="305" y="45"/>
              </a:cxn>
              <a:cxn ang="0">
                <a:pos x="304" y="40"/>
              </a:cxn>
              <a:cxn ang="0">
                <a:pos x="238" y="3"/>
              </a:cxn>
              <a:cxn ang="0">
                <a:pos x="240" y="30"/>
              </a:cxn>
              <a:cxn ang="0">
                <a:pos x="278" y="49"/>
              </a:cxn>
              <a:cxn ang="0">
                <a:pos x="279" y="75"/>
              </a:cxn>
              <a:cxn ang="0">
                <a:pos x="202" y="89"/>
              </a:cxn>
              <a:cxn ang="0">
                <a:pos x="202" y="54"/>
              </a:cxn>
              <a:cxn ang="0">
                <a:pos x="240" y="30"/>
              </a:cxn>
              <a:cxn ang="0">
                <a:pos x="175" y="121"/>
              </a:cxn>
              <a:cxn ang="0">
                <a:pos x="174" y="162"/>
              </a:cxn>
              <a:cxn ang="0">
                <a:pos x="114" y="179"/>
              </a:cxn>
              <a:cxn ang="0">
                <a:pos x="104" y="191"/>
              </a:cxn>
              <a:cxn ang="0">
                <a:pos x="92" y="415"/>
              </a:cxn>
              <a:cxn ang="0">
                <a:pos x="27" y="359"/>
              </a:cxn>
              <a:cxn ang="0">
                <a:pos x="47" y="145"/>
              </a:cxn>
              <a:cxn ang="0">
                <a:pos x="175" y="121"/>
              </a:cxn>
            </a:cxnLst>
            <a:rect l="0" t="0" r="r" b="b"/>
            <a:pathLst>
              <a:path w="445" h="457">
                <a:moveTo>
                  <a:pt x="238" y="3"/>
                </a:moveTo>
                <a:cubicBezTo>
                  <a:pt x="191" y="6"/>
                  <a:pt x="177" y="44"/>
                  <a:pt x="176" y="46"/>
                </a:cubicBezTo>
                <a:cubicBezTo>
                  <a:pt x="176" y="47"/>
                  <a:pt x="176" y="49"/>
                  <a:pt x="175" y="51"/>
                </a:cubicBezTo>
                <a:cubicBezTo>
                  <a:pt x="175" y="51"/>
                  <a:pt x="175" y="74"/>
                  <a:pt x="175" y="94"/>
                </a:cubicBezTo>
                <a:cubicBezTo>
                  <a:pt x="106" y="107"/>
                  <a:pt x="32" y="120"/>
                  <a:pt x="32" y="120"/>
                </a:cubicBezTo>
                <a:cubicBezTo>
                  <a:pt x="26" y="122"/>
                  <a:pt x="22" y="126"/>
                  <a:pt x="21" y="132"/>
                </a:cubicBezTo>
                <a:cubicBezTo>
                  <a:pt x="0" y="363"/>
                  <a:pt x="0" y="363"/>
                  <a:pt x="0" y="363"/>
                </a:cubicBezTo>
                <a:cubicBezTo>
                  <a:pt x="0" y="363"/>
                  <a:pt x="0" y="364"/>
                  <a:pt x="0" y="364"/>
                </a:cubicBezTo>
                <a:cubicBezTo>
                  <a:pt x="0" y="368"/>
                  <a:pt x="2" y="372"/>
                  <a:pt x="5" y="374"/>
                </a:cubicBezTo>
                <a:cubicBezTo>
                  <a:pt x="95" y="453"/>
                  <a:pt x="95" y="453"/>
                  <a:pt x="95" y="453"/>
                </a:cubicBezTo>
                <a:cubicBezTo>
                  <a:pt x="98" y="457"/>
                  <a:pt x="104" y="457"/>
                  <a:pt x="109" y="456"/>
                </a:cubicBezTo>
                <a:cubicBezTo>
                  <a:pt x="113" y="454"/>
                  <a:pt x="116" y="449"/>
                  <a:pt x="117" y="444"/>
                </a:cubicBezTo>
                <a:cubicBezTo>
                  <a:pt x="117" y="444"/>
                  <a:pt x="129" y="220"/>
                  <a:pt x="130" y="202"/>
                </a:cubicBezTo>
                <a:cubicBezTo>
                  <a:pt x="144" y="198"/>
                  <a:pt x="191" y="185"/>
                  <a:pt x="191" y="185"/>
                </a:cubicBezTo>
                <a:cubicBezTo>
                  <a:pt x="197" y="183"/>
                  <a:pt x="201" y="178"/>
                  <a:pt x="201" y="172"/>
                </a:cubicBezTo>
                <a:cubicBezTo>
                  <a:pt x="201" y="172"/>
                  <a:pt x="201" y="144"/>
                  <a:pt x="201" y="116"/>
                </a:cubicBezTo>
                <a:cubicBezTo>
                  <a:pt x="240" y="109"/>
                  <a:pt x="246" y="108"/>
                  <a:pt x="279" y="102"/>
                </a:cubicBezTo>
                <a:cubicBezTo>
                  <a:pt x="279" y="110"/>
                  <a:pt x="280" y="123"/>
                  <a:pt x="280" y="123"/>
                </a:cubicBezTo>
                <a:cubicBezTo>
                  <a:pt x="280" y="130"/>
                  <a:pt x="286" y="136"/>
                  <a:pt x="293" y="136"/>
                </a:cubicBezTo>
                <a:cubicBezTo>
                  <a:pt x="300" y="136"/>
                  <a:pt x="306" y="130"/>
                  <a:pt x="306" y="123"/>
                </a:cubicBezTo>
                <a:cubicBezTo>
                  <a:pt x="306" y="123"/>
                  <a:pt x="306" y="108"/>
                  <a:pt x="306" y="97"/>
                </a:cubicBezTo>
                <a:cubicBezTo>
                  <a:pt x="332" y="92"/>
                  <a:pt x="378" y="84"/>
                  <a:pt x="380" y="83"/>
                </a:cubicBezTo>
                <a:cubicBezTo>
                  <a:pt x="387" y="88"/>
                  <a:pt x="411" y="106"/>
                  <a:pt x="418" y="111"/>
                </a:cubicBezTo>
                <a:cubicBezTo>
                  <a:pt x="418" y="124"/>
                  <a:pt x="418" y="346"/>
                  <a:pt x="418" y="366"/>
                </a:cubicBezTo>
                <a:cubicBezTo>
                  <a:pt x="399" y="370"/>
                  <a:pt x="158" y="423"/>
                  <a:pt x="158" y="423"/>
                </a:cubicBezTo>
                <a:cubicBezTo>
                  <a:pt x="152" y="425"/>
                  <a:pt x="148" y="430"/>
                  <a:pt x="148" y="436"/>
                </a:cubicBezTo>
                <a:cubicBezTo>
                  <a:pt x="148" y="437"/>
                  <a:pt x="148" y="438"/>
                  <a:pt x="148" y="439"/>
                </a:cubicBezTo>
                <a:cubicBezTo>
                  <a:pt x="150" y="446"/>
                  <a:pt x="157" y="451"/>
                  <a:pt x="164" y="449"/>
                </a:cubicBezTo>
                <a:cubicBezTo>
                  <a:pt x="435" y="389"/>
                  <a:pt x="435" y="389"/>
                  <a:pt x="435" y="389"/>
                </a:cubicBezTo>
                <a:cubicBezTo>
                  <a:pt x="441" y="388"/>
                  <a:pt x="445" y="383"/>
                  <a:pt x="445" y="376"/>
                </a:cubicBezTo>
                <a:cubicBezTo>
                  <a:pt x="445" y="105"/>
                  <a:pt x="445" y="105"/>
                  <a:pt x="445" y="105"/>
                </a:cubicBezTo>
                <a:cubicBezTo>
                  <a:pt x="445" y="100"/>
                  <a:pt x="443" y="96"/>
                  <a:pt x="440" y="94"/>
                </a:cubicBezTo>
                <a:cubicBezTo>
                  <a:pt x="391" y="59"/>
                  <a:pt x="391" y="59"/>
                  <a:pt x="391" y="59"/>
                </a:cubicBezTo>
                <a:cubicBezTo>
                  <a:pt x="388" y="56"/>
                  <a:pt x="385" y="56"/>
                  <a:pt x="381" y="56"/>
                </a:cubicBezTo>
                <a:cubicBezTo>
                  <a:pt x="381" y="56"/>
                  <a:pt x="331" y="65"/>
                  <a:pt x="305" y="70"/>
                </a:cubicBezTo>
                <a:cubicBezTo>
                  <a:pt x="305" y="59"/>
                  <a:pt x="305" y="45"/>
                  <a:pt x="305" y="45"/>
                </a:cubicBezTo>
                <a:cubicBezTo>
                  <a:pt x="305" y="43"/>
                  <a:pt x="305" y="42"/>
                  <a:pt x="304" y="40"/>
                </a:cubicBezTo>
                <a:cubicBezTo>
                  <a:pt x="303" y="38"/>
                  <a:pt x="285" y="0"/>
                  <a:pt x="238" y="3"/>
                </a:cubicBezTo>
                <a:close/>
                <a:moveTo>
                  <a:pt x="240" y="30"/>
                </a:moveTo>
                <a:cubicBezTo>
                  <a:pt x="263" y="28"/>
                  <a:pt x="275" y="43"/>
                  <a:pt x="278" y="49"/>
                </a:cubicBezTo>
                <a:cubicBezTo>
                  <a:pt x="278" y="51"/>
                  <a:pt x="279" y="63"/>
                  <a:pt x="279" y="75"/>
                </a:cubicBezTo>
                <a:cubicBezTo>
                  <a:pt x="247" y="81"/>
                  <a:pt x="240" y="82"/>
                  <a:pt x="202" y="89"/>
                </a:cubicBezTo>
                <a:cubicBezTo>
                  <a:pt x="202" y="74"/>
                  <a:pt x="202" y="55"/>
                  <a:pt x="202" y="54"/>
                </a:cubicBezTo>
                <a:cubicBezTo>
                  <a:pt x="205" y="48"/>
                  <a:pt x="215" y="32"/>
                  <a:pt x="240" y="30"/>
                </a:cubicBezTo>
                <a:close/>
                <a:moveTo>
                  <a:pt x="175" y="121"/>
                </a:moveTo>
                <a:cubicBezTo>
                  <a:pt x="175" y="141"/>
                  <a:pt x="174" y="156"/>
                  <a:pt x="174" y="162"/>
                </a:cubicBezTo>
                <a:cubicBezTo>
                  <a:pt x="160" y="166"/>
                  <a:pt x="114" y="179"/>
                  <a:pt x="114" y="179"/>
                </a:cubicBezTo>
                <a:cubicBezTo>
                  <a:pt x="108" y="181"/>
                  <a:pt x="105" y="186"/>
                  <a:pt x="104" y="191"/>
                </a:cubicBezTo>
                <a:cubicBezTo>
                  <a:pt x="104" y="191"/>
                  <a:pt x="94" y="372"/>
                  <a:pt x="92" y="415"/>
                </a:cubicBezTo>
                <a:cubicBezTo>
                  <a:pt x="69" y="395"/>
                  <a:pt x="34" y="365"/>
                  <a:pt x="27" y="359"/>
                </a:cubicBezTo>
                <a:cubicBezTo>
                  <a:pt x="28" y="346"/>
                  <a:pt x="45" y="163"/>
                  <a:pt x="47" y="145"/>
                </a:cubicBezTo>
                <a:cubicBezTo>
                  <a:pt x="54" y="144"/>
                  <a:pt x="114" y="133"/>
                  <a:pt x="175" y="12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32" name="Freeform 353"/>
          <p:cNvSpPr>
            <a:spLocks/>
          </p:cNvSpPr>
          <p:nvPr userDrawn="1"/>
        </p:nvSpPr>
        <p:spPr bwMode="auto">
          <a:xfrm>
            <a:off x="3181042" y="5101645"/>
            <a:ext cx="474663" cy="442913"/>
          </a:xfrm>
          <a:custGeom>
            <a:avLst/>
            <a:gdLst/>
            <a:ahLst/>
            <a:cxnLst>
              <a:cxn ang="0">
                <a:pos x="15" y="392"/>
              </a:cxn>
              <a:cxn ang="0">
                <a:pos x="2" y="163"/>
              </a:cxn>
              <a:cxn ang="0">
                <a:pos x="70" y="150"/>
              </a:cxn>
              <a:cxn ang="0">
                <a:pos x="83" y="321"/>
              </a:cxn>
              <a:cxn ang="0">
                <a:pos x="101" y="163"/>
              </a:cxn>
              <a:cxn ang="0">
                <a:pos x="114" y="150"/>
              </a:cxn>
              <a:cxn ang="0">
                <a:pos x="181" y="154"/>
              </a:cxn>
              <a:cxn ang="0">
                <a:pos x="184" y="321"/>
              </a:cxn>
              <a:cxn ang="0">
                <a:pos x="254" y="163"/>
              </a:cxn>
              <a:cxn ang="0">
                <a:pos x="323" y="150"/>
              </a:cxn>
              <a:cxn ang="0">
                <a:pos x="336" y="321"/>
              </a:cxn>
              <a:cxn ang="0">
                <a:pos x="355" y="161"/>
              </a:cxn>
              <a:cxn ang="0">
                <a:pos x="380" y="161"/>
              </a:cxn>
              <a:cxn ang="0">
                <a:pos x="368" y="346"/>
              </a:cxn>
              <a:cxn ang="0">
                <a:pos x="311" y="334"/>
              </a:cxn>
              <a:cxn ang="0">
                <a:pos x="279" y="176"/>
              </a:cxn>
              <a:cxn ang="0">
                <a:pos x="261" y="347"/>
              </a:cxn>
              <a:cxn ang="0">
                <a:pos x="162" y="343"/>
              </a:cxn>
              <a:cxn ang="0">
                <a:pos x="159" y="176"/>
              </a:cxn>
              <a:cxn ang="0">
                <a:pos x="127" y="334"/>
              </a:cxn>
              <a:cxn ang="0">
                <a:pos x="115" y="347"/>
              </a:cxn>
              <a:cxn ang="0">
                <a:pos x="70" y="347"/>
              </a:cxn>
              <a:cxn ang="0">
                <a:pos x="57" y="334"/>
              </a:cxn>
              <a:cxn ang="0">
                <a:pos x="27" y="176"/>
              </a:cxn>
              <a:cxn ang="0">
                <a:pos x="395" y="366"/>
              </a:cxn>
              <a:cxn ang="0">
                <a:pos x="209" y="28"/>
              </a:cxn>
              <a:cxn ang="0">
                <a:pos x="340" y="113"/>
              </a:cxn>
              <a:cxn ang="0">
                <a:pos x="340" y="139"/>
              </a:cxn>
              <a:cxn ang="0">
                <a:pos x="1" y="129"/>
              </a:cxn>
              <a:cxn ang="0">
                <a:pos x="203" y="3"/>
              </a:cxn>
              <a:cxn ang="0">
                <a:pos x="414" y="111"/>
              </a:cxn>
              <a:cxn ang="0">
                <a:pos x="421" y="379"/>
              </a:cxn>
            </a:cxnLst>
            <a:rect l="0" t="0" r="r" b="b"/>
            <a:pathLst>
              <a:path w="421" h="392">
                <a:moveTo>
                  <a:pt x="408" y="392"/>
                </a:moveTo>
                <a:cubicBezTo>
                  <a:pt x="15" y="392"/>
                  <a:pt x="15" y="392"/>
                  <a:pt x="15" y="392"/>
                </a:cubicBezTo>
                <a:cubicBezTo>
                  <a:pt x="8" y="392"/>
                  <a:pt x="2" y="386"/>
                  <a:pt x="2" y="379"/>
                </a:cubicBezTo>
                <a:cubicBezTo>
                  <a:pt x="2" y="163"/>
                  <a:pt x="2" y="163"/>
                  <a:pt x="2" y="163"/>
                </a:cubicBezTo>
                <a:cubicBezTo>
                  <a:pt x="2" y="156"/>
                  <a:pt x="8" y="150"/>
                  <a:pt x="15" y="150"/>
                </a:cubicBezTo>
                <a:cubicBezTo>
                  <a:pt x="70" y="150"/>
                  <a:pt x="70" y="150"/>
                  <a:pt x="70" y="150"/>
                </a:cubicBezTo>
                <a:cubicBezTo>
                  <a:pt x="77" y="150"/>
                  <a:pt x="83" y="156"/>
                  <a:pt x="83" y="163"/>
                </a:cubicBezTo>
                <a:cubicBezTo>
                  <a:pt x="83" y="321"/>
                  <a:pt x="83" y="321"/>
                  <a:pt x="83" y="321"/>
                </a:cubicBezTo>
                <a:cubicBezTo>
                  <a:pt x="102" y="321"/>
                  <a:pt x="102" y="321"/>
                  <a:pt x="102" y="321"/>
                </a:cubicBezTo>
                <a:cubicBezTo>
                  <a:pt x="101" y="163"/>
                  <a:pt x="101" y="163"/>
                  <a:pt x="101" y="163"/>
                </a:cubicBezTo>
                <a:cubicBezTo>
                  <a:pt x="101" y="160"/>
                  <a:pt x="103" y="156"/>
                  <a:pt x="105" y="154"/>
                </a:cubicBezTo>
                <a:cubicBezTo>
                  <a:pt x="107" y="151"/>
                  <a:pt x="111" y="150"/>
                  <a:pt x="114" y="150"/>
                </a:cubicBezTo>
                <a:cubicBezTo>
                  <a:pt x="172" y="150"/>
                  <a:pt x="172" y="150"/>
                  <a:pt x="172" y="150"/>
                </a:cubicBezTo>
                <a:cubicBezTo>
                  <a:pt x="175" y="150"/>
                  <a:pt x="178" y="151"/>
                  <a:pt x="181" y="154"/>
                </a:cubicBezTo>
                <a:cubicBezTo>
                  <a:pt x="183" y="156"/>
                  <a:pt x="184" y="160"/>
                  <a:pt x="184" y="163"/>
                </a:cubicBezTo>
                <a:cubicBezTo>
                  <a:pt x="184" y="321"/>
                  <a:pt x="184" y="321"/>
                  <a:pt x="184" y="321"/>
                </a:cubicBezTo>
                <a:cubicBezTo>
                  <a:pt x="253" y="321"/>
                  <a:pt x="253" y="321"/>
                  <a:pt x="253" y="321"/>
                </a:cubicBezTo>
                <a:cubicBezTo>
                  <a:pt x="254" y="163"/>
                  <a:pt x="254" y="163"/>
                  <a:pt x="254" y="163"/>
                </a:cubicBezTo>
                <a:cubicBezTo>
                  <a:pt x="254" y="156"/>
                  <a:pt x="260" y="150"/>
                  <a:pt x="267" y="150"/>
                </a:cubicBezTo>
                <a:cubicBezTo>
                  <a:pt x="323" y="150"/>
                  <a:pt x="323" y="150"/>
                  <a:pt x="323" y="150"/>
                </a:cubicBezTo>
                <a:cubicBezTo>
                  <a:pt x="330" y="150"/>
                  <a:pt x="336" y="156"/>
                  <a:pt x="336" y="163"/>
                </a:cubicBezTo>
                <a:cubicBezTo>
                  <a:pt x="336" y="321"/>
                  <a:pt x="336" y="321"/>
                  <a:pt x="336" y="321"/>
                </a:cubicBezTo>
                <a:cubicBezTo>
                  <a:pt x="355" y="321"/>
                  <a:pt x="355" y="321"/>
                  <a:pt x="355" y="321"/>
                </a:cubicBezTo>
                <a:cubicBezTo>
                  <a:pt x="355" y="161"/>
                  <a:pt x="355" y="161"/>
                  <a:pt x="355" y="161"/>
                </a:cubicBezTo>
                <a:cubicBezTo>
                  <a:pt x="355" y="154"/>
                  <a:pt x="361" y="148"/>
                  <a:pt x="368" y="148"/>
                </a:cubicBezTo>
                <a:cubicBezTo>
                  <a:pt x="375" y="148"/>
                  <a:pt x="380" y="154"/>
                  <a:pt x="380" y="161"/>
                </a:cubicBezTo>
                <a:cubicBezTo>
                  <a:pt x="380" y="334"/>
                  <a:pt x="380" y="334"/>
                  <a:pt x="380" y="334"/>
                </a:cubicBezTo>
                <a:cubicBezTo>
                  <a:pt x="380" y="341"/>
                  <a:pt x="375" y="346"/>
                  <a:pt x="368" y="346"/>
                </a:cubicBezTo>
                <a:cubicBezTo>
                  <a:pt x="323" y="346"/>
                  <a:pt x="323" y="346"/>
                  <a:pt x="323" y="346"/>
                </a:cubicBezTo>
                <a:cubicBezTo>
                  <a:pt x="316" y="346"/>
                  <a:pt x="311" y="341"/>
                  <a:pt x="311" y="334"/>
                </a:cubicBezTo>
                <a:cubicBezTo>
                  <a:pt x="311" y="176"/>
                  <a:pt x="311" y="176"/>
                  <a:pt x="311" y="176"/>
                </a:cubicBezTo>
                <a:cubicBezTo>
                  <a:pt x="279" y="176"/>
                  <a:pt x="279" y="176"/>
                  <a:pt x="279" y="176"/>
                </a:cubicBezTo>
                <a:cubicBezTo>
                  <a:pt x="279" y="334"/>
                  <a:pt x="279" y="334"/>
                  <a:pt x="279" y="334"/>
                </a:cubicBezTo>
                <a:cubicBezTo>
                  <a:pt x="279" y="341"/>
                  <a:pt x="268" y="347"/>
                  <a:pt x="261" y="347"/>
                </a:cubicBezTo>
                <a:cubicBezTo>
                  <a:pt x="171" y="347"/>
                  <a:pt x="171" y="347"/>
                  <a:pt x="171" y="347"/>
                </a:cubicBezTo>
                <a:cubicBezTo>
                  <a:pt x="168" y="347"/>
                  <a:pt x="165" y="345"/>
                  <a:pt x="162" y="343"/>
                </a:cubicBezTo>
                <a:cubicBezTo>
                  <a:pt x="160" y="341"/>
                  <a:pt x="159" y="337"/>
                  <a:pt x="159" y="334"/>
                </a:cubicBezTo>
                <a:cubicBezTo>
                  <a:pt x="159" y="176"/>
                  <a:pt x="159" y="176"/>
                  <a:pt x="159" y="176"/>
                </a:cubicBezTo>
                <a:cubicBezTo>
                  <a:pt x="127" y="176"/>
                  <a:pt x="127" y="176"/>
                  <a:pt x="127" y="176"/>
                </a:cubicBezTo>
                <a:cubicBezTo>
                  <a:pt x="127" y="334"/>
                  <a:pt x="127" y="334"/>
                  <a:pt x="127" y="334"/>
                </a:cubicBezTo>
                <a:cubicBezTo>
                  <a:pt x="127" y="337"/>
                  <a:pt x="126" y="340"/>
                  <a:pt x="124" y="343"/>
                </a:cubicBezTo>
                <a:cubicBezTo>
                  <a:pt x="121" y="345"/>
                  <a:pt x="118" y="347"/>
                  <a:pt x="115" y="347"/>
                </a:cubicBezTo>
                <a:cubicBezTo>
                  <a:pt x="70" y="347"/>
                  <a:pt x="70" y="347"/>
                  <a:pt x="70" y="347"/>
                </a:cubicBezTo>
                <a:cubicBezTo>
                  <a:pt x="70" y="347"/>
                  <a:pt x="70" y="347"/>
                  <a:pt x="70" y="347"/>
                </a:cubicBezTo>
                <a:cubicBezTo>
                  <a:pt x="67" y="347"/>
                  <a:pt x="64" y="345"/>
                  <a:pt x="61" y="343"/>
                </a:cubicBezTo>
                <a:cubicBezTo>
                  <a:pt x="59" y="341"/>
                  <a:pt x="57" y="337"/>
                  <a:pt x="57" y="334"/>
                </a:cubicBezTo>
                <a:cubicBezTo>
                  <a:pt x="57" y="176"/>
                  <a:pt x="57" y="176"/>
                  <a:pt x="57" y="176"/>
                </a:cubicBezTo>
                <a:cubicBezTo>
                  <a:pt x="27" y="176"/>
                  <a:pt x="27" y="176"/>
                  <a:pt x="27" y="176"/>
                </a:cubicBezTo>
                <a:cubicBezTo>
                  <a:pt x="27" y="366"/>
                  <a:pt x="27" y="366"/>
                  <a:pt x="27" y="366"/>
                </a:cubicBezTo>
                <a:cubicBezTo>
                  <a:pt x="395" y="366"/>
                  <a:pt x="395" y="366"/>
                  <a:pt x="395" y="366"/>
                </a:cubicBezTo>
                <a:cubicBezTo>
                  <a:pt x="395" y="130"/>
                  <a:pt x="395" y="130"/>
                  <a:pt x="395" y="130"/>
                </a:cubicBezTo>
                <a:cubicBezTo>
                  <a:pt x="209" y="28"/>
                  <a:pt x="209" y="28"/>
                  <a:pt x="209" y="28"/>
                </a:cubicBezTo>
                <a:cubicBezTo>
                  <a:pt x="62" y="113"/>
                  <a:pt x="62" y="113"/>
                  <a:pt x="62" y="113"/>
                </a:cubicBezTo>
                <a:cubicBezTo>
                  <a:pt x="340" y="113"/>
                  <a:pt x="340" y="113"/>
                  <a:pt x="340" y="113"/>
                </a:cubicBezTo>
                <a:cubicBezTo>
                  <a:pt x="347" y="113"/>
                  <a:pt x="353" y="119"/>
                  <a:pt x="353" y="126"/>
                </a:cubicBezTo>
                <a:cubicBezTo>
                  <a:pt x="353" y="133"/>
                  <a:pt x="347" y="139"/>
                  <a:pt x="340" y="139"/>
                </a:cubicBezTo>
                <a:cubicBezTo>
                  <a:pt x="13" y="139"/>
                  <a:pt x="13" y="139"/>
                  <a:pt x="13" y="139"/>
                </a:cubicBezTo>
                <a:cubicBezTo>
                  <a:pt x="8" y="139"/>
                  <a:pt x="3" y="135"/>
                  <a:pt x="1" y="129"/>
                </a:cubicBezTo>
                <a:cubicBezTo>
                  <a:pt x="0" y="123"/>
                  <a:pt x="2" y="118"/>
                  <a:pt x="7" y="115"/>
                </a:cubicBezTo>
                <a:cubicBezTo>
                  <a:pt x="203" y="3"/>
                  <a:pt x="203" y="3"/>
                  <a:pt x="203" y="3"/>
                </a:cubicBezTo>
                <a:cubicBezTo>
                  <a:pt x="207" y="0"/>
                  <a:pt x="211" y="0"/>
                  <a:pt x="215" y="3"/>
                </a:cubicBezTo>
                <a:cubicBezTo>
                  <a:pt x="414" y="111"/>
                  <a:pt x="414" y="111"/>
                  <a:pt x="414" y="111"/>
                </a:cubicBezTo>
                <a:cubicBezTo>
                  <a:pt x="418" y="113"/>
                  <a:pt x="421" y="118"/>
                  <a:pt x="421" y="122"/>
                </a:cubicBezTo>
                <a:cubicBezTo>
                  <a:pt x="421" y="379"/>
                  <a:pt x="421" y="379"/>
                  <a:pt x="421" y="379"/>
                </a:cubicBezTo>
                <a:cubicBezTo>
                  <a:pt x="421" y="386"/>
                  <a:pt x="415" y="392"/>
                  <a:pt x="408" y="39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33" name="Freeform 365"/>
          <p:cNvSpPr>
            <a:spLocks/>
          </p:cNvSpPr>
          <p:nvPr userDrawn="1"/>
        </p:nvSpPr>
        <p:spPr bwMode="auto">
          <a:xfrm>
            <a:off x="4852549" y="1785047"/>
            <a:ext cx="220663" cy="442912"/>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grpSp>
        <p:nvGrpSpPr>
          <p:cNvPr id="3" name="Group 214"/>
          <p:cNvGrpSpPr>
            <a:grpSpLocks noChangeAspect="1"/>
          </p:cNvGrpSpPr>
          <p:nvPr userDrawn="1"/>
        </p:nvGrpSpPr>
        <p:grpSpPr bwMode="auto">
          <a:xfrm>
            <a:off x="3835964" y="4300834"/>
            <a:ext cx="390281" cy="553711"/>
            <a:chOff x="1257" y="2375"/>
            <a:chExt cx="320" cy="454"/>
          </a:xfrm>
          <a:solidFill>
            <a:schemeClr val="bg1"/>
          </a:solidFill>
        </p:grpSpPr>
        <p:sp>
          <p:nvSpPr>
            <p:cNvPr id="35" name="Freeform 215"/>
            <p:cNvSpPr>
              <a:spLocks/>
            </p:cNvSpPr>
            <p:nvPr/>
          </p:nvSpPr>
          <p:spPr bwMode="auto">
            <a:xfrm>
              <a:off x="1257" y="2375"/>
              <a:ext cx="320" cy="454"/>
            </a:xfrm>
            <a:custGeom>
              <a:avLst/>
              <a:gdLst/>
              <a:ahLst/>
              <a:cxnLst>
                <a:cxn ang="0">
                  <a:pos x="55" y="0"/>
                </a:cxn>
                <a:cxn ang="0">
                  <a:pos x="0" y="240"/>
                </a:cxn>
                <a:cxn ang="0">
                  <a:pos x="40" y="240"/>
                </a:cxn>
                <a:cxn ang="0">
                  <a:pos x="55" y="38"/>
                </a:cxn>
                <a:cxn ang="0">
                  <a:pos x="412" y="54"/>
                </a:cxn>
                <a:cxn ang="0">
                  <a:pos x="396" y="601"/>
                </a:cxn>
                <a:cxn ang="0">
                  <a:pos x="281" y="581"/>
                </a:cxn>
                <a:cxn ang="0">
                  <a:pos x="169" y="581"/>
                </a:cxn>
                <a:cxn ang="0">
                  <a:pos x="54" y="601"/>
                </a:cxn>
                <a:cxn ang="0">
                  <a:pos x="39" y="337"/>
                </a:cxn>
                <a:cxn ang="0">
                  <a:pos x="98" y="277"/>
                </a:cxn>
                <a:cxn ang="0">
                  <a:pos x="346" y="105"/>
                </a:cxn>
                <a:cxn ang="0">
                  <a:pos x="99" y="475"/>
                </a:cxn>
                <a:cxn ang="0">
                  <a:pos x="80" y="334"/>
                </a:cxn>
                <a:cxn ang="0">
                  <a:pos x="61" y="494"/>
                </a:cxn>
                <a:cxn ang="0">
                  <a:pos x="80" y="513"/>
                </a:cxn>
                <a:cxn ang="0">
                  <a:pos x="385" y="494"/>
                </a:cxn>
                <a:cxn ang="0">
                  <a:pos x="366" y="66"/>
                </a:cxn>
                <a:cxn ang="0">
                  <a:pos x="60" y="86"/>
                </a:cxn>
                <a:cxn ang="0">
                  <a:pos x="60" y="268"/>
                </a:cxn>
                <a:cxn ang="0">
                  <a:pos x="0" y="330"/>
                </a:cxn>
                <a:cxn ang="0">
                  <a:pos x="0" y="586"/>
                </a:cxn>
                <a:cxn ang="0">
                  <a:pos x="193" y="640"/>
                </a:cxn>
                <a:cxn ang="0">
                  <a:pos x="198" y="640"/>
                </a:cxn>
                <a:cxn ang="0">
                  <a:pos x="216" y="603"/>
                </a:cxn>
                <a:cxn ang="0">
                  <a:pos x="210" y="588"/>
                </a:cxn>
                <a:cxn ang="0">
                  <a:pos x="225" y="563"/>
                </a:cxn>
                <a:cxn ang="0">
                  <a:pos x="241" y="588"/>
                </a:cxn>
                <a:cxn ang="0">
                  <a:pos x="237" y="602"/>
                </a:cxn>
                <a:cxn ang="0">
                  <a:pos x="254" y="639"/>
                </a:cxn>
                <a:cxn ang="0">
                  <a:pos x="259" y="640"/>
                </a:cxn>
                <a:cxn ang="0">
                  <a:pos x="450" y="585"/>
                </a:cxn>
                <a:cxn ang="0">
                  <a:pos x="396" y="0"/>
                </a:cxn>
              </a:cxnLst>
              <a:rect l="0" t="0" r="r" b="b"/>
              <a:pathLst>
                <a:path w="450" h="640">
                  <a:moveTo>
                    <a:pt x="396" y="0"/>
                  </a:moveTo>
                  <a:cubicBezTo>
                    <a:pt x="55" y="0"/>
                    <a:pt x="55" y="0"/>
                    <a:pt x="55" y="0"/>
                  </a:cubicBezTo>
                  <a:cubicBezTo>
                    <a:pt x="25" y="0"/>
                    <a:pt x="1" y="24"/>
                    <a:pt x="0" y="54"/>
                  </a:cubicBezTo>
                  <a:cubicBezTo>
                    <a:pt x="0" y="240"/>
                    <a:pt x="0" y="240"/>
                    <a:pt x="0" y="240"/>
                  </a:cubicBezTo>
                  <a:cubicBezTo>
                    <a:pt x="0" y="250"/>
                    <a:pt x="9" y="259"/>
                    <a:pt x="20" y="259"/>
                  </a:cubicBezTo>
                  <a:cubicBezTo>
                    <a:pt x="30" y="259"/>
                    <a:pt x="40" y="250"/>
                    <a:pt x="40" y="240"/>
                  </a:cubicBezTo>
                  <a:cubicBezTo>
                    <a:pt x="40" y="54"/>
                    <a:pt x="40" y="54"/>
                    <a:pt x="40" y="54"/>
                  </a:cubicBezTo>
                  <a:cubicBezTo>
                    <a:pt x="40" y="45"/>
                    <a:pt x="46" y="38"/>
                    <a:pt x="55" y="38"/>
                  </a:cubicBezTo>
                  <a:cubicBezTo>
                    <a:pt x="396" y="38"/>
                    <a:pt x="396" y="38"/>
                    <a:pt x="396" y="38"/>
                  </a:cubicBezTo>
                  <a:cubicBezTo>
                    <a:pt x="405" y="38"/>
                    <a:pt x="412" y="45"/>
                    <a:pt x="412" y="54"/>
                  </a:cubicBezTo>
                  <a:cubicBezTo>
                    <a:pt x="412" y="585"/>
                    <a:pt x="412" y="585"/>
                    <a:pt x="412" y="585"/>
                  </a:cubicBezTo>
                  <a:cubicBezTo>
                    <a:pt x="412" y="593"/>
                    <a:pt x="405" y="601"/>
                    <a:pt x="396" y="601"/>
                  </a:cubicBezTo>
                  <a:cubicBezTo>
                    <a:pt x="278" y="601"/>
                    <a:pt x="278" y="601"/>
                    <a:pt x="278" y="601"/>
                  </a:cubicBezTo>
                  <a:cubicBezTo>
                    <a:pt x="280" y="594"/>
                    <a:pt x="281" y="588"/>
                    <a:pt x="281" y="581"/>
                  </a:cubicBezTo>
                  <a:cubicBezTo>
                    <a:pt x="281" y="550"/>
                    <a:pt x="256" y="525"/>
                    <a:pt x="225" y="525"/>
                  </a:cubicBezTo>
                  <a:cubicBezTo>
                    <a:pt x="195" y="525"/>
                    <a:pt x="169" y="550"/>
                    <a:pt x="169" y="581"/>
                  </a:cubicBezTo>
                  <a:cubicBezTo>
                    <a:pt x="169" y="588"/>
                    <a:pt x="171" y="595"/>
                    <a:pt x="173" y="601"/>
                  </a:cubicBezTo>
                  <a:cubicBezTo>
                    <a:pt x="54" y="601"/>
                    <a:pt x="54" y="601"/>
                    <a:pt x="54" y="601"/>
                  </a:cubicBezTo>
                  <a:cubicBezTo>
                    <a:pt x="46" y="601"/>
                    <a:pt x="39" y="594"/>
                    <a:pt x="39" y="586"/>
                  </a:cubicBezTo>
                  <a:cubicBezTo>
                    <a:pt x="39" y="337"/>
                    <a:pt x="39" y="337"/>
                    <a:pt x="39" y="337"/>
                  </a:cubicBezTo>
                  <a:cubicBezTo>
                    <a:pt x="92" y="292"/>
                    <a:pt x="92" y="292"/>
                    <a:pt x="92" y="292"/>
                  </a:cubicBezTo>
                  <a:cubicBezTo>
                    <a:pt x="96" y="289"/>
                    <a:pt x="98" y="283"/>
                    <a:pt x="98" y="277"/>
                  </a:cubicBezTo>
                  <a:cubicBezTo>
                    <a:pt x="98" y="105"/>
                    <a:pt x="98" y="105"/>
                    <a:pt x="98" y="105"/>
                  </a:cubicBezTo>
                  <a:cubicBezTo>
                    <a:pt x="346" y="105"/>
                    <a:pt x="346" y="105"/>
                    <a:pt x="346" y="105"/>
                  </a:cubicBezTo>
                  <a:cubicBezTo>
                    <a:pt x="346" y="475"/>
                    <a:pt x="346" y="475"/>
                    <a:pt x="346" y="475"/>
                  </a:cubicBezTo>
                  <a:cubicBezTo>
                    <a:pt x="99" y="475"/>
                    <a:pt x="99" y="475"/>
                    <a:pt x="99" y="475"/>
                  </a:cubicBezTo>
                  <a:cubicBezTo>
                    <a:pt x="100" y="353"/>
                    <a:pt x="100" y="353"/>
                    <a:pt x="100" y="353"/>
                  </a:cubicBezTo>
                  <a:cubicBezTo>
                    <a:pt x="100" y="343"/>
                    <a:pt x="91" y="334"/>
                    <a:pt x="80" y="334"/>
                  </a:cubicBezTo>
                  <a:cubicBezTo>
                    <a:pt x="70" y="334"/>
                    <a:pt x="61" y="343"/>
                    <a:pt x="61" y="353"/>
                  </a:cubicBezTo>
                  <a:cubicBezTo>
                    <a:pt x="61" y="494"/>
                    <a:pt x="61" y="494"/>
                    <a:pt x="61" y="494"/>
                  </a:cubicBezTo>
                  <a:cubicBezTo>
                    <a:pt x="61" y="499"/>
                    <a:pt x="63" y="504"/>
                    <a:pt x="67" y="508"/>
                  </a:cubicBezTo>
                  <a:cubicBezTo>
                    <a:pt x="70" y="511"/>
                    <a:pt x="75" y="513"/>
                    <a:pt x="80" y="513"/>
                  </a:cubicBezTo>
                  <a:cubicBezTo>
                    <a:pt x="366" y="513"/>
                    <a:pt x="366" y="513"/>
                    <a:pt x="366" y="513"/>
                  </a:cubicBezTo>
                  <a:cubicBezTo>
                    <a:pt x="377" y="513"/>
                    <a:pt x="385" y="505"/>
                    <a:pt x="385" y="494"/>
                  </a:cubicBezTo>
                  <a:cubicBezTo>
                    <a:pt x="385" y="86"/>
                    <a:pt x="385" y="86"/>
                    <a:pt x="385" y="86"/>
                  </a:cubicBezTo>
                  <a:cubicBezTo>
                    <a:pt x="385" y="75"/>
                    <a:pt x="377" y="66"/>
                    <a:pt x="366" y="66"/>
                  </a:cubicBezTo>
                  <a:cubicBezTo>
                    <a:pt x="79" y="66"/>
                    <a:pt x="79" y="66"/>
                    <a:pt x="79" y="66"/>
                  </a:cubicBezTo>
                  <a:cubicBezTo>
                    <a:pt x="68" y="66"/>
                    <a:pt x="60" y="75"/>
                    <a:pt x="60" y="86"/>
                  </a:cubicBezTo>
                  <a:cubicBezTo>
                    <a:pt x="60" y="86"/>
                    <a:pt x="60" y="87"/>
                    <a:pt x="60" y="87"/>
                  </a:cubicBezTo>
                  <a:cubicBezTo>
                    <a:pt x="60" y="268"/>
                    <a:pt x="60" y="268"/>
                    <a:pt x="60" y="268"/>
                  </a:cubicBezTo>
                  <a:cubicBezTo>
                    <a:pt x="7" y="313"/>
                    <a:pt x="7" y="313"/>
                    <a:pt x="7" y="313"/>
                  </a:cubicBezTo>
                  <a:cubicBezTo>
                    <a:pt x="2" y="317"/>
                    <a:pt x="0" y="324"/>
                    <a:pt x="0" y="330"/>
                  </a:cubicBezTo>
                  <a:cubicBezTo>
                    <a:pt x="0" y="331"/>
                    <a:pt x="0" y="331"/>
                    <a:pt x="0" y="332"/>
                  </a:cubicBezTo>
                  <a:cubicBezTo>
                    <a:pt x="0" y="586"/>
                    <a:pt x="0" y="586"/>
                    <a:pt x="0" y="586"/>
                  </a:cubicBezTo>
                  <a:cubicBezTo>
                    <a:pt x="0" y="615"/>
                    <a:pt x="25" y="640"/>
                    <a:pt x="54" y="640"/>
                  </a:cubicBezTo>
                  <a:cubicBezTo>
                    <a:pt x="193" y="640"/>
                    <a:pt x="193" y="640"/>
                    <a:pt x="193" y="640"/>
                  </a:cubicBezTo>
                  <a:cubicBezTo>
                    <a:pt x="194" y="640"/>
                    <a:pt x="194" y="640"/>
                    <a:pt x="195" y="640"/>
                  </a:cubicBezTo>
                  <a:cubicBezTo>
                    <a:pt x="198" y="640"/>
                    <a:pt x="198" y="640"/>
                    <a:pt x="198" y="640"/>
                  </a:cubicBezTo>
                  <a:cubicBezTo>
                    <a:pt x="208" y="639"/>
                    <a:pt x="216" y="630"/>
                    <a:pt x="216" y="620"/>
                  </a:cubicBezTo>
                  <a:cubicBezTo>
                    <a:pt x="216" y="603"/>
                    <a:pt x="216" y="603"/>
                    <a:pt x="216" y="603"/>
                  </a:cubicBezTo>
                  <a:cubicBezTo>
                    <a:pt x="216" y="598"/>
                    <a:pt x="215" y="596"/>
                    <a:pt x="213" y="593"/>
                  </a:cubicBezTo>
                  <a:cubicBezTo>
                    <a:pt x="210" y="588"/>
                    <a:pt x="210" y="588"/>
                    <a:pt x="210" y="588"/>
                  </a:cubicBezTo>
                  <a:cubicBezTo>
                    <a:pt x="209" y="586"/>
                    <a:pt x="208" y="583"/>
                    <a:pt x="208" y="581"/>
                  </a:cubicBezTo>
                  <a:cubicBezTo>
                    <a:pt x="208" y="569"/>
                    <a:pt x="216" y="563"/>
                    <a:pt x="225" y="563"/>
                  </a:cubicBezTo>
                  <a:cubicBezTo>
                    <a:pt x="236" y="563"/>
                    <a:pt x="243" y="570"/>
                    <a:pt x="243" y="581"/>
                  </a:cubicBezTo>
                  <a:cubicBezTo>
                    <a:pt x="243" y="583"/>
                    <a:pt x="242" y="586"/>
                    <a:pt x="241" y="588"/>
                  </a:cubicBezTo>
                  <a:cubicBezTo>
                    <a:pt x="239" y="593"/>
                    <a:pt x="239" y="593"/>
                    <a:pt x="239" y="593"/>
                  </a:cubicBezTo>
                  <a:cubicBezTo>
                    <a:pt x="237" y="595"/>
                    <a:pt x="237" y="599"/>
                    <a:pt x="237" y="602"/>
                  </a:cubicBezTo>
                  <a:cubicBezTo>
                    <a:pt x="237" y="619"/>
                    <a:pt x="237" y="619"/>
                    <a:pt x="237" y="619"/>
                  </a:cubicBezTo>
                  <a:cubicBezTo>
                    <a:pt x="237" y="630"/>
                    <a:pt x="244" y="638"/>
                    <a:pt x="254" y="639"/>
                  </a:cubicBezTo>
                  <a:cubicBezTo>
                    <a:pt x="258" y="639"/>
                    <a:pt x="258" y="639"/>
                    <a:pt x="258" y="639"/>
                  </a:cubicBezTo>
                  <a:cubicBezTo>
                    <a:pt x="258" y="639"/>
                    <a:pt x="259" y="640"/>
                    <a:pt x="259" y="640"/>
                  </a:cubicBezTo>
                  <a:cubicBezTo>
                    <a:pt x="396" y="640"/>
                    <a:pt x="396" y="640"/>
                    <a:pt x="396" y="640"/>
                  </a:cubicBezTo>
                  <a:cubicBezTo>
                    <a:pt x="426" y="640"/>
                    <a:pt x="450" y="615"/>
                    <a:pt x="450" y="585"/>
                  </a:cubicBezTo>
                  <a:cubicBezTo>
                    <a:pt x="450" y="54"/>
                    <a:pt x="450" y="54"/>
                    <a:pt x="450" y="54"/>
                  </a:cubicBezTo>
                  <a:cubicBezTo>
                    <a:pt x="450" y="24"/>
                    <a:pt x="426" y="0"/>
                    <a:pt x="39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36" name="Line 216"/>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37" name="Line 217"/>
            <p:cNvSpPr>
              <a:spLocks noChangeShapeType="1"/>
            </p:cNvSpPr>
            <p:nvPr/>
          </p:nvSpPr>
          <p:spPr bwMode="auto">
            <a:xfrm>
              <a:off x="1382" y="2797"/>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grpSp>
      <p:sp>
        <p:nvSpPr>
          <p:cNvPr id="38" name="Freeform 259"/>
          <p:cNvSpPr>
            <a:spLocks noEditPoints="1"/>
          </p:cNvSpPr>
          <p:nvPr userDrawn="1"/>
        </p:nvSpPr>
        <p:spPr bwMode="auto">
          <a:xfrm>
            <a:off x="3767576" y="1210877"/>
            <a:ext cx="527049" cy="422275"/>
          </a:xfrm>
          <a:custGeom>
            <a:avLst/>
            <a:gdLst/>
            <a:ahLst/>
            <a:cxnLst>
              <a:cxn ang="0">
                <a:pos x="205" y="4"/>
              </a:cxn>
              <a:cxn ang="0">
                <a:pos x="61" y="129"/>
              </a:cxn>
              <a:cxn ang="0">
                <a:pos x="60" y="148"/>
              </a:cxn>
              <a:cxn ang="0">
                <a:pos x="79" y="149"/>
              </a:cxn>
              <a:cxn ang="0">
                <a:pos x="218" y="28"/>
              </a:cxn>
              <a:cxn ang="0">
                <a:pos x="413" y="62"/>
              </a:cxn>
              <a:cxn ang="0">
                <a:pos x="400" y="113"/>
              </a:cxn>
              <a:cxn ang="0">
                <a:pos x="402" y="131"/>
              </a:cxn>
              <a:cxn ang="0">
                <a:pos x="430" y="174"/>
              </a:cxn>
              <a:cxn ang="0">
                <a:pos x="261" y="344"/>
              </a:cxn>
              <a:cxn ang="0">
                <a:pos x="71" y="290"/>
              </a:cxn>
              <a:cxn ang="0">
                <a:pos x="32" y="243"/>
              </a:cxn>
              <a:cxn ang="0">
                <a:pos x="31" y="234"/>
              </a:cxn>
              <a:cxn ang="0">
                <a:pos x="58" y="197"/>
              </a:cxn>
              <a:cxn ang="0">
                <a:pos x="241" y="247"/>
              </a:cxn>
              <a:cxn ang="0">
                <a:pos x="253" y="243"/>
              </a:cxn>
              <a:cxn ang="0">
                <a:pos x="376" y="131"/>
              </a:cxn>
              <a:cxn ang="0">
                <a:pos x="385" y="118"/>
              </a:cxn>
              <a:cxn ang="0">
                <a:pos x="372" y="105"/>
              </a:cxn>
              <a:cxn ang="0">
                <a:pos x="295" y="166"/>
              </a:cxn>
              <a:cxn ang="0">
                <a:pos x="240" y="219"/>
              </a:cxn>
              <a:cxn ang="0">
                <a:pos x="60" y="170"/>
              </a:cxn>
              <a:cxn ang="0">
                <a:pos x="51" y="171"/>
              </a:cxn>
              <a:cxn ang="0">
                <a:pos x="6" y="248"/>
              </a:cxn>
              <a:cxn ang="0">
                <a:pos x="69" y="317"/>
              </a:cxn>
              <a:cxn ang="0">
                <a:pos x="261" y="372"/>
              </a:cxn>
              <a:cxn ang="0">
                <a:pos x="274" y="368"/>
              </a:cxn>
              <a:cxn ang="0">
                <a:pos x="462" y="181"/>
              </a:cxn>
              <a:cxn ang="0">
                <a:pos x="466" y="169"/>
              </a:cxn>
              <a:cxn ang="0">
                <a:pos x="457" y="159"/>
              </a:cxn>
              <a:cxn ang="0">
                <a:pos x="428" y="126"/>
              </a:cxn>
              <a:cxn ang="0">
                <a:pos x="446" y="62"/>
              </a:cxn>
              <a:cxn ang="0">
                <a:pos x="449" y="49"/>
              </a:cxn>
              <a:cxn ang="0">
                <a:pos x="439" y="40"/>
              </a:cxn>
              <a:cxn ang="0">
                <a:pos x="216" y="0"/>
              </a:cxn>
              <a:cxn ang="0">
                <a:pos x="205" y="4"/>
              </a:cxn>
              <a:cxn ang="0">
                <a:pos x="374" y="131"/>
              </a:cxn>
              <a:cxn ang="0">
                <a:pos x="372" y="131"/>
              </a:cxn>
              <a:cxn ang="0">
                <a:pos x="374" y="131"/>
              </a:cxn>
            </a:cxnLst>
            <a:rect l="0" t="0" r="r" b="b"/>
            <a:pathLst>
              <a:path w="467" h="373">
                <a:moveTo>
                  <a:pt x="205" y="4"/>
                </a:moveTo>
                <a:cubicBezTo>
                  <a:pt x="61" y="129"/>
                  <a:pt x="61" y="129"/>
                  <a:pt x="61" y="129"/>
                </a:cubicBezTo>
                <a:cubicBezTo>
                  <a:pt x="56" y="134"/>
                  <a:pt x="55" y="142"/>
                  <a:pt x="60" y="148"/>
                </a:cubicBezTo>
                <a:cubicBezTo>
                  <a:pt x="65" y="153"/>
                  <a:pt x="73" y="154"/>
                  <a:pt x="79" y="149"/>
                </a:cubicBezTo>
                <a:cubicBezTo>
                  <a:pt x="79" y="149"/>
                  <a:pt x="209" y="36"/>
                  <a:pt x="218" y="28"/>
                </a:cubicBezTo>
                <a:cubicBezTo>
                  <a:pt x="229" y="30"/>
                  <a:pt x="380" y="57"/>
                  <a:pt x="413" y="62"/>
                </a:cubicBezTo>
                <a:cubicBezTo>
                  <a:pt x="405" y="78"/>
                  <a:pt x="400" y="96"/>
                  <a:pt x="400" y="113"/>
                </a:cubicBezTo>
                <a:cubicBezTo>
                  <a:pt x="400" y="119"/>
                  <a:pt x="401" y="125"/>
                  <a:pt x="402" y="131"/>
                </a:cubicBezTo>
                <a:cubicBezTo>
                  <a:pt x="406" y="149"/>
                  <a:pt x="416" y="164"/>
                  <a:pt x="430" y="174"/>
                </a:cubicBezTo>
                <a:cubicBezTo>
                  <a:pt x="386" y="218"/>
                  <a:pt x="287" y="318"/>
                  <a:pt x="261" y="344"/>
                </a:cubicBezTo>
                <a:cubicBezTo>
                  <a:pt x="229" y="333"/>
                  <a:pt x="109" y="293"/>
                  <a:pt x="71" y="290"/>
                </a:cubicBezTo>
                <a:cubicBezTo>
                  <a:pt x="59" y="289"/>
                  <a:pt x="37" y="268"/>
                  <a:pt x="32" y="243"/>
                </a:cubicBezTo>
                <a:cubicBezTo>
                  <a:pt x="31" y="240"/>
                  <a:pt x="31" y="237"/>
                  <a:pt x="31" y="234"/>
                </a:cubicBezTo>
                <a:cubicBezTo>
                  <a:pt x="31" y="219"/>
                  <a:pt x="40" y="206"/>
                  <a:pt x="58" y="197"/>
                </a:cubicBezTo>
                <a:cubicBezTo>
                  <a:pt x="67" y="200"/>
                  <a:pt x="241" y="247"/>
                  <a:pt x="241" y="247"/>
                </a:cubicBezTo>
                <a:cubicBezTo>
                  <a:pt x="245" y="248"/>
                  <a:pt x="250" y="247"/>
                  <a:pt x="253" y="243"/>
                </a:cubicBezTo>
                <a:cubicBezTo>
                  <a:pt x="305" y="192"/>
                  <a:pt x="365" y="137"/>
                  <a:pt x="376" y="131"/>
                </a:cubicBezTo>
                <a:cubicBezTo>
                  <a:pt x="381" y="129"/>
                  <a:pt x="385" y="124"/>
                  <a:pt x="385" y="118"/>
                </a:cubicBezTo>
                <a:cubicBezTo>
                  <a:pt x="385" y="111"/>
                  <a:pt x="379" y="105"/>
                  <a:pt x="372" y="105"/>
                </a:cubicBezTo>
                <a:cubicBezTo>
                  <a:pt x="365" y="105"/>
                  <a:pt x="361" y="105"/>
                  <a:pt x="295" y="166"/>
                </a:cubicBezTo>
                <a:cubicBezTo>
                  <a:pt x="273" y="188"/>
                  <a:pt x="250" y="209"/>
                  <a:pt x="240" y="219"/>
                </a:cubicBezTo>
                <a:cubicBezTo>
                  <a:pt x="227" y="215"/>
                  <a:pt x="60" y="170"/>
                  <a:pt x="60" y="170"/>
                </a:cubicBezTo>
                <a:cubicBezTo>
                  <a:pt x="57" y="169"/>
                  <a:pt x="54" y="169"/>
                  <a:pt x="51" y="171"/>
                </a:cubicBezTo>
                <a:cubicBezTo>
                  <a:pt x="16" y="186"/>
                  <a:pt x="0" y="215"/>
                  <a:pt x="6" y="248"/>
                </a:cubicBezTo>
                <a:cubicBezTo>
                  <a:pt x="12" y="282"/>
                  <a:pt x="42" y="315"/>
                  <a:pt x="69" y="317"/>
                </a:cubicBezTo>
                <a:cubicBezTo>
                  <a:pt x="102" y="319"/>
                  <a:pt x="218" y="357"/>
                  <a:pt x="261" y="372"/>
                </a:cubicBezTo>
                <a:cubicBezTo>
                  <a:pt x="265" y="373"/>
                  <a:pt x="271" y="372"/>
                  <a:pt x="274" y="368"/>
                </a:cubicBezTo>
                <a:cubicBezTo>
                  <a:pt x="276" y="367"/>
                  <a:pt x="425" y="215"/>
                  <a:pt x="462" y="181"/>
                </a:cubicBezTo>
                <a:cubicBezTo>
                  <a:pt x="465" y="178"/>
                  <a:pt x="467" y="173"/>
                  <a:pt x="466" y="169"/>
                </a:cubicBezTo>
                <a:cubicBezTo>
                  <a:pt x="465" y="164"/>
                  <a:pt x="462" y="160"/>
                  <a:pt x="457" y="159"/>
                </a:cubicBezTo>
                <a:cubicBezTo>
                  <a:pt x="441" y="153"/>
                  <a:pt x="431" y="142"/>
                  <a:pt x="428" y="126"/>
                </a:cubicBezTo>
                <a:cubicBezTo>
                  <a:pt x="423" y="102"/>
                  <a:pt x="433" y="75"/>
                  <a:pt x="446" y="62"/>
                </a:cubicBezTo>
                <a:cubicBezTo>
                  <a:pt x="449" y="59"/>
                  <a:pt x="451" y="54"/>
                  <a:pt x="449" y="49"/>
                </a:cubicBezTo>
                <a:cubicBezTo>
                  <a:pt x="448" y="44"/>
                  <a:pt x="444" y="41"/>
                  <a:pt x="439" y="40"/>
                </a:cubicBezTo>
                <a:cubicBezTo>
                  <a:pt x="216" y="0"/>
                  <a:pt x="216" y="0"/>
                  <a:pt x="216" y="0"/>
                </a:cubicBezTo>
                <a:cubicBezTo>
                  <a:pt x="212" y="0"/>
                  <a:pt x="208" y="1"/>
                  <a:pt x="205" y="4"/>
                </a:cubicBezTo>
                <a:close/>
                <a:moveTo>
                  <a:pt x="374" y="131"/>
                </a:moveTo>
                <a:cubicBezTo>
                  <a:pt x="373" y="131"/>
                  <a:pt x="372" y="131"/>
                  <a:pt x="372" y="131"/>
                </a:cubicBezTo>
                <a:cubicBezTo>
                  <a:pt x="372" y="131"/>
                  <a:pt x="373" y="131"/>
                  <a:pt x="374" y="13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39" name="Freeform 292"/>
          <p:cNvSpPr>
            <a:spLocks/>
          </p:cNvSpPr>
          <p:nvPr userDrawn="1"/>
        </p:nvSpPr>
        <p:spPr bwMode="auto">
          <a:xfrm>
            <a:off x="3771548" y="2996515"/>
            <a:ext cx="519111" cy="503239"/>
          </a:xfrm>
          <a:custGeom>
            <a:avLst/>
            <a:gdLst/>
            <a:ahLst/>
            <a:cxnLst>
              <a:cxn ang="0">
                <a:pos x="129" y="447"/>
              </a:cxn>
              <a:cxn ang="0">
                <a:pos x="0" y="315"/>
              </a:cxn>
              <a:cxn ang="0">
                <a:pos x="41" y="108"/>
              </a:cxn>
              <a:cxn ang="0">
                <a:pos x="51" y="75"/>
              </a:cxn>
              <a:cxn ang="0">
                <a:pos x="60" y="34"/>
              </a:cxn>
              <a:cxn ang="0">
                <a:pos x="125" y="34"/>
              </a:cxn>
              <a:cxn ang="0">
                <a:pos x="130" y="68"/>
              </a:cxn>
              <a:cxn ang="0">
                <a:pos x="163" y="0"/>
              </a:cxn>
              <a:cxn ang="0">
                <a:pos x="195" y="70"/>
              </a:cxn>
              <a:cxn ang="0">
                <a:pos x="215" y="104"/>
              </a:cxn>
              <a:cxn ang="0">
                <a:pos x="152" y="182"/>
              </a:cxn>
              <a:cxn ang="0">
                <a:pos x="148" y="156"/>
              </a:cxn>
              <a:cxn ang="0">
                <a:pos x="188" y="103"/>
              </a:cxn>
              <a:cxn ang="0">
                <a:pos x="184" y="95"/>
              </a:cxn>
              <a:cxn ang="0">
                <a:pos x="182" y="95"/>
              </a:cxn>
              <a:cxn ang="0">
                <a:pos x="168" y="34"/>
              </a:cxn>
              <a:cxn ang="0">
                <a:pos x="157" y="34"/>
              </a:cxn>
              <a:cxn ang="0">
                <a:pos x="143" y="95"/>
              </a:cxn>
              <a:cxn ang="0">
                <a:pos x="99" y="81"/>
              </a:cxn>
              <a:cxn ang="0">
                <a:pos x="93" y="27"/>
              </a:cxn>
              <a:cxn ang="0">
                <a:pos x="87" y="81"/>
              </a:cxn>
              <a:cxn ang="0">
                <a:pos x="72" y="95"/>
              </a:cxn>
              <a:cxn ang="0">
                <a:pos x="67" y="103"/>
              </a:cxn>
              <a:cxn ang="0">
                <a:pos x="108" y="156"/>
              </a:cxn>
              <a:cxn ang="0">
                <a:pos x="113" y="181"/>
              </a:cxn>
              <a:cxn ang="0">
                <a:pos x="129" y="420"/>
              </a:cxn>
              <a:cxn ang="0">
                <a:pos x="421" y="357"/>
              </a:cxn>
              <a:cxn ang="0">
                <a:pos x="320" y="307"/>
              </a:cxn>
              <a:cxn ang="0">
                <a:pos x="254" y="264"/>
              </a:cxn>
              <a:cxn ang="0">
                <a:pos x="227" y="231"/>
              </a:cxn>
              <a:cxn ang="0">
                <a:pos x="207" y="245"/>
              </a:cxn>
              <a:cxn ang="0">
                <a:pos x="196" y="264"/>
              </a:cxn>
              <a:cxn ang="0">
                <a:pos x="114" y="283"/>
              </a:cxn>
              <a:cxn ang="0">
                <a:pos x="79" y="323"/>
              </a:cxn>
              <a:cxn ang="0">
                <a:pos x="75" y="347"/>
              </a:cxn>
              <a:cxn ang="0">
                <a:pos x="215" y="377"/>
              </a:cxn>
              <a:cxn ang="0">
                <a:pos x="322" y="330"/>
              </a:cxn>
              <a:cxn ang="0">
                <a:pos x="322" y="357"/>
              </a:cxn>
              <a:cxn ang="0">
                <a:pos x="220" y="403"/>
              </a:cxn>
              <a:cxn ang="0">
                <a:pos x="48" y="318"/>
              </a:cxn>
              <a:cxn ang="0">
                <a:pos x="80" y="293"/>
              </a:cxn>
              <a:cxn ang="0">
                <a:pos x="120" y="238"/>
              </a:cxn>
              <a:cxn ang="0">
                <a:pos x="166" y="224"/>
              </a:cxn>
              <a:cxn ang="0">
                <a:pos x="178" y="204"/>
              </a:cxn>
              <a:cxn ang="0">
                <a:pos x="245" y="211"/>
              </a:cxn>
              <a:cxn ang="0">
                <a:pos x="293" y="238"/>
              </a:cxn>
              <a:cxn ang="0">
                <a:pos x="369" y="330"/>
              </a:cxn>
              <a:cxn ang="0">
                <a:pos x="458" y="337"/>
              </a:cxn>
              <a:cxn ang="0">
                <a:pos x="425" y="397"/>
              </a:cxn>
            </a:cxnLst>
            <a:rect l="0" t="0" r="r" b="b"/>
            <a:pathLst>
              <a:path w="460" h="447">
                <a:moveTo>
                  <a:pt x="371" y="447"/>
                </a:moveTo>
                <a:cubicBezTo>
                  <a:pt x="129" y="447"/>
                  <a:pt x="129" y="447"/>
                  <a:pt x="129" y="447"/>
                </a:cubicBezTo>
                <a:cubicBezTo>
                  <a:pt x="92" y="447"/>
                  <a:pt x="62" y="437"/>
                  <a:pt x="40" y="418"/>
                </a:cubicBezTo>
                <a:cubicBezTo>
                  <a:pt x="14" y="396"/>
                  <a:pt x="0" y="361"/>
                  <a:pt x="0" y="315"/>
                </a:cubicBezTo>
                <a:cubicBezTo>
                  <a:pt x="0" y="249"/>
                  <a:pt x="48" y="199"/>
                  <a:pt x="77" y="175"/>
                </a:cubicBezTo>
                <a:cubicBezTo>
                  <a:pt x="42" y="159"/>
                  <a:pt x="41" y="129"/>
                  <a:pt x="41" y="108"/>
                </a:cubicBezTo>
                <a:cubicBezTo>
                  <a:pt x="41" y="107"/>
                  <a:pt x="41" y="105"/>
                  <a:pt x="41" y="104"/>
                </a:cubicBezTo>
                <a:cubicBezTo>
                  <a:pt x="40" y="88"/>
                  <a:pt x="46" y="80"/>
                  <a:pt x="51" y="75"/>
                </a:cubicBezTo>
                <a:cubicBezTo>
                  <a:pt x="54" y="73"/>
                  <a:pt x="57" y="71"/>
                  <a:pt x="60" y="70"/>
                </a:cubicBezTo>
                <a:cubicBezTo>
                  <a:pt x="60" y="34"/>
                  <a:pt x="60" y="34"/>
                  <a:pt x="60" y="34"/>
                </a:cubicBezTo>
                <a:cubicBezTo>
                  <a:pt x="60" y="15"/>
                  <a:pt x="75" y="0"/>
                  <a:pt x="93" y="0"/>
                </a:cubicBezTo>
                <a:cubicBezTo>
                  <a:pt x="111" y="0"/>
                  <a:pt x="125" y="15"/>
                  <a:pt x="125" y="34"/>
                </a:cubicBezTo>
                <a:cubicBezTo>
                  <a:pt x="125" y="68"/>
                  <a:pt x="125" y="68"/>
                  <a:pt x="125" y="68"/>
                </a:cubicBezTo>
                <a:cubicBezTo>
                  <a:pt x="130" y="68"/>
                  <a:pt x="130" y="68"/>
                  <a:pt x="130" y="68"/>
                </a:cubicBezTo>
                <a:cubicBezTo>
                  <a:pt x="130" y="34"/>
                  <a:pt x="130" y="34"/>
                  <a:pt x="130" y="34"/>
                </a:cubicBezTo>
                <a:cubicBezTo>
                  <a:pt x="130" y="15"/>
                  <a:pt x="145" y="0"/>
                  <a:pt x="163" y="0"/>
                </a:cubicBezTo>
                <a:cubicBezTo>
                  <a:pt x="180" y="0"/>
                  <a:pt x="195" y="15"/>
                  <a:pt x="195" y="34"/>
                </a:cubicBezTo>
                <a:cubicBezTo>
                  <a:pt x="195" y="70"/>
                  <a:pt x="195" y="70"/>
                  <a:pt x="195" y="70"/>
                </a:cubicBezTo>
                <a:cubicBezTo>
                  <a:pt x="198" y="71"/>
                  <a:pt x="201" y="73"/>
                  <a:pt x="204" y="75"/>
                </a:cubicBezTo>
                <a:cubicBezTo>
                  <a:pt x="209" y="80"/>
                  <a:pt x="215" y="88"/>
                  <a:pt x="215" y="104"/>
                </a:cubicBezTo>
                <a:cubicBezTo>
                  <a:pt x="215" y="105"/>
                  <a:pt x="215" y="107"/>
                  <a:pt x="215" y="108"/>
                </a:cubicBezTo>
                <a:cubicBezTo>
                  <a:pt x="214" y="133"/>
                  <a:pt x="214" y="171"/>
                  <a:pt x="152" y="182"/>
                </a:cubicBezTo>
                <a:cubicBezTo>
                  <a:pt x="145" y="184"/>
                  <a:pt x="138" y="179"/>
                  <a:pt x="137" y="172"/>
                </a:cubicBezTo>
                <a:cubicBezTo>
                  <a:pt x="135" y="164"/>
                  <a:pt x="140" y="158"/>
                  <a:pt x="148" y="156"/>
                </a:cubicBezTo>
                <a:cubicBezTo>
                  <a:pt x="187" y="149"/>
                  <a:pt x="188" y="132"/>
                  <a:pt x="188" y="108"/>
                </a:cubicBezTo>
                <a:cubicBezTo>
                  <a:pt x="188" y="106"/>
                  <a:pt x="188" y="105"/>
                  <a:pt x="188" y="103"/>
                </a:cubicBezTo>
                <a:cubicBezTo>
                  <a:pt x="188" y="99"/>
                  <a:pt x="187" y="96"/>
                  <a:pt x="187" y="95"/>
                </a:cubicBezTo>
                <a:cubicBezTo>
                  <a:pt x="186" y="95"/>
                  <a:pt x="184" y="95"/>
                  <a:pt x="184" y="95"/>
                </a:cubicBezTo>
                <a:cubicBezTo>
                  <a:pt x="183" y="95"/>
                  <a:pt x="183" y="95"/>
                  <a:pt x="182" y="95"/>
                </a:cubicBezTo>
                <a:cubicBezTo>
                  <a:pt x="182" y="95"/>
                  <a:pt x="182" y="95"/>
                  <a:pt x="182" y="95"/>
                </a:cubicBezTo>
                <a:cubicBezTo>
                  <a:pt x="174" y="95"/>
                  <a:pt x="168" y="89"/>
                  <a:pt x="168" y="81"/>
                </a:cubicBezTo>
                <a:cubicBezTo>
                  <a:pt x="168" y="34"/>
                  <a:pt x="168" y="34"/>
                  <a:pt x="168" y="34"/>
                </a:cubicBezTo>
                <a:cubicBezTo>
                  <a:pt x="168" y="30"/>
                  <a:pt x="166" y="27"/>
                  <a:pt x="163" y="27"/>
                </a:cubicBezTo>
                <a:cubicBezTo>
                  <a:pt x="159" y="27"/>
                  <a:pt x="157" y="30"/>
                  <a:pt x="157" y="34"/>
                </a:cubicBezTo>
                <a:cubicBezTo>
                  <a:pt x="157" y="81"/>
                  <a:pt x="157" y="81"/>
                  <a:pt x="157" y="81"/>
                </a:cubicBezTo>
                <a:cubicBezTo>
                  <a:pt x="157" y="89"/>
                  <a:pt x="151" y="95"/>
                  <a:pt x="143" y="95"/>
                </a:cubicBezTo>
                <a:cubicBezTo>
                  <a:pt x="112" y="95"/>
                  <a:pt x="112" y="95"/>
                  <a:pt x="112" y="95"/>
                </a:cubicBezTo>
                <a:cubicBezTo>
                  <a:pt x="105" y="95"/>
                  <a:pt x="99" y="89"/>
                  <a:pt x="99" y="81"/>
                </a:cubicBezTo>
                <a:cubicBezTo>
                  <a:pt x="99" y="34"/>
                  <a:pt x="99" y="34"/>
                  <a:pt x="99" y="34"/>
                </a:cubicBezTo>
                <a:cubicBezTo>
                  <a:pt x="99" y="30"/>
                  <a:pt x="96" y="27"/>
                  <a:pt x="93" y="27"/>
                </a:cubicBezTo>
                <a:cubicBezTo>
                  <a:pt x="90" y="27"/>
                  <a:pt x="87" y="30"/>
                  <a:pt x="87" y="34"/>
                </a:cubicBezTo>
                <a:cubicBezTo>
                  <a:pt x="87" y="81"/>
                  <a:pt x="87" y="81"/>
                  <a:pt x="87" y="81"/>
                </a:cubicBezTo>
                <a:cubicBezTo>
                  <a:pt x="87" y="85"/>
                  <a:pt x="86" y="89"/>
                  <a:pt x="83" y="92"/>
                </a:cubicBezTo>
                <a:cubicBezTo>
                  <a:pt x="79" y="94"/>
                  <a:pt x="76" y="95"/>
                  <a:pt x="72" y="95"/>
                </a:cubicBezTo>
                <a:cubicBezTo>
                  <a:pt x="71" y="95"/>
                  <a:pt x="70" y="95"/>
                  <a:pt x="69" y="95"/>
                </a:cubicBezTo>
                <a:cubicBezTo>
                  <a:pt x="68" y="96"/>
                  <a:pt x="67" y="99"/>
                  <a:pt x="67" y="103"/>
                </a:cubicBezTo>
                <a:cubicBezTo>
                  <a:pt x="67" y="105"/>
                  <a:pt x="67" y="106"/>
                  <a:pt x="67" y="108"/>
                </a:cubicBezTo>
                <a:cubicBezTo>
                  <a:pt x="68" y="132"/>
                  <a:pt x="68" y="149"/>
                  <a:pt x="108" y="156"/>
                </a:cubicBezTo>
                <a:cubicBezTo>
                  <a:pt x="113" y="157"/>
                  <a:pt x="118" y="161"/>
                  <a:pt x="119" y="167"/>
                </a:cubicBezTo>
                <a:cubicBezTo>
                  <a:pt x="120" y="172"/>
                  <a:pt x="117" y="178"/>
                  <a:pt x="113" y="181"/>
                </a:cubicBezTo>
                <a:cubicBezTo>
                  <a:pt x="112" y="181"/>
                  <a:pt x="27" y="237"/>
                  <a:pt x="27" y="315"/>
                </a:cubicBezTo>
                <a:cubicBezTo>
                  <a:pt x="27" y="385"/>
                  <a:pt x="61" y="420"/>
                  <a:pt x="129" y="420"/>
                </a:cubicBezTo>
                <a:cubicBezTo>
                  <a:pt x="369" y="420"/>
                  <a:pt x="369" y="420"/>
                  <a:pt x="369" y="420"/>
                </a:cubicBezTo>
                <a:cubicBezTo>
                  <a:pt x="377" y="415"/>
                  <a:pt x="400" y="387"/>
                  <a:pt x="421" y="357"/>
                </a:cubicBezTo>
                <a:cubicBezTo>
                  <a:pt x="365" y="357"/>
                  <a:pt x="365" y="357"/>
                  <a:pt x="365" y="357"/>
                </a:cubicBezTo>
                <a:cubicBezTo>
                  <a:pt x="355" y="357"/>
                  <a:pt x="348" y="349"/>
                  <a:pt x="320" y="307"/>
                </a:cubicBezTo>
                <a:cubicBezTo>
                  <a:pt x="310" y="292"/>
                  <a:pt x="296" y="271"/>
                  <a:pt x="290" y="264"/>
                </a:cubicBezTo>
                <a:cubicBezTo>
                  <a:pt x="254" y="264"/>
                  <a:pt x="254" y="264"/>
                  <a:pt x="254" y="264"/>
                </a:cubicBezTo>
                <a:cubicBezTo>
                  <a:pt x="250" y="264"/>
                  <a:pt x="245" y="262"/>
                  <a:pt x="243" y="258"/>
                </a:cubicBezTo>
                <a:cubicBezTo>
                  <a:pt x="227" y="231"/>
                  <a:pt x="227" y="231"/>
                  <a:pt x="227" y="231"/>
                </a:cubicBezTo>
                <a:cubicBezTo>
                  <a:pt x="200" y="231"/>
                  <a:pt x="200" y="231"/>
                  <a:pt x="200" y="231"/>
                </a:cubicBezTo>
                <a:cubicBezTo>
                  <a:pt x="207" y="245"/>
                  <a:pt x="207" y="245"/>
                  <a:pt x="207" y="245"/>
                </a:cubicBezTo>
                <a:cubicBezTo>
                  <a:pt x="210" y="249"/>
                  <a:pt x="209" y="254"/>
                  <a:pt x="207" y="258"/>
                </a:cubicBezTo>
                <a:cubicBezTo>
                  <a:pt x="205" y="262"/>
                  <a:pt x="200" y="264"/>
                  <a:pt x="196" y="264"/>
                </a:cubicBezTo>
                <a:cubicBezTo>
                  <a:pt x="123" y="264"/>
                  <a:pt x="123" y="264"/>
                  <a:pt x="123" y="264"/>
                </a:cubicBezTo>
                <a:cubicBezTo>
                  <a:pt x="120" y="268"/>
                  <a:pt x="116" y="277"/>
                  <a:pt x="114" y="283"/>
                </a:cubicBezTo>
                <a:cubicBezTo>
                  <a:pt x="109" y="296"/>
                  <a:pt x="104" y="309"/>
                  <a:pt x="96" y="315"/>
                </a:cubicBezTo>
                <a:cubicBezTo>
                  <a:pt x="90" y="319"/>
                  <a:pt x="84" y="321"/>
                  <a:pt x="79" y="323"/>
                </a:cubicBezTo>
                <a:cubicBezTo>
                  <a:pt x="74" y="325"/>
                  <a:pt x="74" y="325"/>
                  <a:pt x="73" y="327"/>
                </a:cubicBezTo>
                <a:cubicBezTo>
                  <a:pt x="72" y="329"/>
                  <a:pt x="72" y="338"/>
                  <a:pt x="75" y="347"/>
                </a:cubicBezTo>
                <a:cubicBezTo>
                  <a:pt x="78" y="358"/>
                  <a:pt x="85" y="366"/>
                  <a:pt x="96" y="371"/>
                </a:cubicBezTo>
                <a:cubicBezTo>
                  <a:pt x="124" y="385"/>
                  <a:pt x="193" y="381"/>
                  <a:pt x="215" y="377"/>
                </a:cubicBezTo>
                <a:cubicBezTo>
                  <a:pt x="234" y="373"/>
                  <a:pt x="244" y="365"/>
                  <a:pt x="256" y="356"/>
                </a:cubicBezTo>
                <a:cubicBezTo>
                  <a:pt x="271" y="344"/>
                  <a:pt x="288" y="330"/>
                  <a:pt x="322" y="330"/>
                </a:cubicBezTo>
                <a:cubicBezTo>
                  <a:pt x="330" y="330"/>
                  <a:pt x="336" y="336"/>
                  <a:pt x="336" y="344"/>
                </a:cubicBezTo>
                <a:cubicBezTo>
                  <a:pt x="336" y="351"/>
                  <a:pt x="330" y="357"/>
                  <a:pt x="322" y="357"/>
                </a:cubicBezTo>
                <a:cubicBezTo>
                  <a:pt x="297" y="357"/>
                  <a:pt x="286" y="366"/>
                  <a:pt x="272" y="377"/>
                </a:cubicBezTo>
                <a:cubicBezTo>
                  <a:pt x="260" y="387"/>
                  <a:pt x="245" y="398"/>
                  <a:pt x="220" y="403"/>
                </a:cubicBezTo>
                <a:cubicBezTo>
                  <a:pt x="206" y="406"/>
                  <a:pt x="123" y="415"/>
                  <a:pt x="84" y="395"/>
                </a:cubicBezTo>
                <a:cubicBezTo>
                  <a:pt x="42" y="374"/>
                  <a:pt x="44" y="329"/>
                  <a:pt x="48" y="318"/>
                </a:cubicBezTo>
                <a:cubicBezTo>
                  <a:pt x="53" y="304"/>
                  <a:pt x="64" y="300"/>
                  <a:pt x="70" y="298"/>
                </a:cubicBezTo>
                <a:cubicBezTo>
                  <a:pt x="74" y="297"/>
                  <a:pt x="77" y="295"/>
                  <a:pt x="80" y="293"/>
                </a:cubicBezTo>
                <a:cubicBezTo>
                  <a:pt x="82" y="291"/>
                  <a:pt x="86" y="280"/>
                  <a:pt x="89" y="274"/>
                </a:cubicBezTo>
                <a:cubicBezTo>
                  <a:pt x="96" y="256"/>
                  <a:pt x="103" y="238"/>
                  <a:pt x="120" y="238"/>
                </a:cubicBezTo>
                <a:cubicBezTo>
                  <a:pt x="173" y="238"/>
                  <a:pt x="173" y="238"/>
                  <a:pt x="173" y="238"/>
                </a:cubicBezTo>
                <a:cubicBezTo>
                  <a:pt x="166" y="224"/>
                  <a:pt x="166" y="224"/>
                  <a:pt x="166" y="224"/>
                </a:cubicBezTo>
                <a:cubicBezTo>
                  <a:pt x="164" y="220"/>
                  <a:pt x="164" y="215"/>
                  <a:pt x="166" y="211"/>
                </a:cubicBezTo>
                <a:cubicBezTo>
                  <a:pt x="169" y="207"/>
                  <a:pt x="173" y="204"/>
                  <a:pt x="178" y="204"/>
                </a:cubicBezTo>
                <a:cubicBezTo>
                  <a:pt x="234" y="204"/>
                  <a:pt x="234" y="204"/>
                  <a:pt x="234" y="204"/>
                </a:cubicBezTo>
                <a:cubicBezTo>
                  <a:pt x="239" y="204"/>
                  <a:pt x="243" y="207"/>
                  <a:pt x="245" y="211"/>
                </a:cubicBezTo>
                <a:cubicBezTo>
                  <a:pt x="262" y="238"/>
                  <a:pt x="262" y="238"/>
                  <a:pt x="262" y="238"/>
                </a:cubicBezTo>
                <a:cubicBezTo>
                  <a:pt x="293" y="238"/>
                  <a:pt x="293" y="238"/>
                  <a:pt x="293" y="238"/>
                </a:cubicBezTo>
                <a:cubicBezTo>
                  <a:pt x="305" y="238"/>
                  <a:pt x="313" y="248"/>
                  <a:pt x="342" y="292"/>
                </a:cubicBezTo>
                <a:cubicBezTo>
                  <a:pt x="351" y="305"/>
                  <a:pt x="364" y="324"/>
                  <a:pt x="369" y="330"/>
                </a:cubicBezTo>
                <a:cubicBezTo>
                  <a:pt x="446" y="330"/>
                  <a:pt x="446" y="330"/>
                  <a:pt x="446" y="330"/>
                </a:cubicBezTo>
                <a:cubicBezTo>
                  <a:pt x="451" y="330"/>
                  <a:pt x="456" y="333"/>
                  <a:pt x="458" y="337"/>
                </a:cubicBezTo>
                <a:cubicBezTo>
                  <a:pt x="460" y="342"/>
                  <a:pt x="460" y="347"/>
                  <a:pt x="457" y="351"/>
                </a:cubicBezTo>
                <a:cubicBezTo>
                  <a:pt x="457" y="352"/>
                  <a:pt x="442" y="374"/>
                  <a:pt x="425" y="397"/>
                </a:cubicBezTo>
                <a:cubicBezTo>
                  <a:pt x="390" y="443"/>
                  <a:pt x="379" y="447"/>
                  <a:pt x="371" y="44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0" name="Freeform 325"/>
          <p:cNvSpPr>
            <a:spLocks/>
          </p:cNvSpPr>
          <p:nvPr userDrawn="1"/>
        </p:nvSpPr>
        <p:spPr bwMode="auto">
          <a:xfrm>
            <a:off x="3802503" y="1745364"/>
            <a:ext cx="457200" cy="517525"/>
          </a:xfrm>
          <a:custGeom>
            <a:avLst/>
            <a:gdLst/>
            <a:ahLst/>
            <a:cxnLst>
              <a:cxn ang="0">
                <a:pos x="392" y="0"/>
              </a:cxn>
              <a:cxn ang="0">
                <a:pos x="115" y="0"/>
              </a:cxn>
              <a:cxn ang="0">
                <a:pos x="102" y="13"/>
              </a:cxn>
              <a:cxn ang="0">
                <a:pos x="102" y="188"/>
              </a:cxn>
              <a:cxn ang="0">
                <a:pos x="115" y="201"/>
              </a:cxn>
              <a:cxn ang="0">
                <a:pos x="183" y="201"/>
              </a:cxn>
              <a:cxn ang="0">
                <a:pos x="164" y="222"/>
              </a:cxn>
              <a:cxn ang="0">
                <a:pos x="160" y="231"/>
              </a:cxn>
              <a:cxn ang="0">
                <a:pos x="164" y="241"/>
              </a:cxn>
              <a:cxn ang="0">
                <a:pos x="183" y="240"/>
              </a:cxn>
              <a:cxn ang="0">
                <a:pos x="224" y="197"/>
              </a:cxn>
              <a:cxn ang="0">
                <a:pos x="223" y="179"/>
              </a:cxn>
              <a:cxn ang="0">
                <a:pos x="183" y="139"/>
              </a:cxn>
              <a:cxn ang="0">
                <a:pos x="164" y="139"/>
              </a:cxn>
              <a:cxn ang="0">
                <a:pos x="160" y="148"/>
              </a:cxn>
              <a:cxn ang="0">
                <a:pos x="164" y="158"/>
              </a:cxn>
              <a:cxn ang="0">
                <a:pos x="181" y="175"/>
              </a:cxn>
              <a:cxn ang="0">
                <a:pos x="129" y="175"/>
              </a:cxn>
              <a:cxn ang="0">
                <a:pos x="129" y="27"/>
              </a:cxn>
              <a:cxn ang="0">
                <a:pos x="379" y="27"/>
              </a:cxn>
              <a:cxn ang="0">
                <a:pos x="379" y="432"/>
              </a:cxn>
              <a:cxn ang="0">
                <a:pos x="129" y="432"/>
              </a:cxn>
              <a:cxn ang="0">
                <a:pos x="129" y="269"/>
              </a:cxn>
              <a:cxn ang="0">
                <a:pos x="115" y="256"/>
              </a:cxn>
              <a:cxn ang="0">
                <a:pos x="46" y="256"/>
              </a:cxn>
              <a:cxn ang="0">
                <a:pos x="65" y="235"/>
              </a:cxn>
              <a:cxn ang="0">
                <a:pos x="69" y="226"/>
              </a:cxn>
              <a:cxn ang="0">
                <a:pos x="64" y="217"/>
              </a:cxn>
              <a:cxn ang="0">
                <a:pos x="46" y="217"/>
              </a:cxn>
              <a:cxn ang="0">
                <a:pos x="5" y="260"/>
              </a:cxn>
              <a:cxn ang="0">
                <a:pos x="5" y="278"/>
              </a:cxn>
              <a:cxn ang="0">
                <a:pos x="46" y="318"/>
              </a:cxn>
              <a:cxn ang="0">
                <a:pos x="65" y="318"/>
              </a:cxn>
              <a:cxn ang="0">
                <a:pos x="69" y="309"/>
              </a:cxn>
              <a:cxn ang="0">
                <a:pos x="65" y="300"/>
              </a:cxn>
              <a:cxn ang="0">
                <a:pos x="47" y="282"/>
              </a:cxn>
              <a:cxn ang="0">
                <a:pos x="102" y="282"/>
              </a:cxn>
              <a:cxn ang="0">
                <a:pos x="102" y="445"/>
              </a:cxn>
              <a:cxn ang="0">
                <a:pos x="115" y="459"/>
              </a:cxn>
              <a:cxn ang="0">
                <a:pos x="392" y="459"/>
              </a:cxn>
              <a:cxn ang="0">
                <a:pos x="405" y="445"/>
              </a:cxn>
              <a:cxn ang="0">
                <a:pos x="405" y="13"/>
              </a:cxn>
              <a:cxn ang="0">
                <a:pos x="392" y="0"/>
              </a:cxn>
            </a:cxnLst>
            <a:rect l="0" t="0" r="r" b="b"/>
            <a:pathLst>
              <a:path w="405" h="459">
                <a:moveTo>
                  <a:pt x="392" y="0"/>
                </a:moveTo>
                <a:cubicBezTo>
                  <a:pt x="115" y="0"/>
                  <a:pt x="115" y="0"/>
                  <a:pt x="115" y="0"/>
                </a:cubicBezTo>
                <a:cubicBezTo>
                  <a:pt x="108" y="0"/>
                  <a:pt x="102" y="6"/>
                  <a:pt x="102" y="13"/>
                </a:cubicBezTo>
                <a:cubicBezTo>
                  <a:pt x="102" y="188"/>
                  <a:pt x="102" y="188"/>
                  <a:pt x="102" y="188"/>
                </a:cubicBezTo>
                <a:cubicBezTo>
                  <a:pt x="102" y="196"/>
                  <a:pt x="108" y="201"/>
                  <a:pt x="115" y="201"/>
                </a:cubicBezTo>
                <a:cubicBezTo>
                  <a:pt x="183" y="201"/>
                  <a:pt x="183" y="201"/>
                  <a:pt x="183" y="201"/>
                </a:cubicBezTo>
                <a:cubicBezTo>
                  <a:pt x="173" y="212"/>
                  <a:pt x="164" y="222"/>
                  <a:pt x="164" y="222"/>
                </a:cubicBezTo>
                <a:cubicBezTo>
                  <a:pt x="161" y="224"/>
                  <a:pt x="160" y="228"/>
                  <a:pt x="160" y="231"/>
                </a:cubicBezTo>
                <a:cubicBezTo>
                  <a:pt x="160" y="234"/>
                  <a:pt x="161" y="238"/>
                  <a:pt x="164" y="241"/>
                </a:cubicBezTo>
                <a:cubicBezTo>
                  <a:pt x="170" y="246"/>
                  <a:pt x="178" y="245"/>
                  <a:pt x="183" y="240"/>
                </a:cubicBezTo>
                <a:cubicBezTo>
                  <a:pt x="224" y="197"/>
                  <a:pt x="224" y="197"/>
                  <a:pt x="224" y="197"/>
                </a:cubicBezTo>
                <a:cubicBezTo>
                  <a:pt x="229" y="192"/>
                  <a:pt x="228" y="184"/>
                  <a:pt x="223" y="179"/>
                </a:cubicBezTo>
                <a:cubicBezTo>
                  <a:pt x="183" y="139"/>
                  <a:pt x="183" y="139"/>
                  <a:pt x="183" y="139"/>
                </a:cubicBezTo>
                <a:cubicBezTo>
                  <a:pt x="178" y="133"/>
                  <a:pt x="169" y="134"/>
                  <a:pt x="164" y="139"/>
                </a:cubicBezTo>
                <a:cubicBezTo>
                  <a:pt x="161" y="141"/>
                  <a:pt x="160" y="145"/>
                  <a:pt x="160" y="148"/>
                </a:cubicBezTo>
                <a:cubicBezTo>
                  <a:pt x="160" y="152"/>
                  <a:pt x="161" y="155"/>
                  <a:pt x="164" y="158"/>
                </a:cubicBezTo>
                <a:cubicBezTo>
                  <a:pt x="164" y="158"/>
                  <a:pt x="172" y="166"/>
                  <a:pt x="181" y="175"/>
                </a:cubicBezTo>
                <a:cubicBezTo>
                  <a:pt x="129" y="175"/>
                  <a:pt x="129" y="175"/>
                  <a:pt x="129" y="175"/>
                </a:cubicBezTo>
                <a:cubicBezTo>
                  <a:pt x="129" y="27"/>
                  <a:pt x="129" y="27"/>
                  <a:pt x="129" y="27"/>
                </a:cubicBezTo>
                <a:cubicBezTo>
                  <a:pt x="379" y="27"/>
                  <a:pt x="379" y="27"/>
                  <a:pt x="379" y="27"/>
                </a:cubicBezTo>
                <a:cubicBezTo>
                  <a:pt x="379" y="432"/>
                  <a:pt x="379" y="432"/>
                  <a:pt x="379" y="432"/>
                </a:cubicBezTo>
                <a:cubicBezTo>
                  <a:pt x="129" y="432"/>
                  <a:pt x="129" y="432"/>
                  <a:pt x="129" y="432"/>
                </a:cubicBezTo>
                <a:cubicBezTo>
                  <a:pt x="129" y="409"/>
                  <a:pt x="129" y="269"/>
                  <a:pt x="129" y="269"/>
                </a:cubicBezTo>
                <a:cubicBezTo>
                  <a:pt x="129" y="262"/>
                  <a:pt x="123" y="256"/>
                  <a:pt x="115" y="256"/>
                </a:cubicBezTo>
                <a:cubicBezTo>
                  <a:pt x="46" y="256"/>
                  <a:pt x="46" y="256"/>
                  <a:pt x="46" y="256"/>
                </a:cubicBezTo>
                <a:cubicBezTo>
                  <a:pt x="55" y="245"/>
                  <a:pt x="65" y="235"/>
                  <a:pt x="65" y="235"/>
                </a:cubicBezTo>
                <a:cubicBezTo>
                  <a:pt x="67" y="233"/>
                  <a:pt x="69" y="230"/>
                  <a:pt x="69" y="226"/>
                </a:cubicBezTo>
                <a:cubicBezTo>
                  <a:pt x="69" y="223"/>
                  <a:pt x="67" y="219"/>
                  <a:pt x="64" y="217"/>
                </a:cubicBezTo>
                <a:cubicBezTo>
                  <a:pt x="59" y="211"/>
                  <a:pt x="51" y="212"/>
                  <a:pt x="46" y="217"/>
                </a:cubicBezTo>
                <a:cubicBezTo>
                  <a:pt x="5" y="260"/>
                  <a:pt x="5" y="260"/>
                  <a:pt x="5" y="260"/>
                </a:cubicBezTo>
                <a:cubicBezTo>
                  <a:pt x="0" y="265"/>
                  <a:pt x="0" y="273"/>
                  <a:pt x="5" y="278"/>
                </a:cubicBezTo>
                <a:cubicBezTo>
                  <a:pt x="46" y="318"/>
                  <a:pt x="46" y="318"/>
                  <a:pt x="46" y="318"/>
                </a:cubicBezTo>
                <a:cubicBezTo>
                  <a:pt x="51" y="324"/>
                  <a:pt x="60" y="324"/>
                  <a:pt x="65" y="318"/>
                </a:cubicBezTo>
                <a:cubicBezTo>
                  <a:pt x="67" y="316"/>
                  <a:pt x="69" y="312"/>
                  <a:pt x="69" y="309"/>
                </a:cubicBezTo>
                <a:cubicBezTo>
                  <a:pt x="69" y="306"/>
                  <a:pt x="67" y="302"/>
                  <a:pt x="65" y="300"/>
                </a:cubicBezTo>
                <a:cubicBezTo>
                  <a:pt x="65" y="300"/>
                  <a:pt x="56" y="291"/>
                  <a:pt x="47" y="282"/>
                </a:cubicBezTo>
                <a:cubicBezTo>
                  <a:pt x="102" y="282"/>
                  <a:pt x="102" y="282"/>
                  <a:pt x="102" y="282"/>
                </a:cubicBezTo>
                <a:cubicBezTo>
                  <a:pt x="102" y="305"/>
                  <a:pt x="102" y="445"/>
                  <a:pt x="102" y="445"/>
                </a:cubicBezTo>
                <a:cubicBezTo>
                  <a:pt x="102" y="453"/>
                  <a:pt x="108" y="459"/>
                  <a:pt x="115" y="459"/>
                </a:cubicBezTo>
                <a:cubicBezTo>
                  <a:pt x="392" y="459"/>
                  <a:pt x="392" y="459"/>
                  <a:pt x="392" y="459"/>
                </a:cubicBezTo>
                <a:cubicBezTo>
                  <a:pt x="399" y="459"/>
                  <a:pt x="405" y="453"/>
                  <a:pt x="405" y="445"/>
                </a:cubicBezTo>
                <a:cubicBezTo>
                  <a:pt x="405" y="13"/>
                  <a:pt x="405" y="13"/>
                  <a:pt x="405" y="13"/>
                </a:cubicBezTo>
                <a:cubicBezTo>
                  <a:pt x="405" y="6"/>
                  <a:pt x="399" y="0"/>
                  <a:pt x="392" y="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1" name="Freeform 329"/>
          <p:cNvSpPr>
            <a:spLocks/>
          </p:cNvSpPr>
          <p:nvPr userDrawn="1"/>
        </p:nvSpPr>
        <p:spPr bwMode="auto">
          <a:xfrm>
            <a:off x="3774722" y="2433072"/>
            <a:ext cx="512762" cy="417513"/>
          </a:xfrm>
          <a:custGeom>
            <a:avLst/>
            <a:gdLst/>
            <a:ahLst/>
            <a:cxnLst>
              <a:cxn ang="0">
                <a:pos x="441" y="141"/>
              </a:cxn>
              <a:cxn ang="0">
                <a:pos x="395" y="146"/>
              </a:cxn>
              <a:cxn ang="0">
                <a:pos x="369" y="163"/>
              </a:cxn>
              <a:cxn ang="0">
                <a:pos x="365" y="130"/>
              </a:cxn>
              <a:cxn ang="0">
                <a:pos x="346" y="126"/>
              </a:cxn>
              <a:cxn ang="0">
                <a:pos x="268" y="0"/>
              </a:cxn>
              <a:cxn ang="0">
                <a:pos x="190" y="126"/>
              </a:cxn>
              <a:cxn ang="0">
                <a:pos x="175" y="87"/>
              </a:cxn>
              <a:cxn ang="0">
                <a:pos x="0" y="87"/>
              </a:cxn>
              <a:cxn ang="0">
                <a:pos x="5" y="116"/>
              </a:cxn>
              <a:cxn ang="0">
                <a:pos x="28" y="150"/>
              </a:cxn>
              <a:cxn ang="0">
                <a:pos x="47" y="148"/>
              </a:cxn>
              <a:cxn ang="0">
                <a:pos x="41" y="126"/>
              </a:cxn>
              <a:cxn ang="0">
                <a:pos x="45" y="44"/>
              </a:cxn>
              <a:cxn ang="0">
                <a:pos x="130" y="44"/>
              </a:cxn>
              <a:cxn ang="0">
                <a:pos x="130" y="130"/>
              </a:cxn>
              <a:cxn ang="0">
                <a:pos x="127" y="140"/>
              </a:cxn>
              <a:cxn ang="0">
                <a:pos x="217" y="153"/>
              </a:cxn>
              <a:cxn ang="0">
                <a:pos x="222" y="127"/>
              </a:cxn>
              <a:cxn ang="0">
                <a:pos x="225" y="44"/>
              </a:cxn>
              <a:cxn ang="0">
                <a:pos x="310" y="44"/>
              </a:cxn>
              <a:cxn ang="0">
                <a:pos x="313" y="127"/>
              </a:cxn>
              <a:cxn ang="0">
                <a:pos x="318" y="153"/>
              </a:cxn>
              <a:cxn ang="0">
                <a:pos x="343" y="176"/>
              </a:cxn>
              <a:cxn ang="0">
                <a:pos x="356" y="189"/>
              </a:cxn>
              <a:cxn ang="0">
                <a:pos x="399" y="184"/>
              </a:cxn>
              <a:cxn ang="0">
                <a:pos x="428" y="167"/>
              </a:cxn>
              <a:cxn ang="0">
                <a:pos x="412" y="326"/>
              </a:cxn>
              <a:cxn ang="0">
                <a:pos x="391" y="308"/>
              </a:cxn>
              <a:cxn ang="0">
                <a:pos x="349" y="312"/>
              </a:cxn>
              <a:cxn ang="0">
                <a:pos x="345" y="344"/>
              </a:cxn>
              <a:cxn ang="0">
                <a:pos x="27" y="190"/>
              </a:cxn>
              <a:cxn ang="0">
                <a:pos x="0" y="190"/>
              </a:cxn>
              <a:cxn ang="0">
                <a:pos x="4" y="367"/>
              </a:cxn>
              <a:cxn ang="0">
                <a:pos x="358" y="371"/>
              </a:cxn>
              <a:cxn ang="0">
                <a:pos x="371" y="358"/>
              </a:cxn>
              <a:cxn ang="0">
                <a:pos x="385" y="335"/>
              </a:cxn>
              <a:cxn ang="0">
                <a:pos x="406" y="353"/>
              </a:cxn>
              <a:cxn ang="0">
                <a:pos x="451" y="349"/>
              </a:cxn>
              <a:cxn ang="0">
                <a:pos x="454" y="154"/>
              </a:cxn>
            </a:cxnLst>
            <a:rect l="0" t="0" r="r" b="b"/>
            <a:pathLst>
              <a:path w="454" h="371">
                <a:moveTo>
                  <a:pt x="451" y="145"/>
                </a:moveTo>
                <a:cubicBezTo>
                  <a:pt x="448" y="142"/>
                  <a:pt x="445" y="141"/>
                  <a:pt x="441" y="141"/>
                </a:cubicBezTo>
                <a:cubicBezTo>
                  <a:pt x="406" y="141"/>
                  <a:pt x="406" y="141"/>
                  <a:pt x="406" y="141"/>
                </a:cubicBezTo>
                <a:cubicBezTo>
                  <a:pt x="402" y="141"/>
                  <a:pt x="398" y="143"/>
                  <a:pt x="395" y="146"/>
                </a:cubicBezTo>
                <a:cubicBezTo>
                  <a:pt x="382" y="163"/>
                  <a:pt x="382" y="163"/>
                  <a:pt x="382" y="163"/>
                </a:cubicBezTo>
                <a:cubicBezTo>
                  <a:pt x="369" y="163"/>
                  <a:pt x="369" y="163"/>
                  <a:pt x="369" y="163"/>
                </a:cubicBezTo>
                <a:cubicBezTo>
                  <a:pt x="369" y="140"/>
                  <a:pt x="369" y="140"/>
                  <a:pt x="369" y="140"/>
                </a:cubicBezTo>
                <a:cubicBezTo>
                  <a:pt x="369" y="136"/>
                  <a:pt x="368" y="133"/>
                  <a:pt x="365" y="130"/>
                </a:cubicBezTo>
                <a:cubicBezTo>
                  <a:pt x="363" y="128"/>
                  <a:pt x="359" y="126"/>
                  <a:pt x="356" y="126"/>
                </a:cubicBezTo>
                <a:cubicBezTo>
                  <a:pt x="346" y="126"/>
                  <a:pt x="346" y="126"/>
                  <a:pt x="346" y="126"/>
                </a:cubicBezTo>
                <a:cubicBezTo>
                  <a:pt x="352" y="115"/>
                  <a:pt x="355" y="101"/>
                  <a:pt x="355" y="87"/>
                </a:cubicBezTo>
                <a:cubicBezTo>
                  <a:pt x="355" y="39"/>
                  <a:pt x="316" y="0"/>
                  <a:pt x="268" y="0"/>
                </a:cubicBezTo>
                <a:cubicBezTo>
                  <a:pt x="219" y="0"/>
                  <a:pt x="180" y="39"/>
                  <a:pt x="180" y="87"/>
                </a:cubicBezTo>
                <a:cubicBezTo>
                  <a:pt x="180" y="101"/>
                  <a:pt x="184" y="115"/>
                  <a:pt x="190" y="126"/>
                </a:cubicBezTo>
                <a:cubicBezTo>
                  <a:pt x="166" y="126"/>
                  <a:pt x="166" y="126"/>
                  <a:pt x="166" y="126"/>
                </a:cubicBezTo>
                <a:cubicBezTo>
                  <a:pt x="171" y="115"/>
                  <a:pt x="175" y="101"/>
                  <a:pt x="175" y="87"/>
                </a:cubicBezTo>
                <a:cubicBezTo>
                  <a:pt x="175" y="39"/>
                  <a:pt x="136" y="0"/>
                  <a:pt x="88" y="0"/>
                </a:cubicBezTo>
                <a:cubicBezTo>
                  <a:pt x="39" y="0"/>
                  <a:pt x="0" y="39"/>
                  <a:pt x="0" y="87"/>
                </a:cubicBezTo>
                <a:cubicBezTo>
                  <a:pt x="0" y="96"/>
                  <a:pt x="2" y="105"/>
                  <a:pt x="4" y="114"/>
                </a:cubicBezTo>
                <a:cubicBezTo>
                  <a:pt x="4" y="114"/>
                  <a:pt x="5" y="115"/>
                  <a:pt x="5" y="116"/>
                </a:cubicBezTo>
                <a:cubicBezTo>
                  <a:pt x="5" y="117"/>
                  <a:pt x="7" y="122"/>
                  <a:pt x="11" y="129"/>
                </a:cubicBezTo>
                <a:cubicBezTo>
                  <a:pt x="14" y="135"/>
                  <a:pt x="20" y="144"/>
                  <a:pt x="28" y="150"/>
                </a:cubicBezTo>
                <a:cubicBezTo>
                  <a:pt x="30" y="152"/>
                  <a:pt x="33" y="153"/>
                  <a:pt x="36" y="153"/>
                </a:cubicBezTo>
                <a:cubicBezTo>
                  <a:pt x="40" y="153"/>
                  <a:pt x="44" y="151"/>
                  <a:pt x="47" y="148"/>
                </a:cubicBezTo>
                <a:cubicBezTo>
                  <a:pt x="51" y="142"/>
                  <a:pt x="50" y="134"/>
                  <a:pt x="44" y="129"/>
                </a:cubicBezTo>
                <a:cubicBezTo>
                  <a:pt x="43" y="128"/>
                  <a:pt x="42" y="127"/>
                  <a:pt x="41" y="126"/>
                </a:cubicBezTo>
                <a:cubicBezTo>
                  <a:pt x="32" y="115"/>
                  <a:pt x="27" y="102"/>
                  <a:pt x="27" y="87"/>
                </a:cubicBezTo>
                <a:cubicBezTo>
                  <a:pt x="27" y="70"/>
                  <a:pt x="34" y="55"/>
                  <a:pt x="45" y="44"/>
                </a:cubicBezTo>
                <a:cubicBezTo>
                  <a:pt x="56" y="33"/>
                  <a:pt x="71" y="26"/>
                  <a:pt x="88" y="26"/>
                </a:cubicBezTo>
                <a:cubicBezTo>
                  <a:pt x="104" y="26"/>
                  <a:pt x="119" y="33"/>
                  <a:pt x="130" y="44"/>
                </a:cubicBezTo>
                <a:cubicBezTo>
                  <a:pt x="141" y="55"/>
                  <a:pt x="148" y="70"/>
                  <a:pt x="148" y="87"/>
                </a:cubicBezTo>
                <a:cubicBezTo>
                  <a:pt x="148" y="104"/>
                  <a:pt x="141" y="119"/>
                  <a:pt x="130" y="130"/>
                </a:cubicBezTo>
                <a:cubicBezTo>
                  <a:pt x="131" y="130"/>
                  <a:pt x="131" y="130"/>
                  <a:pt x="131" y="130"/>
                </a:cubicBezTo>
                <a:cubicBezTo>
                  <a:pt x="128" y="133"/>
                  <a:pt x="127" y="136"/>
                  <a:pt x="127" y="140"/>
                </a:cubicBezTo>
                <a:cubicBezTo>
                  <a:pt x="127" y="147"/>
                  <a:pt x="133" y="153"/>
                  <a:pt x="140" y="153"/>
                </a:cubicBezTo>
                <a:cubicBezTo>
                  <a:pt x="217" y="153"/>
                  <a:pt x="217" y="153"/>
                  <a:pt x="217" y="153"/>
                </a:cubicBezTo>
                <a:cubicBezTo>
                  <a:pt x="225" y="153"/>
                  <a:pt x="231" y="147"/>
                  <a:pt x="231" y="140"/>
                </a:cubicBezTo>
                <a:cubicBezTo>
                  <a:pt x="231" y="134"/>
                  <a:pt x="227" y="129"/>
                  <a:pt x="222" y="127"/>
                </a:cubicBezTo>
                <a:cubicBezTo>
                  <a:pt x="213" y="117"/>
                  <a:pt x="207" y="103"/>
                  <a:pt x="207" y="87"/>
                </a:cubicBezTo>
                <a:cubicBezTo>
                  <a:pt x="207" y="70"/>
                  <a:pt x="214" y="55"/>
                  <a:pt x="225" y="44"/>
                </a:cubicBezTo>
                <a:cubicBezTo>
                  <a:pt x="236" y="33"/>
                  <a:pt x="251" y="26"/>
                  <a:pt x="268" y="26"/>
                </a:cubicBezTo>
                <a:cubicBezTo>
                  <a:pt x="284" y="26"/>
                  <a:pt x="299" y="33"/>
                  <a:pt x="310" y="44"/>
                </a:cubicBezTo>
                <a:cubicBezTo>
                  <a:pt x="321" y="55"/>
                  <a:pt x="328" y="70"/>
                  <a:pt x="328" y="87"/>
                </a:cubicBezTo>
                <a:cubicBezTo>
                  <a:pt x="328" y="102"/>
                  <a:pt x="322" y="116"/>
                  <a:pt x="313" y="127"/>
                </a:cubicBezTo>
                <a:cubicBezTo>
                  <a:pt x="308" y="129"/>
                  <a:pt x="304" y="134"/>
                  <a:pt x="304" y="140"/>
                </a:cubicBezTo>
                <a:cubicBezTo>
                  <a:pt x="304" y="147"/>
                  <a:pt x="310" y="153"/>
                  <a:pt x="318" y="153"/>
                </a:cubicBezTo>
                <a:cubicBezTo>
                  <a:pt x="343" y="153"/>
                  <a:pt x="343" y="153"/>
                  <a:pt x="343" y="153"/>
                </a:cubicBezTo>
                <a:cubicBezTo>
                  <a:pt x="343" y="176"/>
                  <a:pt x="343" y="176"/>
                  <a:pt x="343" y="176"/>
                </a:cubicBezTo>
                <a:cubicBezTo>
                  <a:pt x="343" y="180"/>
                  <a:pt x="344" y="183"/>
                  <a:pt x="346" y="185"/>
                </a:cubicBezTo>
                <a:cubicBezTo>
                  <a:pt x="349" y="188"/>
                  <a:pt x="352" y="189"/>
                  <a:pt x="356" y="189"/>
                </a:cubicBezTo>
                <a:cubicBezTo>
                  <a:pt x="388" y="189"/>
                  <a:pt x="388" y="189"/>
                  <a:pt x="388" y="189"/>
                </a:cubicBezTo>
                <a:cubicBezTo>
                  <a:pt x="392" y="189"/>
                  <a:pt x="396" y="188"/>
                  <a:pt x="399" y="184"/>
                </a:cubicBezTo>
                <a:cubicBezTo>
                  <a:pt x="412" y="167"/>
                  <a:pt x="412" y="167"/>
                  <a:pt x="412" y="167"/>
                </a:cubicBezTo>
                <a:cubicBezTo>
                  <a:pt x="428" y="167"/>
                  <a:pt x="428" y="167"/>
                  <a:pt x="428" y="167"/>
                </a:cubicBezTo>
                <a:cubicBezTo>
                  <a:pt x="428" y="326"/>
                  <a:pt x="428" y="326"/>
                  <a:pt x="428" y="326"/>
                </a:cubicBezTo>
                <a:cubicBezTo>
                  <a:pt x="412" y="326"/>
                  <a:pt x="412" y="326"/>
                  <a:pt x="412" y="326"/>
                </a:cubicBezTo>
                <a:cubicBezTo>
                  <a:pt x="402" y="313"/>
                  <a:pt x="402" y="313"/>
                  <a:pt x="402" y="313"/>
                </a:cubicBezTo>
                <a:cubicBezTo>
                  <a:pt x="399" y="310"/>
                  <a:pt x="395" y="308"/>
                  <a:pt x="391" y="308"/>
                </a:cubicBezTo>
                <a:cubicBezTo>
                  <a:pt x="358" y="308"/>
                  <a:pt x="358" y="308"/>
                  <a:pt x="358" y="308"/>
                </a:cubicBezTo>
                <a:cubicBezTo>
                  <a:pt x="354" y="308"/>
                  <a:pt x="351" y="310"/>
                  <a:pt x="349" y="312"/>
                </a:cubicBezTo>
                <a:cubicBezTo>
                  <a:pt x="346" y="315"/>
                  <a:pt x="345" y="318"/>
                  <a:pt x="345" y="322"/>
                </a:cubicBezTo>
                <a:cubicBezTo>
                  <a:pt x="345" y="344"/>
                  <a:pt x="345" y="344"/>
                  <a:pt x="345" y="344"/>
                </a:cubicBezTo>
                <a:cubicBezTo>
                  <a:pt x="27" y="344"/>
                  <a:pt x="27" y="344"/>
                  <a:pt x="27" y="344"/>
                </a:cubicBezTo>
                <a:cubicBezTo>
                  <a:pt x="27" y="190"/>
                  <a:pt x="27" y="190"/>
                  <a:pt x="27" y="190"/>
                </a:cubicBezTo>
                <a:cubicBezTo>
                  <a:pt x="27" y="182"/>
                  <a:pt x="21" y="177"/>
                  <a:pt x="14" y="177"/>
                </a:cubicBezTo>
                <a:cubicBezTo>
                  <a:pt x="6" y="177"/>
                  <a:pt x="0" y="182"/>
                  <a:pt x="0" y="190"/>
                </a:cubicBezTo>
                <a:cubicBezTo>
                  <a:pt x="0" y="358"/>
                  <a:pt x="0" y="358"/>
                  <a:pt x="0" y="358"/>
                </a:cubicBezTo>
                <a:cubicBezTo>
                  <a:pt x="0" y="361"/>
                  <a:pt x="2" y="365"/>
                  <a:pt x="4" y="367"/>
                </a:cubicBezTo>
                <a:cubicBezTo>
                  <a:pt x="7" y="370"/>
                  <a:pt x="10" y="371"/>
                  <a:pt x="14" y="371"/>
                </a:cubicBezTo>
                <a:cubicBezTo>
                  <a:pt x="358" y="371"/>
                  <a:pt x="358" y="371"/>
                  <a:pt x="358" y="371"/>
                </a:cubicBezTo>
                <a:cubicBezTo>
                  <a:pt x="361" y="371"/>
                  <a:pt x="365" y="370"/>
                  <a:pt x="367" y="367"/>
                </a:cubicBezTo>
                <a:cubicBezTo>
                  <a:pt x="370" y="365"/>
                  <a:pt x="371" y="361"/>
                  <a:pt x="371" y="358"/>
                </a:cubicBezTo>
                <a:cubicBezTo>
                  <a:pt x="371" y="335"/>
                  <a:pt x="371" y="335"/>
                  <a:pt x="371" y="335"/>
                </a:cubicBezTo>
                <a:cubicBezTo>
                  <a:pt x="385" y="335"/>
                  <a:pt x="385" y="335"/>
                  <a:pt x="385" y="335"/>
                </a:cubicBezTo>
                <a:cubicBezTo>
                  <a:pt x="395" y="348"/>
                  <a:pt x="395" y="348"/>
                  <a:pt x="395" y="348"/>
                </a:cubicBezTo>
                <a:cubicBezTo>
                  <a:pt x="398" y="351"/>
                  <a:pt x="402" y="353"/>
                  <a:pt x="406" y="353"/>
                </a:cubicBezTo>
                <a:cubicBezTo>
                  <a:pt x="441" y="353"/>
                  <a:pt x="441" y="353"/>
                  <a:pt x="441" y="353"/>
                </a:cubicBezTo>
                <a:cubicBezTo>
                  <a:pt x="445" y="353"/>
                  <a:pt x="448" y="351"/>
                  <a:pt x="451" y="349"/>
                </a:cubicBezTo>
                <a:cubicBezTo>
                  <a:pt x="453" y="346"/>
                  <a:pt x="454" y="343"/>
                  <a:pt x="454" y="339"/>
                </a:cubicBezTo>
                <a:cubicBezTo>
                  <a:pt x="454" y="154"/>
                  <a:pt x="454" y="154"/>
                  <a:pt x="454" y="154"/>
                </a:cubicBezTo>
                <a:cubicBezTo>
                  <a:pt x="454" y="151"/>
                  <a:pt x="453" y="147"/>
                  <a:pt x="451" y="14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2" name="Freeform 381"/>
          <p:cNvSpPr>
            <a:spLocks/>
          </p:cNvSpPr>
          <p:nvPr userDrawn="1"/>
        </p:nvSpPr>
        <p:spPr bwMode="auto">
          <a:xfrm>
            <a:off x="3794567" y="3677907"/>
            <a:ext cx="473075" cy="517525"/>
          </a:xfrm>
          <a:custGeom>
            <a:avLst/>
            <a:gdLst/>
            <a:ahLst/>
            <a:cxnLst>
              <a:cxn ang="0">
                <a:pos x="86" y="76"/>
              </a:cxn>
              <a:cxn ang="0">
                <a:pos x="30" y="95"/>
              </a:cxn>
              <a:cxn ang="0">
                <a:pos x="0" y="162"/>
              </a:cxn>
              <a:cxn ang="0">
                <a:pos x="25" y="223"/>
              </a:cxn>
              <a:cxn ang="0">
                <a:pos x="86" y="249"/>
              </a:cxn>
              <a:cxn ang="0">
                <a:pos x="126" y="249"/>
              </a:cxn>
              <a:cxn ang="0">
                <a:pos x="139" y="235"/>
              </a:cxn>
              <a:cxn ang="0">
                <a:pos x="126" y="222"/>
              </a:cxn>
              <a:cxn ang="0">
                <a:pos x="86" y="222"/>
              </a:cxn>
              <a:cxn ang="0">
                <a:pos x="44" y="204"/>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1"/>
              </a:cxn>
              <a:cxn ang="0">
                <a:pos x="344" y="118"/>
              </a:cxn>
              <a:cxn ang="0">
                <a:pos x="378" y="134"/>
              </a:cxn>
              <a:cxn ang="0">
                <a:pos x="392" y="171"/>
              </a:cxn>
              <a:cxn ang="0">
                <a:pos x="342" y="221"/>
              </a:cxn>
              <a:cxn ang="0">
                <a:pos x="196" y="221"/>
              </a:cxn>
              <a:cxn ang="0">
                <a:pos x="185" y="227"/>
              </a:cxn>
              <a:cxn ang="0">
                <a:pos x="184" y="240"/>
              </a:cxn>
              <a:cxn ang="0">
                <a:pos x="236" y="371"/>
              </a:cxn>
              <a:cxn ang="0">
                <a:pos x="246" y="379"/>
              </a:cxn>
              <a:cxn ang="0">
                <a:pos x="259" y="375"/>
              </a:cxn>
              <a:cxn ang="0">
                <a:pos x="292" y="337"/>
              </a:cxn>
              <a:cxn ang="0">
                <a:pos x="339" y="450"/>
              </a:cxn>
              <a:cxn ang="0">
                <a:pos x="356" y="458"/>
              </a:cxn>
              <a:cxn ang="0">
                <a:pos x="364" y="440"/>
              </a:cxn>
              <a:cxn ang="0">
                <a:pos x="309" y="307"/>
              </a:cxn>
              <a:cxn ang="0">
                <a:pos x="299" y="299"/>
              </a:cxn>
              <a:cxn ang="0">
                <a:pos x="287" y="303"/>
              </a:cxn>
              <a:cxn ang="0">
                <a:pos x="253" y="341"/>
              </a:cxn>
              <a:cxn ang="0">
                <a:pos x="216" y="248"/>
              </a:cxn>
              <a:cxn ang="0">
                <a:pos x="342" y="247"/>
              </a:cxn>
              <a:cxn ang="0">
                <a:pos x="419" y="171"/>
              </a:cxn>
              <a:cxn ang="0">
                <a:pos x="344" y="92"/>
              </a:cxn>
              <a:cxn ang="0">
                <a:pos x="324" y="94"/>
              </a:cxn>
              <a:cxn ang="0">
                <a:pos x="286" y="32"/>
              </a:cxn>
              <a:cxn ang="0">
                <a:pos x="201" y="0"/>
              </a:cxn>
              <a:cxn ang="0">
                <a:pos x="86" y="76"/>
              </a:cxn>
            </a:cxnLst>
            <a:rect l="0" t="0" r="r" b="b"/>
            <a:pathLst>
              <a:path w="419" h="460">
                <a:moveTo>
                  <a:pt x="86" y="76"/>
                </a:moveTo>
                <a:cubicBezTo>
                  <a:pt x="66" y="74"/>
                  <a:pt x="46" y="80"/>
                  <a:pt x="30" y="95"/>
                </a:cubicBezTo>
                <a:cubicBezTo>
                  <a:pt x="11" y="111"/>
                  <a:pt x="0" y="137"/>
                  <a:pt x="0" y="162"/>
                </a:cubicBezTo>
                <a:cubicBezTo>
                  <a:pt x="0" y="185"/>
                  <a:pt x="9" y="207"/>
                  <a:pt x="25" y="223"/>
                </a:cubicBezTo>
                <a:cubicBezTo>
                  <a:pt x="41" y="240"/>
                  <a:pt x="63" y="249"/>
                  <a:pt x="86" y="249"/>
                </a:cubicBezTo>
                <a:cubicBezTo>
                  <a:pt x="126" y="249"/>
                  <a:pt x="126" y="249"/>
                  <a:pt x="126" y="249"/>
                </a:cubicBezTo>
                <a:cubicBezTo>
                  <a:pt x="133" y="249"/>
                  <a:pt x="139" y="243"/>
                  <a:pt x="139" y="235"/>
                </a:cubicBezTo>
                <a:cubicBezTo>
                  <a:pt x="139" y="228"/>
                  <a:pt x="133" y="222"/>
                  <a:pt x="126" y="222"/>
                </a:cubicBezTo>
                <a:cubicBezTo>
                  <a:pt x="86" y="222"/>
                  <a:pt x="86" y="222"/>
                  <a:pt x="86" y="222"/>
                </a:cubicBezTo>
                <a:cubicBezTo>
                  <a:pt x="70" y="222"/>
                  <a:pt x="55" y="216"/>
                  <a:pt x="44" y="204"/>
                </a:cubicBezTo>
                <a:cubicBezTo>
                  <a:pt x="32" y="193"/>
                  <a:pt x="26" y="178"/>
                  <a:pt x="26" y="162"/>
                </a:cubicBezTo>
                <a:cubicBezTo>
                  <a:pt x="26" y="144"/>
                  <a:pt x="34" y="126"/>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1"/>
                  <a:pt x="306" y="124"/>
                </a:cubicBezTo>
                <a:cubicBezTo>
                  <a:pt x="310" y="126"/>
                  <a:pt x="314" y="126"/>
                  <a:pt x="318" y="125"/>
                </a:cubicBezTo>
                <a:cubicBezTo>
                  <a:pt x="318" y="125"/>
                  <a:pt x="327" y="122"/>
                  <a:pt x="327" y="121"/>
                </a:cubicBezTo>
                <a:cubicBezTo>
                  <a:pt x="332" y="119"/>
                  <a:pt x="338" y="118"/>
                  <a:pt x="344" y="118"/>
                </a:cubicBezTo>
                <a:cubicBezTo>
                  <a:pt x="357" y="118"/>
                  <a:pt x="369" y="124"/>
                  <a:pt x="378" y="134"/>
                </a:cubicBezTo>
                <a:cubicBezTo>
                  <a:pt x="387" y="144"/>
                  <a:pt x="392" y="157"/>
                  <a:pt x="392" y="171"/>
                </a:cubicBezTo>
                <a:cubicBezTo>
                  <a:pt x="392" y="198"/>
                  <a:pt x="370" y="221"/>
                  <a:pt x="342" y="221"/>
                </a:cubicBezTo>
                <a:cubicBezTo>
                  <a:pt x="196" y="221"/>
                  <a:pt x="196" y="221"/>
                  <a:pt x="196" y="221"/>
                </a:cubicBezTo>
                <a:cubicBezTo>
                  <a:pt x="192" y="221"/>
                  <a:pt x="188" y="224"/>
                  <a:pt x="185" y="227"/>
                </a:cubicBezTo>
                <a:cubicBezTo>
                  <a:pt x="183" y="231"/>
                  <a:pt x="182" y="236"/>
                  <a:pt x="184" y="240"/>
                </a:cubicBezTo>
                <a:cubicBezTo>
                  <a:pt x="236" y="371"/>
                  <a:pt x="236" y="371"/>
                  <a:pt x="236" y="371"/>
                </a:cubicBezTo>
                <a:cubicBezTo>
                  <a:pt x="238" y="375"/>
                  <a:pt x="242" y="378"/>
                  <a:pt x="246" y="379"/>
                </a:cubicBezTo>
                <a:cubicBezTo>
                  <a:pt x="251" y="380"/>
                  <a:pt x="256" y="378"/>
                  <a:pt x="259" y="375"/>
                </a:cubicBezTo>
                <a:cubicBezTo>
                  <a:pt x="259" y="375"/>
                  <a:pt x="278" y="353"/>
                  <a:pt x="292" y="337"/>
                </a:cubicBezTo>
                <a:cubicBezTo>
                  <a:pt x="304" y="366"/>
                  <a:pt x="339" y="450"/>
                  <a:pt x="339" y="450"/>
                </a:cubicBezTo>
                <a:cubicBezTo>
                  <a:pt x="342" y="457"/>
                  <a:pt x="349" y="460"/>
                  <a:pt x="356" y="458"/>
                </a:cubicBezTo>
                <a:cubicBezTo>
                  <a:pt x="363" y="455"/>
                  <a:pt x="366" y="447"/>
                  <a:pt x="364" y="440"/>
                </a:cubicBezTo>
                <a:cubicBezTo>
                  <a:pt x="309" y="307"/>
                  <a:pt x="309" y="307"/>
                  <a:pt x="309" y="307"/>
                </a:cubicBezTo>
                <a:cubicBezTo>
                  <a:pt x="307" y="303"/>
                  <a:pt x="303" y="300"/>
                  <a:pt x="299" y="299"/>
                </a:cubicBezTo>
                <a:cubicBezTo>
                  <a:pt x="294" y="298"/>
                  <a:pt x="290" y="300"/>
                  <a:pt x="287" y="303"/>
                </a:cubicBezTo>
                <a:cubicBezTo>
                  <a:pt x="287" y="303"/>
                  <a:pt x="267" y="325"/>
                  <a:pt x="253" y="341"/>
                </a:cubicBezTo>
                <a:cubicBezTo>
                  <a:pt x="243" y="317"/>
                  <a:pt x="225" y="270"/>
                  <a:pt x="216" y="248"/>
                </a:cubicBezTo>
                <a:cubicBezTo>
                  <a:pt x="245" y="248"/>
                  <a:pt x="342" y="247"/>
                  <a:pt x="342" y="247"/>
                </a:cubicBezTo>
                <a:cubicBezTo>
                  <a:pt x="385" y="247"/>
                  <a:pt x="419" y="213"/>
                  <a:pt x="419" y="171"/>
                </a:cubicBezTo>
                <a:cubicBezTo>
                  <a:pt x="419" y="127"/>
                  <a:pt x="385" y="92"/>
                  <a:pt x="344" y="92"/>
                </a:cubicBezTo>
                <a:cubicBezTo>
                  <a:pt x="337" y="92"/>
                  <a:pt x="330" y="93"/>
                  <a:pt x="324" y="94"/>
                </a:cubicBezTo>
                <a:cubicBezTo>
                  <a:pt x="318" y="70"/>
                  <a:pt x="305" y="48"/>
                  <a:pt x="286" y="32"/>
                </a:cubicBezTo>
                <a:cubicBezTo>
                  <a:pt x="262" y="11"/>
                  <a:pt x="232" y="0"/>
                  <a:pt x="201" y="0"/>
                </a:cubicBezTo>
                <a:cubicBezTo>
                  <a:pt x="150" y="0"/>
                  <a:pt x="105" y="30"/>
                  <a:pt x="86" y="7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3" name="Freeform 410"/>
          <p:cNvSpPr>
            <a:spLocks noEditPoints="1"/>
          </p:cNvSpPr>
          <p:nvPr userDrawn="1"/>
        </p:nvSpPr>
        <p:spPr bwMode="auto">
          <a:xfrm>
            <a:off x="3805675" y="5098470"/>
            <a:ext cx="450851" cy="449263"/>
          </a:xfrm>
          <a:custGeom>
            <a:avLst/>
            <a:gdLst/>
            <a:ahLst/>
            <a:cxnLst>
              <a:cxn ang="0">
                <a:pos x="0" y="200"/>
              </a:cxn>
              <a:cxn ang="0">
                <a:pos x="238" y="4"/>
              </a:cxn>
              <a:cxn ang="0">
                <a:pos x="352" y="109"/>
              </a:cxn>
              <a:cxn ang="0">
                <a:pos x="78" y="73"/>
              </a:cxn>
              <a:cxn ang="0">
                <a:pos x="201" y="376"/>
              </a:cxn>
              <a:cxn ang="0">
                <a:pos x="376" y="199"/>
              </a:cxn>
              <a:cxn ang="0">
                <a:pos x="357" y="184"/>
              </a:cxn>
              <a:cxn ang="0">
                <a:pos x="336" y="176"/>
              </a:cxn>
              <a:cxn ang="0">
                <a:pos x="290" y="205"/>
              </a:cxn>
              <a:cxn ang="0">
                <a:pos x="317" y="222"/>
              </a:cxn>
              <a:cxn ang="0">
                <a:pos x="305" y="250"/>
              </a:cxn>
              <a:cxn ang="0">
                <a:pos x="289" y="290"/>
              </a:cxn>
              <a:cxn ang="0">
                <a:pos x="237" y="358"/>
              </a:cxn>
              <a:cxn ang="0">
                <a:pos x="190" y="347"/>
              </a:cxn>
              <a:cxn ang="0">
                <a:pos x="164" y="257"/>
              </a:cxn>
              <a:cxn ang="0">
                <a:pos x="118" y="249"/>
              </a:cxn>
              <a:cxn ang="0">
                <a:pos x="93" y="207"/>
              </a:cxn>
              <a:cxn ang="0">
                <a:pos x="137" y="140"/>
              </a:cxn>
              <a:cxn ang="0">
                <a:pos x="117" y="97"/>
              </a:cxn>
              <a:cxn ang="0">
                <a:pos x="144" y="80"/>
              </a:cxn>
              <a:cxn ang="0">
                <a:pos x="148" y="55"/>
              </a:cxn>
              <a:cxn ang="0">
                <a:pos x="181" y="36"/>
              </a:cxn>
              <a:cxn ang="0">
                <a:pos x="228" y="46"/>
              </a:cxn>
              <a:cxn ang="0">
                <a:pos x="248" y="39"/>
              </a:cxn>
              <a:cxn ang="0">
                <a:pos x="249" y="59"/>
              </a:cxn>
              <a:cxn ang="0">
                <a:pos x="215" y="67"/>
              </a:cxn>
              <a:cxn ang="0">
                <a:pos x="180" y="60"/>
              </a:cxn>
              <a:cxn ang="0">
                <a:pos x="168" y="74"/>
              </a:cxn>
              <a:cxn ang="0">
                <a:pos x="169" y="82"/>
              </a:cxn>
              <a:cxn ang="0">
                <a:pos x="152" y="103"/>
              </a:cxn>
              <a:cxn ang="0">
                <a:pos x="147" y="119"/>
              </a:cxn>
              <a:cxn ang="0">
                <a:pos x="164" y="109"/>
              </a:cxn>
              <a:cxn ang="0">
                <a:pos x="188" y="99"/>
              </a:cxn>
              <a:cxn ang="0">
                <a:pos x="229" y="113"/>
              </a:cxn>
              <a:cxn ang="0">
                <a:pos x="255" y="152"/>
              </a:cxn>
              <a:cxn ang="0">
                <a:pos x="237" y="172"/>
              </a:cxn>
              <a:cxn ang="0">
                <a:pos x="197" y="171"/>
              </a:cxn>
              <a:cxn ang="0">
                <a:pos x="152" y="165"/>
              </a:cxn>
              <a:cxn ang="0">
                <a:pos x="117" y="211"/>
              </a:cxn>
              <a:cxn ang="0">
                <a:pos x="132" y="228"/>
              </a:cxn>
              <a:cxn ang="0">
                <a:pos x="185" y="246"/>
              </a:cxn>
              <a:cxn ang="0">
                <a:pos x="210" y="335"/>
              </a:cxn>
              <a:cxn ang="0">
                <a:pos x="226" y="337"/>
              </a:cxn>
              <a:cxn ang="0">
                <a:pos x="265" y="290"/>
              </a:cxn>
              <a:cxn ang="0">
                <a:pos x="266" y="273"/>
              </a:cxn>
              <a:cxn ang="0">
                <a:pos x="281" y="243"/>
              </a:cxn>
              <a:cxn ang="0">
                <a:pos x="275" y="227"/>
              </a:cxn>
              <a:cxn ang="0">
                <a:pos x="268" y="170"/>
              </a:cxn>
              <a:cxn ang="0">
                <a:pos x="337" y="150"/>
              </a:cxn>
              <a:cxn ang="0">
                <a:pos x="357" y="160"/>
              </a:cxn>
              <a:cxn ang="0">
                <a:pos x="365" y="135"/>
              </a:cxn>
              <a:cxn ang="0">
                <a:pos x="388" y="131"/>
              </a:cxn>
              <a:cxn ang="0">
                <a:pos x="277" y="384"/>
              </a:cxn>
              <a:cxn ang="0">
                <a:pos x="225" y="143"/>
              </a:cxn>
              <a:cxn ang="0">
                <a:pos x="188" y="122"/>
              </a:cxn>
              <a:cxn ang="0">
                <a:pos x="180" y="125"/>
              </a:cxn>
              <a:cxn ang="0">
                <a:pos x="155" y="141"/>
              </a:cxn>
              <a:cxn ang="0">
                <a:pos x="206" y="150"/>
              </a:cxn>
              <a:cxn ang="0">
                <a:pos x="216" y="151"/>
              </a:cxn>
            </a:cxnLst>
            <a:rect l="0" t="0" r="r" b="b"/>
            <a:pathLst>
              <a:path w="400" h="399">
                <a:moveTo>
                  <a:pt x="201" y="399"/>
                </a:moveTo>
                <a:cubicBezTo>
                  <a:pt x="131" y="399"/>
                  <a:pt x="70" y="363"/>
                  <a:pt x="35" y="312"/>
                </a:cubicBezTo>
                <a:cubicBezTo>
                  <a:pt x="13" y="280"/>
                  <a:pt x="0" y="241"/>
                  <a:pt x="0" y="200"/>
                </a:cubicBezTo>
                <a:cubicBezTo>
                  <a:pt x="0" y="151"/>
                  <a:pt x="19" y="99"/>
                  <a:pt x="62" y="56"/>
                </a:cubicBezTo>
                <a:cubicBezTo>
                  <a:pt x="96" y="22"/>
                  <a:pt x="145" y="0"/>
                  <a:pt x="199" y="0"/>
                </a:cubicBezTo>
                <a:cubicBezTo>
                  <a:pt x="212" y="0"/>
                  <a:pt x="225" y="1"/>
                  <a:pt x="238" y="4"/>
                </a:cubicBezTo>
                <a:cubicBezTo>
                  <a:pt x="297" y="15"/>
                  <a:pt x="343" y="50"/>
                  <a:pt x="372" y="96"/>
                </a:cubicBezTo>
                <a:cubicBezTo>
                  <a:pt x="376" y="102"/>
                  <a:pt x="374" y="109"/>
                  <a:pt x="368" y="113"/>
                </a:cubicBezTo>
                <a:cubicBezTo>
                  <a:pt x="363" y="116"/>
                  <a:pt x="356" y="114"/>
                  <a:pt x="352" y="109"/>
                </a:cubicBezTo>
                <a:cubicBezTo>
                  <a:pt x="326" y="67"/>
                  <a:pt x="286" y="37"/>
                  <a:pt x="234" y="27"/>
                </a:cubicBezTo>
                <a:cubicBezTo>
                  <a:pt x="222" y="25"/>
                  <a:pt x="210" y="24"/>
                  <a:pt x="199" y="24"/>
                </a:cubicBezTo>
                <a:cubicBezTo>
                  <a:pt x="151" y="24"/>
                  <a:pt x="108" y="43"/>
                  <a:pt x="78" y="73"/>
                </a:cubicBezTo>
                <a:cubicBezTo>
                  <a:pt x="39" y="112"/>
                  <a:pt x="24" y="157"/>
                  <a:pt x="24" y="200"/>
                </a:cubicBezTo>
                <a:cubicBezTo>
                  <a:pt x="24" y="236"/>
                  <a:pt x="35" y="270"/>
                  <a:pt x="54" y="298"/>
                </a:cubicBezTo>
                <a:cubicBezTo>
                  <a:pt x="85" y="343"/>
                  <a:pt x="140" y="376"/>
                  <a:pt x="201" y="376"/>
                </a:cubicBezTo>
                <a:cubicBezTo>
                  <a:pt x="223" y="376"/>
                  <a:pt x="245" y="372"/>
                  <a:pt x="268" y="362"/>
                </a:cubicBezTo>
                <a:cubicBezTo>
                  <a:pt x="302" y="349"/>
                  <a:pt x="329" y="326"/>
                  <a:pt x="347" y="297"/>
                </a:cubicBezTo>
                <a:cubicBezTo>
                  <a:pt x="366" y="268"/>
                  <a:pt x="376" y="234"/>
                  <a:pt x="376" y="199"/>
                </a:cubicBezTo>
                <a:cubicBezTo>
                  <a:pt x="376" y="191"/>
                  <a:pt x="376" y="184"/>
                  <a:pt x="375" y="176"/>
                </a:cubicBezTo>
                <a:cubicBezTo>
                  <a:pt x="373" y="178"/>
                  <a:pt x="371" y="179"/>
                  <a:pt x="369" y="181"/>
                </a:cubicBezTo>
                <a:cubicBezTo>
                  <a:pt x="366" y="183"/>
                  <a:pt x="362" y="184"/>
                  <a:pt x="357" y="184"/>
                </a:cubicBezTo>
                <a:cubicBezTo>
                  <a:pt x="353" y="184"/>
                  <a:pt x="349" y="183"/>
                  <a:pt x="345" y="181"/>
                </a:cubicBezTo>
                <a:cubicBezTo>
                  <a:pt x="344" y="181"/>
                  <a:pt x="344" y="181"/>
                  <a:pt x="344" y="181"/>
                </a:cubicBezTo>
                <a:cubicBezTo>
                  <a:pt x="336" y="176"/>
                  <a:pt x="336" y="176"/>
                  <a:pt x="336" y="176"/>
                </a:cubicBezTo>
                <a:cubicBezTo>
                  <a:pt x="319" y="206"/>
                  <a:pt x="319" y="206"/>
                  <a:pt x="319" y="206"/>
                </a:cubicBezTo>
                <a:cubicBezTo>
                  <a:pt x="316" y="211"/>
                  <a:pt x="310" y="213"/>
                  <a:pt x="304" y="211"/>
                </a:cubicBezTo>
                <a:cubicBezTo>
                  <a:pt x="290" y="205"/>
                  <a:pt x="290" y="205"/>
                  <a:pt x="290" y="205"/>
                </a:cubicBezTo>
                <a:cubicBezTo>
                  <a:pt x="294" y="211"/>
                  <a:pt x="294" y="211"/>
                  <a:pt x="294" y="211"/>
                </a:cubicBezTo>
                <a:cubicBezTo>
                  <a:pt x="309" y="215"/>
                  <a:pt x="309" y="215"/>
                  <a:pt x="309" y="215"/>
                </a:cubicBezTo>
                <a:cubicBezTo>
                  <a:pt x="313" y="216"/>
                  <a:pt x="316" y="218"/>
                  <a:pt x="317" y="222"/>
                </a:cubicBezTo>
                <a:cubicBezTo>
                  <a:pt x="318" y="225"/>
                  <a:pt x="318" y="230"/>
                  <a:pt x="316" y="233"/>
                </a:cubicBezTo>
                <a:cubicBezTo>
                  <a:pt x="316" y="233"/>
                  <a:pt x="315" y="235"/>
                  <a:pt x="313" y="238"/>
                </a:cubicBezTo>
                <a:cubicBezTo>
                  <a:pt x="311" y="241"/>
                  <a:pt x="308" y="245"/>
                  <a:pt x="305" y="250"/>
                </a:cubicBezTo>
                <a:cubicBezTo>
                  <a:pt x="299" y="259"/>
                  <a:pt x="292" y="271"/>
                  <a:pt x="289" y="277"/>
                </a:cubicBezTo>
                <a:cubicBezTo>
                  <a:pt x="289" y="278"/>
                  <a:pt x="288" y="279"/>
                  <a:pt x="288" y="280"/>
                </a:cubicBezTo>
                <a:cubicBezTo>
                  <a:pt x="288" y="281"/>
                  <a:pt x="289" y="285"/>
                  <a:pt x="289" y="290"/>
                </a:cubicBezTo>
                <a:cubicBezTo>
                  <a:pt x="289" y="298"/>
                  <a:pt x="287" y="310"/>
                  <a:pt x="277" y="321"/>
                </a:cubicBezTo>
                <a:cubicBezTo>
                  <a:pt x="274" y="325"/>
                  <a:pt x="268" y="332"/>
                  <a:pt x="261" y="339"/>
                </a:cubicBezTo>
                <a:cubicBezTo>
                  <a:pt x="254" y="346"/>
                  <a:pt x="246" y="353"/>
                  <a:pt x="237" y="358"/>
                </a:cubicBezTo>
                <a:cubicBezTo>
                  <a:pt x="231" y="361"/>
                  <a:pt x="225" y="364"/>
                  <a:pt x="217" y="364"/>
                </a:cubicBezTo>
                <a:cubicBezTo>
                  <a:pt x="212" y="364"/>
                  <a:pt x="206" y="363"/>
                  <a:pt x="201" y="360"/>
                </a:cubicBezTo>
                <a:cubicBezTo>
                  <a:pt x="197" y="356"/>
                  <a:pt x="193" y="352"/>
                  <a:pt x="190" y="347"/>
                </a:cubicBezTo>
                <a:cubicBezTo>
                  <a:pt x="182" y="334"/>
                  <a:pt x="179" y="319"/>
                  <a:pt x="176" y="305"/>
                </a:cubicBezTo>
                <a:cubicBezTo>
                  <a:pt x="174" y="291"/>
                  <a:pt x="172" y="278"/>
                  <a:pt x="170" y="269"/>
                </a:cubicBezTo>
                <a:cubicBezTo>
                  <a:pt x="168" y="262"/>
                  <a:pt x="166" y="258"/>
                  <a:pt x="164" y="257"/>
                </a:cubicBezTo>
                <a:cubicBezTo>
                  <a:pt x="163" y="256"/>
                  <a:pt x="162" y="255"/>
                  <a:pt x="161" y="255"/>
                </a:cubicBezTo>
                <a:cubicBezTo>
                  <a:pt x="155" y="254"/>
                  <a:pt x="148" y="253"/>
                  <a:pt x="141" y="253"/>
                </a:cubicBezTo>
                <a:cubicBezTo>
                  <a:pt x="133" y="252"/>
                  <a:pt x="125" y="252"/>
                  <a:pt x="118" y="249"/>
                </a:cubicBezTo>
                <a:cubicBezTo>
                  <a:pt x="112" y="247"/>
                  <a:pt x="107" y="244"/>
                  <a:pt x="103" y="239"/>
                </a:cubicBezTo>
                <a:cubicBezTo>
                  <a:pt x="97" y="233"/>
                  <a:pt x="94" y="224"/>
                  <a:pt x="93" y="214"/>
                </a:cubicBezTo>
                <a:cubicBezTo>
                  <a:pt x="93" y="211"/>
                  <a:pt x="93" y="209"/>
                  <a:pt x="93" y="207"/>
                </a:cubicBezTo>
                <a:cubicBezTo>
                  <a:pt x="93" y="188"/>
                  <a:pt x="100" y="171"/>
                  <a:pt x="111" y="160"/>
                </a:cubicBezTo>
                <a:cubicBezTo>
                  <a:pt x="120" y="150"/>
                  <a:pt x="132" y="144"/>
                  <a:pt x="144" y="142"/>
                </a:cubicBezTo>
                <a:cubicBezTo>
                  <a:pt x="141" y="142"/>
                  <a:pt x="139" y="141"/>
                  <a:pt x="137" y="140"/>
                </a:cubicBezTo>
                <a:cubicBezTo>
                  <a:pt x="130" y="136"/>
                  <a:pt x="125" y="131"/>
                  <a:pt x="121" y="126"/>
                </a:cubicBezTo>
                <a:cubicBezTo>
                  <a:pt x="117" y="120"/>
                  <a:pt x="115" y="114"/>
                  <a:pt x="115" y="107"/>
                </a:cubicBezTo>
                <a:cubicBezTo>
                  <a:pt x="115" y="104"/>
                  <a:pt x="115" y="101"/>
                  <a:pt x="117" y="97"/>
                </a:cubicBezTo>
                <a:cubicBezTo>
                  <a:pt x="119" y="94"/>
                  <a:pt x="122" y="91"/>
                  <a:pt x="125" y="89"/>
                </a:cubicBezTo>
                <a:cubicBezTo>
                  <a:pt x="128" y="88"/>
                  <a:pt x="131" y="87"/>
                  <a:pt x="135" y="85"/>
                </a:cubicBezTo>
                <a:cubicBezTo>
                  <a:pt x="138" y="84"/>
                  <a:pt x="141" y="82"/>
                  <a:pt x="144" y="80"/>
                </a:cubicBezTo>
                <a:cubicBezTo>
                  <a:pt x="144" y="80"/>
                  <a:pt x="144" y="80"/>
                  <a:pt x="145" y="79"/>
                </a:cubicBezTo>
                <a:cubicBezTo>
                  <a:pt x="145" y="78"/>
                  <a:pt x="145" y="76"/>
                  <a:pt x="145" y="74"/>
                </a:cubicBezTo>
                <a:cubicBezTo>
                  <a:pt x="145" y="68"/>
                  <a:pt x="145" y="61"/>
                  <a:pt x="148" y="55"/>
                </a:cubicBezTo>
                <a:cubicBezTo>
                  <a:pt x="151" y="49"/>
                  <a:pt x="156" y="43"/>
                  <a:pt x="164" y="39"/>
                </a:cubicBezTo>
                <a:cubicBezTo>
                  <a:pt x="168" y="37"/>
                  <a:pt x="174" y="36"/>
                  <a:pt x="180" y="36"/>
                </a:cubicBezTo>
                <a:cubicBezTo>
                  <a:pt x="180" y="36"/>
                  <a:pt x="180" y="36"/>
                  <a:pt x="181" y="36"/>
                </a:cubicBezTo>
                <a:cubicBezTo>
                  <a:pt x="189" y="36"/>
                  <a:pt x="196" y="38"/>
                  <a:pt x="203" y="40"/>
                </a:cubicBezTo>
                <a:cubicBezTo>
                  <a:pt x="210" y="41"/>
                  <a:pt x="216" y="43"/>
                  <a:pt x="221" y="44"/>
                </a:cubicBezTo>
                <a:cubicBezTo>
                  <a:pt x="224" y="45"/>
                  <a:pt x="227" y="46"/>
                  <a:pt x="228" y="46"/>
                </a:cubicBezTo>
                <a:cubicBezTo>
                  <a:pt x="229" y="46"/>
                  <a:pt x="229" y="46"/>
                  <a:pt x="230" y="46"/>
                </a:cubicBezTo>
                <a:cubicBezTo>
                  <a:pt x="232" y="42"/>
                  <a:pt x="232" y="42"/>
                  <a:pt x="232" y="42"/>
                </a:cubicBezTo>
                <a:cubicBezTo>
                  <a:pt x="235" y="37"/>
                  <a:pt x="243" y="35"/>
                  <a:pt x="248" y="39"/>
                </a:cubicBezTo>
                <a:cubicBezTo>
                  <a:pt x="253" y="42"/>
                  <a:pt x="255" y="50"/>
                  <a:pt x="251" y="55"/>
                </a:cubicBezTo>
                <a:cubicBezTo>
                  <a:pt x="249" y="59"/>
                  <a:pt x="249" y="59"/>
                  <a:pt x="249" y="59"/>
                </a:cubicBezTo>
                <a:cubicBezTo>
                  <a:pt x="249" y="59"/>
                  <a:pt x="249" y="59"/>
                  <a:pt x="249" y="59"/>
                </a:cubicBezTo>
                <a:cubicBezTo>
                  <a:pt x="246" y="63"/>
                  <a:pt x="243" y="66"/>
                  <a:pt x="239" y="67"/>
                </a:cubicBezTo>
                <a:cubicBezTo>
                  <a:pt x="235" y="69"/>
                  <a:pt x="232" y="69"/>
                  <a:pt x="228" y="69"/>
                </a:cubicBezTo>
                <a:cubicBezTo>
                  <a:pt x="224" y="69"/>
                  <a:pt x="219" y="68"/>
                  <a:pt x="215" y="67"/>
                </a:cubicBezTo>
                <a:cubicBezTo>
                  <a:pt x="211" y="66"/>
                  <a:pt x="207" y="65"/>
                  <a:pt x="203" y="64"/>
                </a:cubicBezTo>
                <a:cubicBezTo>
                  <a:pt x="195" y="62"/>
                  <a:pt x="187" y="60"/>
                  <a:pt x="181" y="60"/>
                </a:cubicBezTo>
                <a:cubicBezTo>
                  <a:pt x="181" y="60"/>
                  <a:pt x="181" y="60"/>
                  <a:pt x="180" y="60"/>
                </a:cubicBezTo>
                <a:cubicBezTo>
                  <a:pt x="175" y="60"/>
                  <a:pt x="172" y="61"/>
                  <a:pt x="171" y="62"/>
                </a:cubicBezTo>
                <a:cubicBezTo>
                  <a:pt x="170" y="63"/>
                  <a:pt x="170" y="64"/>
                  <a:pt x="169" y="67"/>
                </a:cubicBezTo>
                <a:cubicBezTo>
                  <a:pt x="168" y="69"/>
                  <a:pt x="168" y="71"/>
                  <a:pt x="168" y="74"/>
                </a:cubicBezTo>
                <a:cubicBezTo>
                  <a:pt x="168" y="76"/>
                  <a:pt x="168" y="78"/>
                  <a:pt x="169" y="81"/>
                </a:cubicBezTo>
                <a:cubicBezTo>
                  <a:pt x="169" y="81"/>
                  <a:pt x="169" y="81"/>
                  <a:pt x="169" y="81"/>
                </a:cubicBezTo>
                <a:cubicBezTo>
                  <a:pt x="169" y="81"/>
                  <a:pt x="169" y="82"/>
                  <a:pt x="169" y="82"/>
                </a:cubicBezTo>
                <a:cubicBezTo>
                  <a:pt x="169" y="86"/>
                  <a:pt x="167" y="89"/>
                  <a:pt x="166" y="91"/>
                </a:cubicBezTo>
                <a:cubicBezTo>
                  <a:pt x="165" y="93"/>
                  <a:pt x="163" y="94"/>
                  <a:pt x="162" y="96"/>
                </a:cubicBezTo>
                <a:cubicBezTo>
                  <a:pt x="159" y="99"/>
                  <a:pt x="156" y="101"/>
                  <a:pt x="152" y="103"/>
                </a:cubicBezTo>
                <a:cubicBezTo>
                  <a:pt x="148" y="105"/>
                  <a:pt x="143" y="107"/>
                  <a:pt x="139" y="109"/>
                </a:cubicBezTo>
                <a:cubicBezTo>
                  <a:pt x="139" y="110"/>
                  <a:pt x="140" y="112"/>
                  <a:pt x="141" y="113"/>
                </a:cubicBezTo>
                <a:cubicBezTo>
                  <a:pt x="142" y="115"/>
                  <a:pt x="145" y="118"/>
                  <a:pt x="147" y="119"/>
                </a:cubicBezTo>
                <a:cubicBezTo>
                  <a:pt x="147" y="119"/>
                  <a:pt x="147" y="119"/>
                  <a:pt x="148" y="119"/>
                </a:cubicBezTo>
                <a:cubicBezTo>
                  <a:pt x="148" y="119"/>
                  <a:pt x="151" y="118"/>
                  <a:pt x="154" y="116"/>
                </a:cubicBezTo>
                <a:cubicBezTo>
                  <a:pt x="157" y="114"/>
                  <a:pt x="161" y="111"/>
                  <a:pt x="164" y="109"/>
                </a:cubicBezTo>
                <a:cubicBezTo>
                  <a:pt x="166" y="107"/>
                  <a:pt x="167" y="105"/>
                  <a:pt x="170" y="104"/>
                </a:cubicBezTo>
                <a:cubicBezTo>
                  <a:pt x="173" y="101"/>
                  <a:pt x="176" y="100"/>
                  <a:pt x="179" y="100"/>
                </a:cubicBezTo>
                <a:cubicBezTo>
                  <a:pt x="182" y="99"/>
                  <a:pt x="185" y="99"/>
                  <a:pt x="188" y="99"/>
                </a:cubicBezTo>
                <a:cubicBezTo>
                  <a:pt x="196" y="99"/>
                  <a:pt x="204" y="100"/>
                  <a:pt x="211" y="102"/>
                </a:cubicBezTo>
                <a:cubicBezTo>
                  <a:pt x="215" y="103"/>
                  <a:pt x="218" y="105"/>
                  <a:pt x="220" y="107"/>
                </a:cubicBezTo>
                <a:cubicBezTo>
                  <a:pt x="223" y="109"/>
                  <a:pt x="226" y="111"/>
                  <a:pt x="229" y="113"/>
                </a:cubicBezTo>
                <a:cubicBezTo>
                  <a:pt x="235" y="118"/>
                  <a:pt x="241" y="124"/>
                  <a:pt x="245" y="130"/>
                </a:cubicBezTo>
                <a:cubicBezTo>
                  <a:pt x="248" y="134"/>
                  <a:pt x="251" y="138"/>
                  <a:pt x="253" y="143"/>
                </a:cubicBezTo>
                <a:cubicBezTo>
                  <a:pt x="254" y="146"/>
                  <a:pt x="255" y="148"/>
                  <a:pt x="255" y="152"/>
                </a:cubicBezTo>
                <a:cubicBezTo>
                  <a:pt x="255" y="153"/>
                  <a:pt x="255" y="154"/>
                  <a:pt x="254" y="156"/>
                </a:cubicBezTo>
                <a:cubicBezTo>
                  <a:pt x="253" y="161"/>
                  <a:pt x="250" y="165"/>
                  <a:pt x="247" y="167"/>
                </a:cubicBezTo>
                <a:cubicBezTo>
                  <a:pt x="243" y="169"/>
                  <a:pt x="240" y="171"/>
                  <a:pt x="237" y="172"/>
                </a:cubicBezTo>
                <a:cubicBezTo>
                  <a:pt x="230" y="174"/>
                  <a:pt x="223" y="174"/>
                  <a:pt x="216" y="174"/>
                </a:cubicBezTo>
                <a:cubicBezTo>
                  <a:pt x="213" y="174"/>
                  <a:pt x="209" y="174"/>
                  <a:pt x="206" y="174"/>
                </a:cubicBezTo>
                <a:cubicBezTo>
                  <a:pt x="203" y="173"/>
                  <a:pt x="200" y="173"/>
                  <a:pt x="197" y="171"/>
                </a:cubicBezTo>
                <a:cubicBezTo>
                  <a:pt x="194" y="170"/>
                  <a:pt x="188" y="168"/>
                  <a:pt x="181" y="167"/>
                </a:cubicBezTo>
                <a:cubicBezTo>
                  <a:pt x="174" y="166"/>
                  <a:pt x="165" y="165"/>
                  <a:pt x="154" y="165"/>
                </a:cubicBezTo>
                <a:cubicBezTo>
                  <a:pt x="154" y="165"/>
                  <a:pt x="153" y="165"/>
                  <a:pt x="152" y="165"/>
                </a:cubicBezTo>
                <a:cubicBezTo>
                  <a:pt x="144" y="165"/>
                  <a:pt x="135" y="169"/>
                  <a:pt x="128" y="176"/>
                </a:cubicBezTo>
                <a:cubicBezTo>
                  <a:pt x="121" y="184"/>
                  <a:pt x="116" y="194"/>
                  <a:pt x="116" y="207"/>
                </a:cubicBezTo>
                <a:cubicBezTo>
                  <a:pt x="116" y="208"/>
                  <a:pt x="116" y="210"/>
                  <a:pt x="117" y="211"/>
                </a:cubicBezTo>
                <a:cubicBezTo>
                  <a:pt x="117" y="215"/>
                  <a:pt x="118" y="218"/>
                  <a:pt x="119" y="220"/>
                </a:cubicBezTo>
                <a:cubicBezTo>
                  <a:pt x="119" y="222"/>
                  <a:pt x="120" y="223"/>
                  <a:pt x="121" y="224"/>
                </a:cubicBezTo>
                <a:cubicBezTo>
                  <a:pt x="123" y="226"/>
                  <a:pt x="126" y="227"/>
                  <a:pt x="132" y="228"/>
                </a:cubicBezTo>
                <a:cubicBezTo>
                  <a:pt x="135" y="229"/>
                  <a:pt x="140" y="229"/>
                  <a:pt x="145" y="229"/>
                </a:cubicBezTo>
                <a:cubicBezTo>
                  <a:pt x="151" y="230"/>
                  <a:pt x="159" y="230"/>
                  <a:pt x="166" y="232"/>
                </a:cubicBezTo>
                <a:cubicBezTo>
                  <a:pt x="175" y="234"/>
                  <a:pt x="181" y="239"/>
                  <a:pt x="185" y="246"/>
                </a:cubicBezTo>
                <a:cubicBezTo>
                  <a:pt x="189" y="252"/>
                  <a:pt x="192" y="259"/>
                  <a:pt x="193" y="266"/>
                </a:cubicBezTo>
                <a:cubicBezTo>
                  <a:pt x="197" y="280"/>
                  <a:pt x="198" y="296"/>
                  <a:pt x="201" y="310"/>
                </a:cubicBezTo>
                <a:cubicBezTo>
                  <a:pt x="203" y="320"/>
                  <a:pt x="206" y="329"/>
                  <a:pt x="210" y="335"/>
                </a:cubicBezTo>
                <a:cubicBezTo>
                  <a:pt x="212" y="338"/>
                  <a:pt x="213" y="339"/>
                  <a:pt x="214" y="340"/>
                </a:cubicBezTo>
                <a:cubicBezTo>
                  <a:pt x="215" y="340"/>
                  <a:pt x="216" y="340"/>
                  <a:pt x="217" y="340"/>
                </a:cubicBezTo>
                <a:cubicBezTo>
                  <a:pt x="219" y="340"/>
                  <a:pt x="222" y="340"/>
                  <a:pt x="226" y="337"/>
                </a:cubicBezTo>
                <a:cubicBezTo>
                  <a:pt x="230" y="335"/>
                  <a:pt x="234" y="332"/>
                  <a:pt x="238" y="328"/>
                </a:cubicBezTo>
                <a:cubicBezTo>
                  <a:pt x="247" y="321"/>
                  <a:pt x="255" y="311"/>
                  <a:pt x="259" y="306"/>
                </a:cubicBezTo>
                <a:cubicBezTo>
                  <a:pt x="265" y="299"/>
                  <a:pt x="265" y="295"/>
                  <a:pt x="265" y="290"/>
                </a:cubicBezTo>
                <a:cubicBezTo>
                  <a:pt x="265" y="287"/>
                  <a:pt x="265" y="283"/>
                  <a:pt x="265" y="279"/>
                </a:cubicBezTo>
                <a:cubicBezTo>
                  <a:pt x="265" y="278"/>
                  <a:pt x="265" y="278"/>
                  <a:pt x="265" y="278"/>
                </a:cubicBezTo>
                <a:cubicBezTo>
                  <a:pt x="265" y="275"/>
                  <a:pt x="265" y="274"/>
                  <a:pt x="266" y="273"/>
                </a:cubicBezTo>
                <a:cubicBezTo>
                  <a:pt x="266" y="272"/>
                  <a:pt x="267" y="270"/>
                  <a:pt x="267" y="269"/>
                </a:cubicBezTo>
                <a:cubicBezTo>
                  <a:pt x="268" y="267"/>
                  <a:pt x="269" y="264"/>
                  <a:pt x="271" y="262"/>
                </a:cubicBezTo>
                <a:cubicBezTo>
                  <a:pt x="274" y="256"/>
                  <a:pt x="278" y="250"/>
                  <a:pt x="281" y="243"/>
                </a:cubicBezTo>
                <a:cubicBezTo>
                  <a:pt x="283" y="240"/>
                  <a:pt x="285" y="237"/>
                  <a:pt x="287" y="234"/>
                </a:cubicBezTo>
                <a:cubicBezTo>
                  <a:pt x="283" y="233"/>
                  <a:pt x="283" y="233"/>
                  <a:pt x="283" y="233"/>
                </a:cubicBezTo>
                <a:cubicBezTo>
                  <a:pt x="280" y="232"/>
                  <a:pt x="277" y="230"/>
                  <a:pt x="275" y="227"/>
                </a:cubicBezTo>
                <a:cubicBezTo>
                  <a:pt x="253" y="186"/>
                  <a:pt x="253" y="186"/>
                  <a:pt x="253" y="186"/>
                </a:cubicBezTo>
                <a:cubicBezTo>
                  <a:pt x="250" y="182"/>
                  <a:pt x="251" y="176"/>
                  <a:pt x="254" y="172"/>
                </a:cubicBezTo>
                <a:cubicBezTo>
                  <a:pt x="258" y="169"/>
                  <a:pt x="263" y="168"/>
                  <a:pt x="268" y="170"/>
                </a:cubicBezTo>
                <a:cubicBezTo>
                  <a:pt x="304" y="185"/>
                  <a:pt x="304" y="185"/>
                  <a:pt x="304" y="185"/>
                </a:cubicBezTo>
                <a:cubicBezTo>
                  <a:pt x="321" y="154"/>
                  <a:pt x="321" y="154"/>
                  <a:pt x="321" y="154"/>
                </a:cubicBezTo>
                <a:cubicBezTo>
                  <a:pt x="325" y="148"/>
                  <a:pt x="332" y="147"/>
                  <a:pt x="337" y="150"/>
                </a:cubicBezTo>
                <a:cubicBezTo>
                  <a:pt x="356" y="160"/>
                  <a:pt x="356" y="160"/>
                  <a:pt x="356" y="160"/>
                </a:cubicBezTo>
                <a:cubicBezTo>
                  <a:pt x="356" y="160"/>
                  <a:pt x="357" y="160"/>
                  <a:pt x="357" y="160"/>
                </a:cubicBezTo>
                <a:cubicBezTo>
                  <a:pt x="357" y="160"/>
                  <a:pt x="357" y="160"/>
                  <a:pt x="357" y="160"/>
                </a:cubicBezTo>
                <a:cubicBezTo>
                  <a:pt x="357" y="160"/>
                  <a:pt x="358" y="160"/>
                  <a:pt x="358" y="160"/>
                </a:cubicBezTo>
                <a:cubicBezTo>
                  <a:pt x="359" y="158"/>
                  <a:pt x="360" y="155"/>
                  <a:pt x="362" y="152"/>
                </a:cubicBezTo>
                <a:cubicBezTo>
                  <a:pt x="364" y="145"/>
                  <a:pt x="365" y="136"/>
                  <a:pt x="365" y="135"/>
                </a:cubicBezTo>
                <a:cubicBezTo>
                  <a:pt x="365" y="135"/>
                  <a:pt x="365" y="135"/>
                  <a:pt x="365" y="135"/>
                </a:cubicBezTo>
                <a:cubicBezTo>
                  <a:pt x="365" y="129"/>
                  <a:pt x="369" y="125"/>
                  <a:pt x="375" y="124"/>
                </a:cubicBezTo>
                <a:cubicBezTo>
                  <a:pt x="380" y="123"/>
                  <a:pt x="386" y="126"/>
                  <a:pt x="388" y="131"/>
                </a:cubicBezTo>
                <a:cubicBezTo>
                  <a:pt x="396" y="153"/>
                  <a:pt x="400" y="176"/>
                  <a:pt x="400" y="199"/>
                </a:cubicBezTo>
                <a:cubicBezTo>
                  <a:pt x="400" y="238"/>
                  <a:pt x="388" y="277"/>
                  <a:pt x="367" y="309"/>
                </a:cubicBezTo>
                <a:cubicBezTo>
                  <a:pt x="346" y="342"/>
                  <a:pt x="316" y="369"/>
                  <a:pt x="277" y="384"/>
                </a:cubicBezTo>
                <a:cubicBezTo>
                  <a:pt x="251" y="395"/>
                  <a:pt x="226" y="399"/>
                  <a:pt x="201" y="399"/>
                </a:cubicBezTo>
                <a:close/>
                <a:moveTo>
                  <a:pt x="230" y="149"/>
                </a:moveTo>
                <a:cubicBezTo>
                  <a:pt x="229" y="148"/>
                  <a:pt x="227" y="145"/>
                  <a:pt x="225" y="143"/>
                </a:cubicBezTo>
                <a:cubicBezTo>
                  <a:pt x="221" y="138"/>
                  <a:pt x="216" y="132"/>
                  <a:pt x="211" y="129"/>
                </a:cubicBezTo>
                <a:cubicBezTo>
                  <a:pt x="208" y="126"/>
                  <a:pt x="205" y="125"/>
                  <a:pt x="205" y="125"/>
                </a:cubicBezTo>
                <a:cubicBezTo>
                  <a:pt x="199" y="123"/>
                  <a:pt x="193" y="122"/>
                  <a:pt x="188" y="122"/>
                </a:cubicBezTo>
                <a:cubicBezTo>
                  <a:pt x="187" y="122"/>
                  <a:pt x="185" y="122"/>
                  <a:pt x="185" y="123"/>
                </a:cubicBezTo>
                <a:cubicBezTo>
                  <a:pt x="184" y="123"/>
                  <a:pt x="183" y="123"/>
                  <a:pt x="183" y="123"/>
                </a:cubicBezTo>
                <a:cubicBezTo>
                  <a:pt x="183" y="123"/>
                  <a:pt x="182" y="124"/>
                  <a:pt x="180" y="125"/>
                </a:cubicBezTo>
                <a:cubicBezTo>
                  <a:pt x="179" y="126"/>
                  <a:pt x="177" y="128"/>
                  <a:pt x="175" y="129"/>
                </a:cubicBezTo>
                <a:cubicBezTo>
                  <a:pt x="171" y="133"/>
                  <a:pt x="167" y="136"/>
                  <a:pt x="161" y="139"/>
                </a:cubicBezTo>
                <a:cubicBezTo>
                  <a:pt x="159" y="140"/>
                  <a:pt x="157" y="141"/>
                  <a:pt x="155" y="141"/>
                </a:cubicBezTo>
                <a:cubicBezTo>
                  <a:pt x="167" y="141"/>
                  <a:pt x="177" y="142"/>
                  <a:pt x="185" y="144"/>
                </a:cubicBezTo>
                <a:cubicBezTo>
                  <a:pt x="194" y="146"/>
                  <a:pt x="201" y="148"/>
                  <a:pt x="206" y="150"/>
                </a:cubicBezTo>
                <a:cubicBezTo>
                  <a:pt x="206" y="150"/>
                  <a:pt x="206" y="150"/>
                  <a:pt x="206" y="150"/>
                </a:cubicBezTo>
                <a:cubicBezTo>
                  <a:pt x="207" y="150"/>
                  <a:pt x="207" y="150"/>
                  <a:pt x="207" y="150"/>
                </a:cubicBezTo>
                <a:cubicBezTo>
                  <a:pt x="208" y="150"/>
                  <a:pt x="208" y="150"/>
                  <a:pt x="209" y="151"/>
                </a:cubicBezTo>
                <a:cubicBezTo>
                  <a:pt x="211" y="151"/>
                  <a:pt x="214" y="151"/>
                  <a:pt x="216" y="151"/>
                </a:cubicBezTo>
                <a:cubicBezTo>
                  <a:pt x="221" y="151"/>
                  <a:pt x="226" y="150"/>
                  <a:pt x="230" y="149"/>
                </a:cubicBezTo>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4" name="Freeform 255"/>
          <p:cNvSpPr>
            <a:spLocks/>
          </p:cNvSpPr>
          <p:nvPr userDrawn="1"/>
        </p:nvSpPr>
        <p:spPr bwMode="auto">
          <a:xfrm>
            <a:off x="4380307" y="1105308"/>
            <a:ext cx="603250" cy="633413"/>
          </a:xfrm>
          <a:custGeom>
            <a:avLst/>
            <a:gdLst/>
            <a:ahLst/>
            <a:cxnLst>
              <a:cxn ang="0">
                <a:pos x="509" y="500"/>
              </a:cxn>
              <a:cxn ang="0">
                <a:pos x="495" y="96"/>
              </a:cxn>
              <a:cxn ang="0">
                <a:pos x="511" y="74"/>
              </a:cxn>
              <a:cxn ang="0">
                <a:pos x="511" y="29"/>
              </a:cxn>
              <a:cxn ang="0">
                <a:pos x="488" y="2"/>
              </a:cxn>
              <a:cxn ang="0">
                <a:pos x="17" y="0"/>
              </a:cxn>
              <a:cxn ang="0">
                <a:pos x="7" y="25"/>
              </a:cxn>
              <a:cxn ang="0">
                <a:pos x="7" y="25"/>
              </a:cxn>
              <a:cxn ang="0">
                <a:pos x="16" y="50"/>
              </a:cxn>
              <a:cxn ang="0">
                <a:pos x="8" y="75"/>
              </a:cxn>
              <a:cxn ang="0">
                <a:pos x="7" y="75"/>
              </a:cxn>
              <a:cxn ang="0">
                <a:pos x="15" y="102"/>
              </a:cxn>
              <a:cxn ang="0">
                <a:pos x="44" y="288"/>
              </a:cxn>
              <a:cxn ang="0">
                <a:pos x="48" y="453"/>
              </a:cxn>
              <a:cxn ang="0">
                <a:pos x="419" y="458"/>
              </a:cxn>
              <a:cxn ang="0">
                <a:pos x="433" y="439"/>
              </a:cxn>
              <a:cxn ang="0">
                <a:pos x="400" y="367"/>
              </a:cxn>
              <a:cxn ang="0">
                <a:pos x="125" y="335"/>
              </a:cxn>
              <a:cxn ang="0">
                <a:pos x="431" y="329"/>
              </a:cxn>
              <a:cxn ang="0">
                <a:pos x="413" y="257"/>
              </a:cxn>
              <a:cxn ang="0">
                <a:pos x="134" y="247"/>
              </a:cxn>
              <a:cxn ang="0">
                <a:pos x="419" y="218"/>
              </a:cxn>
              <a:cxn ang="0">
                <a:pos x="433" y="200"/>
              </a:cxn>
              <a:cxn ang="0">
                <a:pos x="403" y="131"/>
              </a:cxn>
              <a:cxn ang="0">
                <a:pos x="124" y="102"/>
              </a:cxn>
              <a:cxn ang="0">
                <a:pos x="443" y="88"/>
              </a:cxn>
              <a:cxn ang="0">
                <a:pos x="105" y="73"/>
              </a:cxn>
              <a:cxn ang="0">
                <a:pos x="91" y="91"/>
              </a:cxn>
              <a:cxn ang="0">
                <a:pos x="121" y="160"/>
              </a:cxn>
              <a:cxn ang="0">
                <a:pos x="400" y="189"/>
              </a:cxn>
              <a:cxn ang="0">
                <a:pos x="95" y="195"/>
              </a:cxn>
              <a:cxn ang="0">
                <a:pos x="109" y="266"/>
              </a:cxn>
              <a:cxn ang="0">
                <a:pos x="389" y="276"/>
              </a:cxn>
              <a:cxn ang="0">
                <a:pos x="106" y="306"/>
              </a:cxn>
              <a:cxn ang="0">
                <a:pos x="92" y="325"/>
              </a:cxn>
              <a:cxn ang="0">
                <a:pos x="123" y="396"/>
              </a:cxn>
              <a:cxn ang="0">
                <a:pos x="400" y="428"/>
              </a:cxn>
              <a:cxn ang="0">
                <a:pos x="73" y="288"/>
              </a:cxn>
              <a:cxn ang="0">
                <a:pos x="69" y="77"/>
              </a:cxn>
              <a:cxn ang="0">
                <a:pos x="42" y="73"/>
              </a:cxn>
              <a:cxn ang="0">
                <a:pos x="42" y="29"/>
              </a:cxn>
              <a:cxn ang="0">
                <a:pos x="480" y="34"/>
              </a:cxn>
              <a:cxn ang="0">
                <a:pos x="486" y="51"/>
              </a:cxn>
              <a:cxn ang="0">
                <a:pos x="478" y="72"/>
              </a:cxn>
              <a:cxn ang="0">
                <a:pos x="476" y="74"/>
              </a:cxn>
              <a:cxn ang="0">
                <a:pos x="466" y="495"/>
              </a:cxn>
              <a:cxn ang="0">
                <a:pos x="466" y="513"/>
              </a:cxn>
              <a:cxn ang="0">
                <a:pos x="434" y="500"/>
              </a:cxn>
              <a:cxn ang="0">
                <a:pos x="469" y="555"/>
              </a:cxn>
              <a:cxn ang="0">
                <a:pos x="471" y="557"/>
              </a:cxn>
              <a:cxn ang="0">
                <a:pos x="491" y="557"/>
              </a:cxn>
              <a:cxn ang="0">
                <a:pos x="493" y="555"/>
              </a:cxn>
              <a:cxn ang="0">
                <a:pos x="529" y="500"/>
              </a:cxn>
            </a:cxnLst>
            <a:rect l="0" t="0" r="r" b="b"/>
            <a:pathLst>
              <a:path w="534" h="561">
                <a:moveTo>
                  <a:pt x="529" y="500"/>
                </a:moveTo>
                <a:cubicBezTo>
                  <a:pt x="523" y="494"/>
                  <a:pt x="514" y="494"/>
                  <a:pt x="509" y="500"/>
                </a:cubicBezTo>
                <a:cubicBezTo>
                  <a:pt x="495" y="514"/>
                  <a:pt x="495" y="514"/>
                  <a:pt x="495" y="514"/>
                </a:cubicBezTo>
                <a:cubicBezTo>
                  <a:pt x="495" y="96"/>
                  <a:pt x="495" y="96"/>
                  <a:pt x="495" y="96"/>
                </a:cubicBezTo>
                <a:cubicBezTo>
                  <a:pt x="497" y="94"/>
                  <a:pt x="499" y="92"/>
                  <a:pt x="502" y="90"/>
                </a:cubicBezTo>
                <a:cubicBezTo>
                  <a:pt x="505" y="86"/>
                  <a:pt x="509" y="81"/>
                  <a:pt x="511" y="74"/>
                </a:cubicBezTo>
                <a:cubicBezTo>
                  <a:pt x="514" y="68"/>
                  <a:pt x="515" y="60"/>
                  <a:pt x="515" y="51"/>
                </a:cubicBezTo>
                <a:cubicBezTo>
                  <a:pt x="515" y="42"/>
                  <a:pt x="514" y="35"/>
                  <a:pt x="511" y="29"/>
                </a:cubicBezTo>
                <a:cubicBezTo>
                  <a:pt x="507" y="20"/>
                  <a:pt x="501" y="13"/>
                  <a:pt x="497" y="9"/>
                </a:cubicBezTo>
                <a:cubicBezTo>
                  <a:pt x="492" y="4"/>
                  <a:pt x="489" y="2"/>
                  <a:pt x="488" y="2"/>
                </a:cubicBezTo>
                <a:cubicBezTo>
                  <a:pt x="486" y="0"/>
                  <a:pt x="483" y="0"/>
                  <a:pt x="480" y="0"/>
                </a:cubicBezTo>
                <a:cubicBezTo>
                  <a:pt x="17" y="0"/>
                  <a:pt x="17" y="0"/>
                  <a:pt x="17" y="0"/>
                </a:cubicBezTo>
                <a:cubicBezTo>
                  <a:pt x="11" y="0"/>
                  <a:pt x="5" y="3"/>
                  <a:pt x="3" y="9"/>
                </a:cubicBezTo>
                <a:cubicBezTo>
                  <a:pt x="1" y="15"/>
                  <a:pt x="3" y="21"/>
                  <a:pt x="7" y="25"/>
                </a:cubicBezTo>
                <a:cubicBezTo>
                  <a:pt x="7" y="25"/>
                  <a:pt x="7" y="25"/>
                  <a:pt x="7" y="25"/>
                </a:cubicBezTo>
                <a:cubicBezTo>
                  <a:pt x="7" y="25"/>
                  <a:pt x="7" y="25"/>
                  <a:pt x="7" y="25"/>
                </a:cubicBezTo>
                <a:cubicBezTo>
                  <a:pt x="8" y="26"/>
                  <a:pt x="11" y="29"/>
                  <a:pt x="13" y="33"/>
                </a:cubicBezTo>
                <a:cubicBezTo>
                  <a:pt x="15" y="37"/>
                  <a:pt x="16" y="43"/>
                  <a:pt x="16" y="50"/>
                </a:cubicBezTo>
                <a:cubicBezTo>
                  <a:pt x="16" y="61"/>
                  <a:pt x="13" y="67"/>
                  <a:pt x="11" y="71"/>
                </a:cubicBezTo>
                <a:cubicBezTo>
                  <a:pt x="10" y="73"/>
                  <a:pt x="8" y="74"/>
                  <a:pt x="8" y="75"/>
                </a:cubicBezTo>
                <a:cubicBezTo>
                  <a:pt x="7" y="75"/>
                  <a:pt x="7" y="75"/>
                  <a:pt x="7" y="75"/>
                </a:cubicBezTo>
                <a:cubicBezTo>
                  <a:pt x="7" y="75"/>
                  <a:pt x="7" y="75"/>
                  <a:pt x="7" y="75"/>
                </a:cubicBezTo>
                <a:cubicBezTo>
                  <a:pt x="2" y="79"/>
                  <a:pt x="0" y="86"/>
                  <a:pt x="1" y="92"/>
                </a:cubicBezTo>
                <a:cubicBezTo>
                  <a:pt x="3" y="98"/>
                  <a:pt x="9" y="102"/>
                  <a:pt x="15" y="102"/>
                </a:cubicBezTo>
                <a:cubicBezTo>
                  <a:pt x="44" y="102"/>
                  <a:pt x="44" y="102"/>
                  <a:pt x="44" y="102"/>
                </a:cubicBezTo>
                <a:cubicBezTo>
                  <a:pt x="44" y="288"/>
                  <a:pt x="44" y="288"/>
                  <a:pt x="44" y="288"/>
                </a:cubicBezTo>
                <a:cubicBezTo>
                  <a:pt x="44" y="443"/>
                  <a:pt x="44" y="443"/>
                  <a:pt x="44" y="443"/>
                </a:cubicBezTo>
                <a:cubicBezTo>
                  <a:pt x="44" y="447"/>
                  <a:pt x="45" y="451"/>
                  <a:pt x="48" y="453"/>
                </a:cubicBezTo>
                <a:cubicBezTo>
                  <a:pt x="51" y="456"/>
                  <a:pt x="55" y="458"/>
                  <a:pt x="58" y="458"/>
                </a:cubicBezTo>
                <a:cubicBezTo>
                  <a:pt x="419" y="458"/>
                  <a:pt x="419" y="458"/>
                  <a:pt x="419" y="458"/>
                </a:cubicBezTo>
                <a:cubicBezTo>
                  <a:pt x="424" y="458"/>
                  <a:pt x="428" y="455"/>
                  <a:pt x="431" y="452"/>
                </a:cubicBezTo>
                <a:cubicBezTo>
                  <a:pt x="434" y="448"/>
                  <a:pt x="435" y="443"/>
                  <a:pt x="433" y="439"/>
                </a:cubicBezTo>
                <a:cubicBezTo>
                  <a:pt x="414" y="377"/>
                  <a:pt x="414" y="377"/>
                  <a:pt x="414" y="377"/>
                </a:cubicBezTo>
                <a:cubicBezTo>
                  <a:pt x="412" y="371"/>
                  <a:pt x="407" y="367"/>
                  <a:pt x="400" y="367"/>
                </a:cubicBezTo>
                <a:cubicBezTo>
                  <a:pt x="134" y="367"/>
                  <a:pt x="134" y="367"/>
                  <a:pt x="134" y="367"/>
                </a:cubicBezTo>
                <a:cubicBezTo>
                  <a:pt x="125" y="335"/>
                  <a:pt x="125" y="335"/>
                  <a:pt x="125" y="335"/>
                </a:cubicBezTo>
                <a:cubicBezTo>
                  <a:pt x="419" y="335"/>
                  <a:pt x="419" y="335"/>
                  <a:pt x="419" y="335"/>
                </a:cubicBezTo>
                <a:cubicBezTo>
                  <a:pt x="424" y="335"/>
                  <a:pt x="428" y="333"/>
                  <a:pt x="431" y="329"/>
                </a:cubicBezTo>
                <a:cubicBezTo>
                  <a:pt x="434" y="325"/>
                  <a:pt x="434" y="321"/>
                  <a:pt x="433" y="316"/>
                </a:cubicBezTo>
                <a:cubicBezTo>
                  <a:pt x="413" y="257"/>
                  <a:pt x="413" y="257"/>
                  <a:pt x="413" y="257"/>
                </a:cubicBezTo>
                <a:cubicBezTo>
                  <a:pt x="411" y="251"/>
                  <a:pt x="406" y="247"/>
                  <a:pt x="399" y="247"/>
                </a:cubicBezTo>
                <a:cubicBezTo>
                  <a:pt x="134" y="247"/>
                  <a:pt x="134" y="247"/>
                  <a:pt x="134" y="247"/>
                </a:cubicBezTo>
                <a:cubicBezTo>
                  <a:pt x="126" y="218"/>
                  <a:pt x="126" y="218"/>
                  <a:pt x="126" y="218"/>
                </a:cubicBezTo>
                <a:cubicBezTo>
                  <a:pt x="419" y="218"/>
                  <a:pt x="419" y="218"/>
                  <a:pt x="419" y="218"/>
                </a:cubicBezTo>
                <a:cubicBezTo>
                  <a:pt x="424" y="218"/>
                  <a:pt x="428" y="216"/>
                  <a:pt x="431" y="213"/>
                </a:cubicBezTo>
                <a:cubicBezTo>
                  <a:pt x="434" y="209"/>
                  <a:pt x="435" y="204"/>
                  <a:pt x="433" y="200"/>
                </a:cubicBezTo>
                <a:cubicBezTo>
                  <a:pt x="417" y="142"/>
                  <a:pt x="417" y="142"/>
                  <a:pt x="417" y="142"/>
                </a:cubicBezTo>
                <a:cubicBezTo>
                  <a:pt x="415" y="136"/>
                  <a:pt x="409" y="131"/>
                  <a:pt x="403" y="131"/>
                </a:cubicBezTo>
                <a:cubicBezTo>
                  <a:pt x="132" y="131"/>
                  <a:pt x="132" y="131"/>
                  <a:pt x="132" y="131"/>
                </a:cubicBezTo>
                <a:cubicBezTo>
                  <a:pt x="124" y="102"/>
                  <a:pt x="124" y="102"/>
                  <a:pt x="124" y="102"/>
                </a:cubicBezTo>
                <a:cubicBezTo>
                  <a:pt x="429" y="102"/>
                  <a:pt x="429" y="102"/>
                  <a:pt x="429" y="102"/>
                </a:cubicBezTo>
                <a:cubicBezTo>
                  <a:pt x="437" y="102"/>
                  <a:pt x="443" y="96"/>
                  <a:pt x="443" y="88"/>
                </a:cubicBezTo>
                <a:cubicBezTo>
                  <a:pt x="443" y="80"/>
                  <a:pt x="437" y="73"/>
                  <a:pt x="429" y="73"/>
                </a:cubicBezTo>
                <a:cubicBezTo>
                  <a:pt x="105" y="73"/>
                  <a:pt x="105" y="73"/>
                  <a:pt x="105" y="73"/>
                </a:cubicBezTo>
                <a:cubicBezTo>
                  <a:pt x="100" y="73"/>
                  <a:pt x="96" y="75"/>
                  <a:pt x="93" y="79"/>
                </a:cubicBezTo>
                <a:cubicBezTo>
                  <a:pt x="91" y="82"/>
                  <a:pt x="90" y="87"/>
                  <a:pt x="91" y="91"/>
                </a:cubicBezTo>
                <a:cubicBezTo>
                  <a:pt x="107" y="150"/>
                  <a:pt x="107" y="150"/>
                  <a:pt x="107" y="150"/>
                </a:cubicBezTo>
                <a:cubicBezTo>
                  <a:pt x="108" y="156"/>
                  <a:pt x="114" y="160"/>
                  <a:pt x="121" y="160"/>
                </a:cubicBezTo>
                <a:cubicBezTo>
                  <a:pt x="392" y="160"/>
                  <a:pt x="392" y="160"/>
                  <a:pt x="392" y="160"/>
                </a:cubicBezTo>
                <a:cubicBezTo>
                  <a:pt x="400" y="189"/>
                  <a:pt x="400" y="189"/>
                  <a:pt x="400" y="189"/>
                </a:cubicBezTo>
                <a:cubicBezTo>
                  <a:pt x="107" y="189"/>
                  <a:pt x="107" y="189"/>
                  <a:pt x="107" y="189"/>
                </a:cubicBezTo>
                <a:cubicBezTo>
                  <a:pt x="103" y="189"/>
                  <a:pt x="98" y="191"/>
                  <a:pt x="95" y="195"/>
                </a:cubicBezTo>
                <a:cubicBezTo>
                  <a:pt x="93" y="199"/>
                  <a:pt x="92" y="203"/>
                  <a:pt x="93" y="208"/>
                </a:cubicBezTo>
                <a:cubicBezTo>
                  <a:pt x="109" y="266"/>
                  <a:pt x="109" y="266"/>
                  <a:pt x="109" y="266"/>
                </a:cubicBezTo>
                <a:cubicBezTo>
                  <a:pt x="111" y="272"/>
                  <a:pt x="116" y="276"/>
                  <a:pt x="123" y="276"/>
                </a:cubicBezTo>
                <a:cubicBezTo>
                  <a:pt x="389" y="276"/>
                  <a:pt x="389" y="276"/>
                  <a:pt x="389" y="276"/>
                </a:cubicBezTo>
                <a:cubicBezTo>
                  <a:pt x="399" y="306"/>
                  <a:pt x="399" y="306"/>
                  <a:pt x="399" y="306"/>
                </a:cubicBezTo>
                <a:cubicBezTo>
                  <a:pt x="106" y="306"/>
                  <a:pt x="106" y="306"/>
                  <a:pt x="106" y="306"/>
                </a:cubicBezTo>
                <a:cubicBezTo>
                  <a:pt x="102" y="306"/>
                  <a:pt x="97" y="308"/>
                  <a:pt x="95" y="312"/>
                </a:cubicBezTo>
                <a:cubicBezTo>
                  <a:pt x="92" y="316"/>
                  <a:pt x="91" y="320"/>
                  <a:pt x="92" y="325"/>
                </a:cubicBezTo>
                <a:cubicBezTo>
                  <a:pt x="109" y="385"/>
                  <a:pt x="109" y="385"/>
                  <a:pt x="109" y="385"/>
                </a:cubicBezTo>
                <a:cubicBezTo>
                  <a:pt x="111" y="392"/>
                  <a:pt x="116" y="396"/>
                  <a:pt x="123" y="396"/>
                </a:cubicBezTo>
                <a:cubicBezTo>
                  <a:pt x="389" y="396"/>
                  <a:pt x="389" y="396"/>
                  <a:pt x="389" y="396"/>
                </a:cubicBezTo>
                <a:cubicBezTo>
                  <a:pt x="400" y="428"/>
                  <a:pt x="400" y="428"/>
                  <a:pt x="400" y="428"/>
                </a:cubicBezTo>
                <a:cubicBezTo>
                  <a:pt x="73" y="428"/>
                  <a:pt x="73" y="428"/>
                  <a:pt x="73" y="428"/>
                </a:cubicBezTo>
                <a:cubicBezTo>
                  <a:pt x="73" y="288"/>
                  <a:pt x="73" y="288"/>
                  <a:pt x="73" y="288"/>
                </a:cubicBezTo>
                <a:cubicBezTo>
                  <a:pt x="73" y="87"/>
                  <a:pt x="73" y="87"/>
                  <a:pt x="73" y="87"/>
                </a:cubicBezTo>
                <a:cubicBezTo>
                  <a:pt x="73" y="84"/>
                  <a:pt x="71" y="80"/>
                  <a:pt x="69" y="77"/>
                </a:cubicBezTo>
                <a:cubicBezTo>
                  <a:pt x="66" y="74"/>
                  <a:pt x="62" y="73"/>
                  <a:pt x="58" y="73"/>
                </a:cubicBezTo>
                <a:cubicBezTo>
                  <a:pt x="42" y="73"/>
                  <a:pt x="42" y="73"/>
                  <a:pt x="42" y="73"/>
                </a:cubicBezTo>
                <a:cubicBezTo>
                  <a:pt x="44" y="66"/>
                  <a:pt x="46" y="59"/>
                  <a:pt x="46" y="50"/>
                </a:cubicBezTo>
                <a:cubicBezTo>
                  <a:pt x="46" y="42"/>
                  <a:pt x="44" y="35"/>
                  <a:pt x="42" y="29"/>
                </a:cubicBezTo>
                <a:cubicBezTo>
                  <a:pt x="475" y="29"/>
                  <a:pt x="475" y="29"/>
                  <a:pt x="475" y="29"/>
                </a:cubicBezTo>
                <a:cubicBezTo>
                  <a:pt x="477" y="30"/>
                  <a:pt x="478" y="31"/>
                  <a:pt x="480" y="34"/>
                </a:cubicBezTo>
                <a:cubicBezTo>
                  <a:pt x="482" y="36"/>
                  <a:pt x="483" y="38"/>
                  <a:pt x="484" y="41"/>
                </a:cubicBezTo>
                <a:cubicBezTo>
                  <a:pt x="486" y="44"/>
                  <a:pt x="486" y="47"/>
                  <a:pt x="486" y="51"/>
                </a:cubicBezTo>
                <a:cubicBezTo>
                  <a:pt x="486" y="56"/>
                  <a:pt x="485" y="61"/>
                  <a:pt x="484" y="64"/>
                </a:cubicBezTo>
                <a:cubicBezTo>
                  <a:pt x="482" y="68"/>
                  <a:pt x="480" y="71"/>
                  <a:pt x="478" y="72"/>
                </a:cubicBezTo>
                <a:cubicBezTo>
                  <a:pt x="477" y="73"/>
                  <a:pt x="476" y="74"/>
                  <a:pt x="476" y="74"/>
                </a:cubicBezTo>
                <a:cubicBezTo>
                  <a:pt x="476" y="74"/>
                  <a:pt x="476" y="74"/>
                  <a:pt x="476" y="74"/>
                </a:cubicBezTo>
                <a:cubicBezTo>
                  <a:pt x="470" y="76"/>
                  <a:pt x="466" y="82"/>
                  <a:pt x="466" y="88"/>
                </a:cubicBezTo>
                <a:cubicBezTo>
                  <a:pt x="466" y="495"/>
                  <a:pt x="466" y="495"/>
                  <a:pt x="466" y="495"/>
                </a:cubicBezTo>
                <a:cubicBezTo>
                  <a:pt x="466" y="495"/>
                  <a:pt x="466" y="495"/>
                  <a:pt x="466" y="495"/>
                </a:cubicBezTo>
                <a:cubicBezTo>
                  <a:pt x="466" y="513"/>
                  <a:pt x="466" y="513"/>
                  <a:pt x="466" y="513"/>
                </a:cubicBezTo>
                <a:cubicBezTo>
                  <a:pt x="453" y="500"/>
                  <a:pt x="453" y="500"/>
                  <a:pt x="453" y="500"/>
                </a:cubicBezTo>
                <a:cubicBezTo>
                  <a:pt x="448" y="494"/>
                  <a:pt x="439" y="494"/>
                  <a:pt x="434" y="500"/>
                </a:cubicBezTo>
                <a:cubicBezTo>
                  <a:pt x="428" y="505"/>
                  <a:pt x="428" y="514"/>
                  <a:pt x="434" y="519"/>
                </a:cubicBezTo>
                <a:cubicBezTo>
                  <a:pt x="469" y="555"/>
                  <a:pt x="469" y="555"/>
                  <a:pt x="469" y="555"/>
                </a:cubicBezTo>
                <a:cubicBezTo>
                  <a:pt x="469" y="555"/>
                  <a:pt x="469" y="555"/>
                  <a:pt x="469" y="555"/>
                </a:cubicBezTo>
                <a:cubicBezTo>
                  <a:pt x="471" y="557"/>
                  <a:pt x="471" y="557"/>
                  <a:pt x="471" y="557"/>
                </a:cubicBezTo>
                <a:cubicBezTo>
                  <a:pt x="474" y="560"/>
                  <a:pt x="478" y="561"/>
                  <a:pt x="481" y="561"/>
                </a:cubicBezTo>
                <a:cubicBezTo>
                  <a:pt x="485" y="561"/>
                  <a:pt x="488" y="560"/>
                  <a:pt x="491" y="557"/>
                </a:cubicBezTo>
                <a:cubicBezTo>
                  <a:pt x="493" y="555"/>
                  <a:pt x="493" y="555"/>
                  <a:pt x="493" y="555"/>
                </a:cubicBezTo>
                <a:cubicBezTo>
                  <a:pt x="493" y="555"/>
                  <a:pt x="493" y="555"/>
                  <a:pt x="493" y="555"/>
                </a:cubicBezTo>
                <a:cubicBezTo>
                  <a:pt x="529" y="519"/>
                  <a:pt x="529" y="519"/>
                  <a:pt x="529" y="519"/>
                </a:cubicBezTo>
                <a:cubicBezTo>
                  <a:pt x="534" y="514"/>
                  <a:pt x="534" y="505"/>
                  <a:pt x="529" y="50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5" name="Freeform 312"/>
          <p:cNvSpPr>
            <a:spLocks/>
          </p:cNvSpPr>
          <p:nvPr userDrawn="1"/>
        </p:nvSpPr>
        <p:spPr bwMode="auto">
          <a:xfrm>
            <a:off x="4454129" y="4434185"/>
            <a:ext cx="455613" cy="454025"/>
          </a:xfrm>
          <a:custGeom>
            <a:avLst/>
            <a:gdLst/>
            <a:ahLst/>
            <a:cxnLst>
              <a:cxn ang="0">
                <a:pos x="398" y="125"/>
              </a:cxn>
              <a:cxn ang="0">
                <a:pos x="277" y="4"/>
              </a:cxn>
              <a:cxn ang="0">
                <a:pos x="268" y="0"/>
              </a:cxn>
              <a:cxn ang="0">
                <a:pos x="259" y="4"/>
              </a:cxn>
              <a:cxn ang="0">
                <a:pos x="171" y="92"/>
              </a:cxn>
              <a:cxn ang="0">
                <a:pos x="171" y="111"/>
              </a:cxn>
              <a:cxn ang="0">
                <a:pos x="189" y="111"/>
              </a:cxn>
              <a:cxn ang="0">
                <a:pos x="268" y="32"/>
              </a:cxn>
              <a:cxn ang="0">
                <a:pos x="370" y="134"/>
              </a:cxn>
              <a:cxn ang="0">
                <a:pos x="293" y="212"/>
              </a:cxn>
              <a:cxn ang="0">
                <a:pos x="271" y="202"/>
              </a:cxn>
              <a:cxn ang="0">
                <a:pos x="254" y="205"/>
              </a:cxn>
              <a:cxn ang="0">
                <a:pos x="253" y="207"/>
              </a:cxn>
              <a:cxn ang="0">
                <a:pos x="153" y="326"/>
              </a:cxn>
              <a:cxn ang="0">
                <a:pos x="122" y="333"/>
              </a:cxn>
              <a:cxn ang="0">
                <a:pos x="97" y="337"/>
              </a:cxn>
              <a:cxn ang="0">
                <a:pos x="82" y="341"/>
              </a:cxn>
              <a:cxn ang="0">
                <a:pos x="152" y="270"/>
              </a:cxn>
              <a:cxn ang="0">
                <a:pos x="152" y="251"/>
              </a:cxn>
              <a:cxn ang="0">
                <a:pos x="133" y="251"/>
              </a:cxn>
              <a:cxn ang="0">
                <a:pos x="62" y="323"/>
              </a:cxn>
              <a:cxn ang="0">
                <a:pos x="66" y="306"/>
              </a:cxn>
              <a:cxn ang="0">
                <a:pos x="70" y="281"/>
              </a:cxn>
              <a:cxn ang="0">
                <a:pos x="77" y="250"/>
              </a:cxn>
              <a:cxn ang="0">
                <a:pos x="197" y="151"/>
              </a:cxn>
              <a:cxn ang="0">
                <a:pos x="201" y="140"/>
              </a:cxn>
              <a:cxn ang="0">
                <a:pos x="198" y="132"/>
              </a:cxn>
              <a:cxn ang="0">
                <a:pos x="180" y="130"/>
              </a:cxn>
              <a:cxn ang="0">
                <a:pos x="59" y="230"/>
              </a:cxn>
              <a:cxn ang="0">
                <a:pos x="44" y="277"/>
              </a:cxn>
              <a:cxn ang="0">
                <a:pos x="40" y="301"/>
              </a:cxn>
              <a:cxn ang="0">
                <a:pos x="7" y="371"/>
              </a:cxn>
              <a:cxn ang="0">
                <a:pos x="6" y="372"/>
              </a:cxn>
              <a:cxn ang="0">
                <a:pos x="8" y="395"/>
              </a:cxn>
              <a:cxn ang="0">
                <a:pos x="31" y="397"/>
              </a:cxn>
              <a:cxn ang="0">
                <a:pos x="32" y="396"/>
              </a:cxn>
              <a:cxn ang="0">
                <a:pos x="102" y="363"/>
              </a:cxn>
              <a:cxn ang="0">
                <a:pos x="126" y="359"/>
              </a:cxn>
              <a:cxn ang="0">
                <a:pos x="173" y="344"/>
              </a:cxn>
              <a:cxn ang="0">
                <a:pos x="267" y="231"/>
              </a:cxn>
              <a:cxn ang="0">
                <a:pos x="310" y="232"/>
              </a:cxn>
              <a:cxn ang="0">
                <a:pos x="398" y="144"/>
              </a:cxn>
              <a:cxn ang="0">
                <a:pos x="398" y="125"/>
              </a:cxn>
            </a:cxnLst>
            <a:rect l="0" t="0" r="r" b="b"/>
            <a:pathLst>
              <a:path w="404" h="403">
                <a:moveTo>
                  <a:pt x="398" y="125"/>
                </a:moveTo>
                <a:cubicBezTo>
                  <a:pt x="277" y="4"/>
                  <a:pt x="277" y="4"/>
                  <a:pt x="277" y="4"/>
                </a:cubicBezTo>
                <a:cubicBezTo>
                  <a:pt x="275" y="1"/>
                  <a:pt x="272" y="0"/>
                  <a:pt x="268" y="0"/>
                </a:cubicBezTo>
                <a:cubicBezTo>
                  <a:pt x="264" y="0"/>
                  <a:pt x="261" y="1"/>
                  <a:pt x="259" y="4"/>
                </a:cubicBezTo>
                <a:cubicBezTo>
                  <a:pt x="171" y="92"/>
                  <a:pt x="171" y="92"/>
                  <a:pt x="171" y="92"/>
                </a:cubicBezTo>
                <a:cubicBezTo>
                  <a:pt x="165" y="97"/>
                  <a:pt x="165" y="105"/>
                  <a:pt x="171" y="111"/>
                </a:cubicBezTo>
                <a:cubicBezTo>
                  <a:pt x="176" y="116"/>
                  <a:pt x="184" y="116"/>
                  <a:pt x="189" y="111"/>
                </a:cubicBezTo>
                <a:cubicBezTo>
                  <a:pt x="189" y="111"/>
                  <a:pt x="253" y="47"/>
                  <a:pt x="268" y="32"/>
                </a:cubicBezTo>
                <a:cubicBezTo>
                  <a:pt x="283" y="47"/>
                  <a:pt x="355" y="120"/>
                  <a:pt x="370" y="134"/>
                </a:cubicBezTo>
                <a:cubicBezTo>
                  <a:pt x="355" y="149"/>
                  <a:pt x="295" y="209"/>
                  <a:pt x="293" y="212"/>
                </a:cubicBezTo>
                <a:cubicBezTo>
                  <a:pt x="290" y="211"/>
                  <a:pt x="283" y="210"/>
                  <a:pt x="271" y="202"/>
                </a:cubicBezTo>
                <a:cubicBezTo>
                  <a:pt x="265" y="199"/>
                  <a:pt x="258" y="200"/>
                  <a:pt x="254" y="205"/>
                </a:cubicBezTo>
                <a:cubicBezTo>
                  <a:pt x="253" y="207"/>
                  <a:pt x="253" y="207"/>
                  <a:pt x="253" y="207"/>
                </a:cubicBezTo>
                <a:cubicBezTo>
                  <a:pt x="220" y="246"/>
                  <a:pt x="159" y="320"/>
                  <a:pt x="153" y="326"/>
                </a:cubicBezTo>
                <a:cubicBezTo>
                  <a:pt x="151" y="328"/>
                  <a:pt x="137" y="330"/>
                  <a:pt x="122" y="333"/>
                </a:cubicBezTo>
                <a:cubicBezTo>
                  <a:pt x="97" y="337"/>
                  <a:pt x="97" y="337"/>
                  <a:pt x="97" y="337"/>
                </a:cubicBezTo>
                <a:cubicBezTo>
                  <a:pt x="92" y="338"/>
                  <a:pt x="87" y="339"/>
                  <a:pt x="82" y="341"/>
                </a:cubicBezTo>
                <a:cubicBezTo>
                  <a:pt x="152" y="270"/>
                  <a:pt x="152" y="270"/>
                  <a:pt x="152" y="270"/>
                </a:cubicBezTo>
                <a:cubicBezTo>
                  <a:pt x="157" y="265"/>
                  <a:pt x="157" y="257"/>
                  <a:pt x="152" y="251"/>
                </a:cubicBezTo>
                <a:cubicBezTo>
                  <a:pt x="147" y="246"/>
                  <a:pt x="139" y="246"/>
                  <a:pt x="133" y="251"/>
                </a:cubicBezTo>
                <a:cubicBezTo>
                  <a:pt x="62" y="323"/>
                  <a:pt x="62" y="323"/>
                  <a:pt x="62" y="323"/>
                </a:cubicBezTo>
                <a:cubicBezTo>
                  <a:pt x="64" y="317"/>
                  <a:pt x="65" y="312"/>
                  <a:pt x="66" y="306"/>
                </a:cubicBezTo>
                <a:cubicBezTo>
                  <a:pt x="70" y="281"/>
                  <a:pt x="70" y="281"/>
                  <a:pt x="70" y="281"/>
                </a:cubicBezTo>
                <a:cubicBezTo>
                  <a:pt x="73" y="266"/>
                  <a:pt x="75" y="253"/>
                  <a:pt x="77" y="250"/>
                </a:cubicBezTo>
                <a:cubicBezTo>
                  <a:pt x="83" y="245"/>
                  <a:pt x="158" y="183"/>
                  <a:pt x="197" y="151"/>
                </a:cubicBezTo>
                <a:cubicBezTo>
                  <a:pt x="200" y="148"/>
                  <a:pt x="201" y="144"/>
                  <a:pt x="201" y="140"/>
                </a:cubicBezTo>
                <a:cubicBezTo>
                  <a:pt x="201" y="137"/>
                  <a:pt x="200" y="134"/>
                  <a:pt x="198" y="132"/>
                </a:cubicBezTo>
                <a:cubicBezTo>
                  <a:pt x="194" y="126"/>
                  <a:pt x="185" y="125"/>
                  <a:pt x="180" y="130"/>
                </a:cubicBezTo>
                <a:cubicBezTo>
                  <a:pt x="175" y="134"/>
                  <a:pt x="66" y="224"/>
                  <a:pt x="59" y="230"/>
                </a:cubicBezTo>
                <a:cubicBezTo>
                  <a:pt x="50" y="238"/>
                  <a:pt x="49" y="248"/>
                  <a:pt x="44" y="277"/>
                </a:cubicBezTo>
                <a:cubicBezTo>
                  <a:pt x="40" y="301"/>
                  <a:pt x="40" y="301"/>
                  <a:pt x="40" y="301"/>
                </a:cubicBezTo>
                <a:cubicBezTo>
                  <a:pt x="33" y="341"/>
                  <a:pt x="7" y="371"/>
                  <a:pt x="7" y="371"/>
                </a:cubicBezTo>
                <a:cubicBezTo>
                  <a:pt x="6" y="371"/>
                  <a:pt x="6" y="372"/>
                  <a:pt x="6" y="372"/>
                </a:cubicBezTo>
                <a:cubicBezTo>
                  <a:pt x="2" y="378"/>
                  <a:pt x="0" y="388"/>
                  <a:pt x="8" y="395"/>
                </a:cubicBezTo>
                <a:cubicBezTo>
                  <a:pt x="15" y="403"/>
                  <a:pt x="25" y="402"/>
                  <a:pt x="31" y="397"/>
                </a:cubicBezTo>
                <a:cubicBezTo>
                  <a:pt x="31" y="397"/>
                  <a:pt x="32" y="397"/>
                  <a:pt x="32" y="396"/>
                </a:cubicBezTo>
                <a:cubicBezTo>
                  <a:pt x="33" y="396"/>
                  <a:pt x="63" y="370"/>
                  <a:pt x="102" y="363"/>
                </a:cubicBezTo>
                <a:cubicBezTo>
                  <a:pt x="102" y="363"/>
                  <a:pt x="126" y="359"/>
                  <a:pt x="126" y="359"/>
                </a:cubicBezTo>
                <a:cubicBezTo>
                  <a:pt x="155" y="354"/>
                  <a:pt x="166" y="353"/>
                  <a:pt x="173" y="344"/>
                </a:cubicBezTo>
                <a:cubicBezTo>
                  <a:pt x="178" y="338"/>
                  <a:pt x="246" y="256"/>
                  <a:pt x="267" y="231"/>
                </a:cubicBezTo>
                <a:cubicBezTo>
                  <a:pt x="287" y="240"/>
                  <a:pt x="301" y="241"/>
                  <a:pt x="310" y="232"/>
                </a:cubicBezTo>
                <a:cubicBezTo>
                  <a:pt x="398" y="144"/>
                  <a:pt x="398" y="144"/>
                  <a:pt x="398" y="144"/>
                </a:cubicBezTo>
                <a:cubicBezTo>
                  <a:pt x="404" y="138"/>
                  <a:pt x="404" y="130"/>
                  <a:pt x="398" y="12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6" name="Freeform 333"/>
          <p:cNvSpPr>
            <a:spLocks/>
          </p:cNvSpPr>
          <p:nvPr userDrawn="1"/>
        </p:nvSpPr>
        <p:spPr bwMode="auto">
          <a:xfrm>
            <a:off x="4447782" y="3013183"/>
            <a:ext cx="468311" cy="469900"/>
          </a:xfrm>
          <a:custGeom>
            <a:avLst/>
            <a:gdLst/>
            <a:ahLst/>
            <a:cxnLst>
              <a:cxn ang="0">
                <a:pos x="264" y="362"/>
              </a:cxn>
              <a:cxn ang="0">
                <a:pos x="166" y="362"/>
              </a:cxn>
              <a:cxn ang="0">
                <a:pos x="166" y="416"/>
              </a:cxn>
              <a:cxn ang="0">
                <a:pos x="415" y="416"/>
              </a:cxn>
              <a:cxn ang="0">
                <a:pos x="414" y="362"/>
              </a:cxn>
              <a:cxn ang="0">
                <a:pos x="318" y="362"/>
              </a:cxn>
              <a:cxn ang="0">
                <a:pos x="393" y="228"/>
              </a:cxn>
              <a:cxn ang="0">
                <a:pos x="282" y="66"/>
              </a:cxn>
              <a:cxn ang="0">
                <a:pos x="204" y="95"/>
              </a:cxn>
              <a:cxn ang="0">
                <a:pos x="184" y="67"/>
              </a:cxn>
              <a:cxn ang="0">
                <a:pos x="203" y="27"/>
              </a:cxn>
              <a:cxn ang="0">
                <a:pos x="149" y="0"/>
              </a:cxn>
              <a:cxn ang="0">
                <a:pos x="124" y="44"/>
              </a:cxn>
              <a:cxn ang="0">
                <a:pos x="1" y="123"/>
              </a:cxn>
              <a:cxn ang="0">
                <a:pos x="0" y="157"/>
              </a:cxn>
              <a:cxn ang="0">
                <a:pos x="199" y="228"/>
              </a:cxn>
              <a:cxn ang="0">
                <a:pos x="217" y="198"/>
              </a:cxn>
              <a:cxn ang="0">
                <a:pos x="215" y="135"/>
              </a:cxn>
            </a:cxnLst>
            <a:rect l="0" t="0" r="r" b="b"/>
            <a:pathLst>
              <a:path w="415" h="416">
                <a:moveTo>
                  <a:pt x="264" y="362"/>
                </a:moveTo>
                <a:cubicBezTo>
                  <a:pt x="166" y="362"/>
                  <a:pt x="166" y="362"/>
                  <a:pt x="166" y="362"/>
                </a:cubicBezTo>
                <a:cubicBezTo>
                  <a:pt x="166" y="416"/>
                  <a:pt x="166" y="416"/>
                  <a:pt x="166" y="416"/>
                </a:cubicBezTo>
                <a:cubicBezTo>
                  <a:pt x="415" y="416"/>
                  <a:pt x="415" y="416"/>
                  <a:pt x="415" y="416"/>
                </a:cubicBezTo>
                <a:cubicBezTo>
                  <a:pt x="414" y="362"/>
                  <a:pt x="414" y="362"/>
                  <a:pt x="414" y="362"/>
                </a:cubicBezTo>
                <a:cubicBezTo>
                  <a:pt x="318" y="362"/>
                  <a:pt x="318" y="362"/>
                  <a:pt x="318" y="362"/>
                </a:cubicBezTo>
                <a:cubicBezTo>
                  <a:pt x="393" y="228"/>
                  <a:pt x="393" y="228"/>
                  <a:pt x="393" y="228"/>
                </a:cubicBezTo>
                <a:cubicBezTo>
                  <a:pt x="282" y="66"/>
                  <a:pt x="282" y="66"/>
                  <a:pt x="282" y="66"/>
                </a:cubicBezTo>
                <a:cubicBezTo>
                  <a:pt x="204" y="95"/>
                  <a:pt x="204" y="95"/>
                  <a:pt x="204" y="95"/>
                </a:cubicBezTo>
                <a:cubicBezTo>
                  <a:pt x="204" y="95"/>
                  <a:pt x="196" y="81"/>
                  <a:pt x="184" y="67"/>
                </a:cubicBezTo>
                <a:cubicBezTo>
                  <a:pt x="183" y="67"/>
                  <a:pt x="203" y="27"/>
                  <a:pt x="203" y="27"/>
                </a:cubicBezTo>
                <a:cubicBezTo>
                  <a:pt x="149" y="0"/>
                  <a:pt x="149" y="0"/>
                  <a:pt x="149" y="0"/>
                </a:cubicBezTo>
                <a:cubicBezTo>
                  <a:pt x="137" y="18"/>
                  <a:pt x="142" y="15"/>
                  <a:pt x="124" y="44"/>
                </a:cubicBezTo>
                <a:cubicBezTo>
                  <a:pt x="19" y="46"/>
                  <a:pt x="1" y="123"/>
                  <a:pt x="1" y="123"/>
                </a:cubicBezTo>
                <a:cubicBezTo>
                  <a:pt x="0" y="157"/>
                  <a:pt x="0" y="157"/>
                  <a:pt x="0" y="157"/>
                </a:cubicBezTo>
                <a:cubicBezTo>
                  <a:pt x="199" y="228"/>
                  <a:pt x="199" y="228"/>
                  <a:pt x="199" y="228"/>
                </a:cubicBezTo>
                <a:cubicBezTo>
                  <a:pt x="217" y="198"/>
                  <a:pt x="217" y="198"/>
                  <a:pt x="217" y="198"/>
                </a:cubicBezTo>
                <a:cubicBezTo>
                  <a:pt x="217" y="198"/>
                  <a:pt x="229" y="162"/>
                  <a:pt x="215" y="135"/>
                </a:cubicBezTo>
              </a:path>
            </a:pathLst>
          </a:custGeom>
          <a:noFill/>
          <a:ln w="28575"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7" name="Freeform 361"/>
          <p:cNvSpPr>
            <a:spLocks noEditPoints="1"/>
          </p:cNvSpPr>
          <p:nvPr userDrawn="1"/>
        </p:nvSpPr>
        <p:spPr bwMode="auto">
          <a:xfrm>
            <a:off x="4581134" y="1746158"/>
            <a:ext cx="201613" cy="515937"/>
          </a:xfrm>
          <a:custGeom>
            <a:avLst/>
            <a:gdLst/>
            <a:ahLst/>
            <a:cxnLst>
              <a:cxn ang="0">
                <a:pos x="67" y="6"/>
              </a:cxn>
              <a:cxn ang="0">
                <a:pos x="54" y="26"/>
              </a:cxn>
              <a:cxn ang="0">
                <a:pos x="67" y="40"/>
              </a:cxn>
              <a:cxn ang="0">
                <a:pos x="80" y="29"/>
              </a:cxn>
              <a:cxn ang="0">
                <a:pos x="90" y="27"/>
              </a:cxn>
              <a:cxn ang="0">
                <a:pos x="99" y="29"/>
              </a:cxn>
              <a:cxn ang="0">
                <a:pos x="99" y="71"/>
              </a:cxn>
              <a:cxn ang="0">
                <a:pos x="109" y="84"/>
              </a:cxn>
              <a:cxn ang="0">
                <a:pos x="152" y="127"/>
              </a:cxn>
              <a:cxn ang="0">
                <a:pos x="152" y="407"/>
              </a:cxn>
              <a:cxn ang="0">
                <a:pos x="136" y="424"/>
              </a:cxn>
              <a:cxn ang="0">
                <a:pos x="90" y="432"/>
              </a:cxn>
              <a:cxn ang="0">
                <a:pos x="43" y="424"/>
              </a:cxn>
              <a:cxn ang="0">
                <a:pos x="28" y="407"/>
              </a:cxn>
              <a:cxn ang="0">
                <a:pos x="27" y="127"/>
              </a:cxn>
              <a:cxn ang="0">
                <a:pos x="70" y="85"/>
              </a:cxn>
              <a:cxn ang="0">
                <a:pos x="80" y="69"/>
              </a:cxn>
              <a:cxn ang="0">
                <a:pos x="64" y="59"/>
              </a:cxn>
              <a:cxn ang="0">
                <a:pos x="0" y="127"/>
              </a:cxn>
              <a:cxn ang="0">
                <a:pos x="1" y="407"/>
              </a:cxn>
              <a:cxn ang="0">
                <a:pos x="90" y="459"/>
              </a:cxn>
              <a:cxn ang="0">
                <a:pos x="147" y="448"/>
              </a:cxn>
              <a:cxn ang="0">
                <a:pos x="178" y="407"/>
              </a:cxn>
              <a:cxn ang="0">
                <a:pos x="178" y="127"/>
              </a:cxn>
              <a:cxn ang="0">
                <a:pos x="126" y="61"/>
              </a:cxn>
              <a:cxn ang="0">
                <a:pos x="126" y="26"/>
              </a:cxn>
              <a:cxn ang="0">
                <a:pos x="90" y="0"/>
              </a:cxn>
              <a:cxn ang="0">
                <a:pos x="67" y="6"/>
              </a:cxn>
              <a:cxn ang="0">
                <a:pos x="80" y="26"/>
              </a:cxn>
              <a:cxn ang="0">
                <a:pos x="80" y="28"/>
              </a:cxn>
              <a:cxn ang="0">
                <a:pos x="80" y="26"/>
              </a:cxn>
            </a:cxnLst>
            <a:rect l="0" t="0" r="r" b="b"/>
            <a:pathLst>
              <a:path w="178" h="459">
                <a:moveTo>
                  <a:pt x="67" y="6"/>
                </a:moveTo>
                <a:cubicBezTo>
                  <a:pt x="59" y="11"/>
                  <a:pt x="54" y="18"/>
                  <a:pt x="54" y="26"/>
                </a:cubicBezTo>
                <a:cubicBezTo>
                  <a:pt x="54" y="34"/>
                  <a:pt x="60" y="40"/>
                  <a:pt x="67" y="40"/>
                </a:cubicBezTo>
                <a:cubicBezTo>
                  <a:pt x="74" y="40"/>
                  <a:pt x="79" y="35"/>
                  <a:pt x="80" y="29"/>
                </a:cubicBezTo>
                <a:cubicBezTo>
                  <a:pt x="81" y="28"/>
                  <a:pt x="85" y="27"/>
                  <a:pt x="90" y="27"/>
                </a:cubicBezTo>
                <a:cubicBezTo>
                  <a:pt x="94" y="27"/>
                  <a:pt x="98" y="28"/>
                  <a:pt x="99" y="29"/>
                </a:cubicBezTo>
                <a:cubicBezTo>
                  <a:pt x="99" y="33"/>
                  <a:pt x="99" y="71"/>
                  <a:pt x="99" y="71"/>
                </a:cubicBezTo>
                <a:cubicBezTo>
                  <a:pt x="99" y="77"/>
                  <a:pt x="103" y="82"/>
                  <a:pt x="109" y="84"/>
                </a:cubicBezTo>
                <a:cubicBezTo>
                  <a:pt x="111" y="84"/>
                  <a:pt x="152" y="95"/>
                  <a:pt x="152" y="127"/>
                </a:cubicBezTo>
                <a:cubicBezTo>
                  <a:pt x="152" y="407"/>
                  <a:pt x="152" y="407"/>
                  <a:pt x="152" y="407"/>
                </a:cubicBezTo>
                <a:cubicBezTo>
                  <a:pt x="152" y="409"/>
                  <a:pt x="152" y="417"/>
                  <a:pt x="136" y="424"/>
                </a:cubicBezTo>
                <a:cubicBezTo>
                  <a:pt x="125" y="429"/>
                  <a:pt x="108" y="432"/>
                  <a:pt x="90" y="432"/>
                </a:cubicBezTo>
                <a:cubicBezTo>
                  <a:pt x="71" y="432"/>
                  <a:pt x="55" y="429"/>
                  <a:pt x="43" y="424"/>
                </a:cubicBezTo>
                <a:cubicBezTo>
                  <a:pt x="28" y="417"/>
                  <a:pt x="28" y="409"/>
                  <a:pt x="28" y="407"/>
                </a:cubicBezTo>
                <a:cubicBezTo>
                  <a:pt x="27" y="127"/>
                  <a:pt x="27" y="127"/>
                  <a:pt x="27" y="127"/>
                </a:cubicBezTo>
                <a:cubicBezTo>
                  <a:pt x="27" y="95"/>
                  <a:pt x="68" y="85"/>
                  <a:pt x="70" y="85"/>
                </a:cubicBezTo>
                <a:cubicBezTo>
                  <a:pt x="77" y="83"/>
                  <a:pt x="82" y="76"/>
                  <a:pt x="80" y="69"/>
                </a:cubicBezTo>
                <a:cubicBezTo>
                  <a:pt x="79" y="62"/>
                  <a:pt x="72" y="57"/>
                  <a:pt x="64" y="59"/>
                </a:cubicBezTo>
                <a:cubicBezTo>
                  <a:pt x="62" y="59"/>
                  <a:pt x="0" y="73"/>
                  <a:pt x="0" y="127"/>
                </a:cubicBezTo>
                <a:cubicBezTo>
                  <a:pt x="1" y="407"/>
                  <a:pt x="1" y="407"/>
                  <a:pt x="1" y="407"/>
                </a:cubicBezTo>
                <a:cubicBezTo>
                  <a:pt x="1" y="439"/>
                  <a:pt x="35" y="459"/>
                  <a:pt x="90" y="459"/>
                </a:cubicBezTo>
                <a:cubicBezTo>
                  <a:pt x="106" y="459"/>
                  <a:pt x="128" y="457"/>
                  <a:pt x="147" y="448"/>
                </a:cubicBezTo>
                <a:cubicBezTo>
                  <a:pt x="167" y="439"/>
                  <a:pt x="178" y="424"/>
                  <a:pt x="178" y="407"/>
                </a:cubicBezTo>
                <a:cubicBezTo>
                  <a:pt x="178" y="127"/>
                  <a:pt x="178" y="127"/>
                  <a:pt x="178" y="127"/>
                </a:cubicBezTo>
                <a:cubicBezTo>
                  <a:pt x="178" y="86"/>
                  <a:pt x="143" y="68"/>
                  <a:pt x="126" y="61"/>
                </a:cubicBezTo>
                <a:cubicBezTo>
                  <a:pt x="126" y="49"/>
                  <a:pt x="126" y="26"/>
                  <a:pt x="126" y="26"/>
                </a:cubicBezTo>
                <a:cubicBezTo>
                  <a:pt x="126" y="11"/>
                  <a:pt x="110" y="0"/>
                  <a:pt x="90" y="0"/>
                </a:cubicBezTo>
                <a:cubicBezTo>
                  <a:pt x="81" y="0"/>
                  <a:pt x="73" y="2"/>
                  <a:pt x="67" y="6"/>
                </a:cubicBezTo>
                <a:close/>
                <a:moveTo>
                  <a:pt x="80" y="26"/>
                </a:moveTo>
                <a:cubicBezTo>
                  <a:pt x="80" y="27"/>
                  <a:pt x="80" y="27"/>
                  <a:pt x="80" y="28"/>
                </a:cubicBezTo>
                <a:cubicBezTo>
                  <a:pt x="80" y="27"/>
                  <a:pt x="80" y="27"/>
                  <a:pt x="80" y="2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8" name="Freeform 377"/>
          <p:cNvSpPr>
            <a:spLocks/>
          </p:cNvSpPr>
          <p:nvPr userDrawn="1"/>
        </p:nvSpPr>
        <p:spPr bwMode="auto">
          <a:xfrm>
            <a:off x="4475557" y="2382272"/>
            <a:ext cx="412750" cy="519113"/>
          </a:xfrm>
          <a:custGeom>
            <a:avLst/>
            <a:gdLst/>
            <a:ahLst/>
            <a:cxnLst>
              <a:cxn ang="0">
                <a:pos x="130" y="44"/>
              </a:cxn>
              <a:cxn ang="0">
                <a:pos x="121" y="98"/>
              </a:cxn>
              <a:cxn ang="0">
                <a:pos x="5" y="103"/>
              </a:cxn>
              <a:cxn ang="0">
                <a:pos x="0" y="124"/>
              </a:cxn>
              <a:cxn ang="0">
                <a:pos x="67" y="204"/>
              </a:cxn>
              <a:cxn ang="0">
                <a:pos x="21" y="282"/>
              </a:cxn>
              <a:cxn ang="0">
                <a:pos x="38" y="323"/>
              </a:cxn>
              <a:cxn ang="0">
                <a:pos x="181" y="242"/>
              </a:cxn>
              <a:cxn ang="0">
                <a:pos x="172" y="225"/>
              </a:cxn>
              <a:cxn ang="0">
                <a:pos x="179" y="178"/>
              </a:cxn>
              <a:cxn ang="0">
                <a:pos x="203" y="202"/>
              </a:cxn>
              <a:cxn ang="0">
                <a:pos x="186" y="241"/>
              </a:cxn>
              <a:cxn ang="0">
                <a:pos x="230" y="202"/>
              </a:cxn>
              <a:cxn ang="0">
                <a:pos x="144" y="166"/>
              </a:cxn>
              <a:cxn ang="0">
                <a:pos x="151" y="244"/>
              </a:cxn>
              <a:cxn ang="0">
                <a:pos x="47" y="282"/>
              </a:cxn>
              <a:cxn ang="0">
                <a:pos x="108" y="215"/>
              </a:cxn>
              <a:cxn ang="0">
                <a:pos x="119" y="201"/>
              </a:cxn>
              <a:cxn ang="0">
                <a:pos x="34" y="145"/>
              </a:cxn>
              <a:cxn ang="0">
                <a:pos x="28" y="118"/>
              </a:cxn>
              <a:cxn ang="0">
                <a:pos x="131" y="140"/>
              </a:cxn>
              <a:cxn ang="0">
                <a:pos x="156" y="133"/>
              </a:cxn>
              <a:cxn ang="0">
                <a:pos x="147" y="92"/>
              </a:cxn>
              <a:cxn ang="0">
                <a:pos x="184" y="28"/>
              </a:cxn>
              <a:cxn ang="0">
                <a:pos x="217" y="88"/>
              </a:cxn>
              <a:cxn ang="0">
                <a:pos x="208" y="138"/>
              </a:cxn>
              <a:cxn ang="0">
                <a:pos x="229" y="149"/>
              </a:cxn>
              <a:cxn ang="0">
                <a:pos x="255" y="203"/>
              </a:cxn>
              <a:cxn ang="0">
                <a:pos x="243" y="217"/>
              </a:cxn>
              <a:cxn ang="0">
                <a:pos x="305" y="302"/>
              </a:cxn>
              <a:cxn ang="0">
                <a:pos x="205" y="264"/>
              </a:cxn>
              <a:cxn ang="0">
                <a:pos x="184" y="261"/>
              </a:cxn>
              <a:cxn ang="0">
                <a:pos x="164" y="340"/>
              </a:cxn>
              <a:cxn ang="0">
                <a:pos x="81" y="368"/>
              </a:cxn>
              <a:cxn ang="0">
                <a:pos x="200" y="414"/>
              </a:cxn>
              <a:cxn ang="0">
                <a:pos x="227" y="460"/>
              </a:cxn>
              <a:cxn ang="0">
                <a:pos x="217" y="391"/>
              </a:cxn>
              <a:cxn ang="0">
                <a:pos x="116" y="370"/>
              </a:cxn>
              <a:cxn ang="0">
                <a:pos x="197" y="368"/>
              </a:cxn>
              <a:cxn ang="0">
                <a:pos x="198" y="352"/>
              </a:cxn>
              <a:cxn ang="0">
                <a:pos x="193" y="295"/>
              </a:cxn>
              <a:cxn ang="0">
                <a:pos x="330" y="326"/>
              </a:cxn>
              <a:cxn ang="0">
                <a:pos x="319" y="250"/>
              </a:cxn>
              <a:cxn ang="0">
                <a:pos x="331" y="202"/>
              </a:cxn>
              <a:cxn ang="0">
                <a:pos x="361" y="121"/>
              </a:cxn>
              <a:cxn ang="0">
                <a:pos x="244" y="88"/>
              </a:cxn>
              <a:cxn ang="0">
                <a:pos x="187" y="1"/>
              </a:cxn>
            </a:cxnLst>
            <a:rect l="0" t="0" r="r" b="b"/>
            <a:pathLst>
              <a:path w="366" h="461">
                <a:moveTo>
                  <a:pt x="180" y="1"/>
                </a:moveTo>
                <a:cubicBezTo>
                  <a:pt x="157" y="7"/>
                  <a:pt x="140" y="22"/>
                  <a:pt x="130" y="44"/>
                </a:cubicBezTo>
                <a:cubicBezTo>
                  <a:pt x="123" y="59"/>
                  <a:pt x="121" y="76"/>
                  <a:pt x="121" y="91"/>
                </a:cubicBezTo>
                <a:cubicBezTo>
                  <a:pt x="121" y="94"/>
                  <a:pt x="121" y="96"/>
                  <a:pt x="121" y="98"/>
                </a:cubicBezTo>
                <a:cubicBezTo>
                  <a:pt x="106" y="89"/>
                  <a:pt x="87" y="84"/>
                  <a:pt x="70" y="82"/>
                </a:cubicBezTo>
                <a:cubicBezTo>
                  <a:pt x="43" y="79"/>
                  <a:pt x="20" y="87"/>
                  <a:pt x="5" y="103"/>
                </a:cubicBezTo>
                <a:cubicBezTo>
                  <a:pt x="4" y="104"/>
                  <a:pt x="3" y="106"/>
                  <a:pt x="3" y="108"/>
                </a:cubicBezTo>
                <a:cubicBezTo>
                  <a:pt x="1" y="113"/>
                  <a:pt x="0" y="119"/>
                  <a:pt x="0" y="124"/>
                </a:cubicBezTo>
                <a:cubicBezTo>
                  <a:pt x="0" y="136"/>
                  <a:pt x="4" y="148"/>
                  <a:pt x="12" y="160"/>
                </a:cubicBezTo>
                <a:cubicBezTo>
                  <a:pt x="24" y="179"/>
                  <a:pt x="46" y="194"/>
                  <a:pt x="67" y="204"/>
                </a:cubicBezTo>
                <a:cubicBezTo>
                  <a:pt x="51" y="214"/>
                  <a:pt x="38" y="229"/>
                  <a:pt x="30" y="245"/>
                </a:cubicBezTo>
                <a:cubicBezTo>
                  <a:pt x="24" y="257"/>
                  <a:pt x="21" y="270"/>
                  <a:pt x="21" y="282"/>
                </a:cubicBezTo>
                <a:cubicBezTo>
                  <a:pt x="21" y="294"/>
                  <a:pt x="24" y="306"/>
                  <a:pt x="30" y="317"/>
                </a:cubicBezTo>
                <a:cubicBezTo>
                  <a:pt x="31" y="320"/>
                  <a:pt x="34" y="322"/>
                  <a:pt x="38" y="323"/>
                </a:cubicBezTo>
                <a:cubicBezTo>
                  <a:pt x="71" y="333"/>
                  <a:pt x="103" y="329"/>
                  <a:pt x="131" y="309"/>
                </a:cubicBezTo>
                <a:cubicBezTo>
                  <a:pt x="154" y="293"/>
                  <a:pt x="172" y="269"/>
                  <a:pt x="181" y="242"/>
                </a:cubicBezTo>
                <a:cubicBezTo>
                  <a:pt x="182" y="238"/>
                  <a:pt x="182" y="235"/>
                  <a:pt x="180" y="231"/>
                </a:cubicBezTo>
                <a:cubicBezTo>
                  <a:pt x="179" y="228"/>
                  <a:pt x="176" y="226"/>
                  <a:pt x="172" y="225"/>
                </a:cubicBezTo>
                <a:cubicBezTo>
                  <a:pt x="162" y="222"/>
                  <a:pt x="156" y="213"/>
                  <a:pt x="156" y="202"/>
                </a:cubicBezTo>
                <a:cubicBezTo>
                  <a:pt x="156" y="189"/>
                  <a:pt x="166" y="178"/>
                  <a:pt x="179" y="178"/>
                </a:cubicBezTo>
                <a:cubicBezTo>
                  <a:pt x="186" y="178"/>
                  <a:pt x="192" y="181"/>
                  <a:pt x="196" y="185"/>
                </a:cubicBezTo>
                <a:cubicBezTo>
                  <a:pt x="201" y="190"/>
                  <a:pt x="203" y="196"/>
                  <a:pt x="203" y="202"/>
                </a:cubicBezTo>
                <a:cubicBezTo>
                  <a:pt x="203" y="211"/>
                  <a:pt x="198" y="218"/>
                  <a:pt x="191" y="223"/>
                </a:cubicBezTo>
                <a:cubicBezTo>
                  <a:pt x="185" y="226"/>
                  <a:pt x="182" y="234"/>
                  <a:pt x="186" y="241"/>
                </a:cubicBezTo>
                <a:cubicBezTo>
                  <a:pt x="190" y="247"/>
                  <a:pt x="198" y="250"/>
                  <a:pt x="204" y="246"/>
                </a:cubicBezTo>
                <a:cubicBezTo>
                  <a:pt x="220" y="237"/>
                  <a:pt x="230" y="220"/>
                  <a:pt x="230" y="202"/>
                </a:cubicBezTo>
                <a:cubicBezTo>
                  <a:pt x="230" y="174"/>
                  <a:pt x="207" y="152"/>
                  <a:pt x="179" y="152"/>
                </a:cubicBezTo>
                <a:cubicBezTo>
                  <a:pt x="166" y="152"/>
                  <a:pt x="153" y="157"/>
                  <a:pt x="144" y="166"/>
                </a:cubicBezTo>
                <a:cubicBezTo>
                  <a:pt x="134" y="176"/>
                  <a:pt x="129" y="189"/>
                  <a:pt x="129" y="202"/>
                </a:cubicBezTo>
                <a:cubicBezTo>
                  <a:pt x="129" y="219"/>
                  <a:pt x="138" y="235"/>
                  <a:pt x="151" y="244"/>
                </a:cubicBezTo>
                <a:cubicBezTo>
                  <a:pt x="136" y="276"/>
                  <a:pt x="101" y="311"/>
                  <a:pt x="51" y="299"/>
                </a:cubicBezTo>
                <a:cubicBezTo>
                  <a:pt x="48" y="293"/>
                  <a:pt x="47" y="287"/>
                  <a:pt x="47" y="282"/>
                </a:cubicBezTo>
                <a:cubicBezTo>
                  <a:pt x="47" y="272"/>
                  <a:pt x="50" y="264"/>
                  <a:pt x="53" y="257"/>
                </a:cubicBezTo>
                <a:cubicBezTo>
                  <a:pt x="66" y="233"/>
                  <a:pt x="91" y="217"/>
                  <a:pt x="108" y="215"/>
                </a:cubicBezTo>
                <a:cubicBezTo>
                  <a:pt x="115" y="214"/>
                  <a:pt x="119" y="208"/>
                  <a:pt x="119" y="202"/>
                </a:cubicBezTo>
                <a:cubicBezTo>
                  <a:pt x="119" y="202"/>
                  <a:pt x="119" y="202"/>
                  <a:pt x="119" y="201"/>
                </a:cubicBezTo>
                <a:cubicBezTo>
                  <a:pt x="119" y="195"/>
                  <a:pt x="114" y="189"/>
                  <a:pt x="108" y="188"/>
                </a:cubicBezTo>
                <a:cubicBezTo>
                  <a:pt x="84" y="185"/>
                  <a:pt x="49" y="168"/>
                  <a:pt x="34" y="145"/>
                </a:cubicBezTo>
                <a:cubicBezTo>
                  <a:pt x="29" y="138"/>
                  <a:pt x="27" y="131"/>
                  <a:pt x="27" y="124"/>
                </a:cubicBezTo>
                <a:cubicBezTo>
                  <a:pt x="27" y="122"/>
                  <a:pt x="27" y="120"/>
                  <a:pt x="28" y="118"/>
                </a:cubicBezTo>
                <a:cubicBezTo>
                  <a:pt x="39" y="108"/>
                  <a:pt x="57" y="108"/>
                  <a:pt x="67" y="109"/>
                </a:cubicBezTo>
                <a:cubicBezTo>
                  <a:pt x="96" y="111"/>
                  <a:pt x="123" y="127"/>
                  <a:pt x="131" y="140"/>
                </a:cubicBezTo>
                <a:cubicBezTo>
                  <a:pt x="135" y="146"/>
                  <a:pt x="143" y="148"/>
                  <a:pt x="149" y="145"/>
                </a:cubicBezTo>
                <a:cubicBezTo>
                  <a:pt x="153" y="142"/>
                  <a:pt x="156" y="138"/>
                  <a:pt x="156" y="133"/>
                </a:cubicBezTo>
                <a:cubicBezTo>
                  <a:pt x="156" y="131"/>
                  <a:pt x="155" y="129"/>
                  <a:pt x="154" y="127"/>
                </a:cubicBezTo>
                <a:cubicBezTo>
                  <a:pt x="150" y="119"/>
                  <a:pt x="147" y="106"/>
                  <a:pt x="147" y="92"/>
                </a:cubicBezTo>
                <a:cubicBezTo>
                  <a:pt x="147" y="79"/>
                  <a:pt x="149" y="66"/>
                  <a:pt x="154" y="55"/>
                </a:cubicBezTo>
                <a:cubicBezTo>
                  <a:pt x="161" y="41"/>
                  <a:pt x="171" y="32"/>
                  <a:pt x="184" y="28"/>
                </a:cubicBezTo>
                <a:cubicBezTo>
                  <a:pt x="195" y="31"/>
                  <a:pt x="204" y="39"/>
                  <a:pt x="210" y="51"/>
                </a:cubicBezTo>
                <a:cubicBezTo>
                  <a:pt x="215" y="62"/>
                  <a:pt x="217" y="75"/>
                  <a:pt x="217" y="88"/>
                </a:cubicBezTo>
                <a:cubicBezTo>
                  <a:pt x="217" y="104"/>
                  <a:pt x="214" y="121"/>
                  <a:pt x="209" y="132"/>
                </a:cubicBezTo>
                <a:cubicBezTo>
                  <a:pt x="208" y="134"/>
                  <a:pt x="208" y="136"/>
                  <a:pt x="208" y="138"/>
                </a:cubicBezTo>
                <a:cubicBezTo>
                  <a:pt x="208" y="142"/>
                  <a:pt x="209" y="145"/>
                  <a:pt x="213" y="148"/>
                </a:cubicBezTo>
                <a:cubicBezTo>
                  <a:pt x="217" y="152"/>
                  <a:pt x="224" y="152"/>
                  <a:pt x="229" y="149"/>
                </a:cubicBezTo>
                <a:cubicBezTo>
                  <a:pt x="261" y="127"/>
                  <a:pt x="296" y="110"/>
                  <a:pt x="339" y="138"/>
                </a:cubicBezTo>
                <a:cubicBezTo>
                  <a:pt x="335" y="177"/>
                  <a:pt x="293" y="199"/>
                  <a:pt x="255" y="203"/>
                </a:cubicBezTo>
                <a:cubicBezTo>
                  <a:pt x="248" y="204"/>
                  <a:pt x="243" y="209"/>
                  <a:pt x="243" y="215"/>
                </a:cubicBezTo>
                <a:cubicBezTo>
                  <a:pt x="243" y="216"/>
                  <a:pt x="243" y="216"/>
                  <a:pt x="243" y="217"/>
                </a:cubicBezTo>
                <a:cubicBezTo>
                  <a:pt x="243" y="222"/>
                  <a:pt x="246" y="227"/>
                  <a:pt x="252" y="229"/>
                </a:cubicBezTo>
                <a:cubicBezTo>
                  <a:pt x="287" y="241"/>
                  <a:pt x="305" y="266"/>
                  <a:pt x="305" y="302"/>
                </a:cubicBezTo>
                <a:cubicBezTo>
                  <a:pt x="305" y="306"/>
                  <a:pt x="305" y="309"/>
                  <a:pt x="304" y="313"/>
                </a:cubicBezTo>
                <a:cubicBezTo>
                  <a:pt x="250" y="324"/>
                  <a:pt x="216" y="286"/>
                  <a:pt x="205" y="264"/>
                </a:cubicBezTo>
                <a:cubicBezTo>
                  <a:pt x="203" y="260"/>
                  <a:pt x="200" y="257"/>
                  <a:pt x="195" y="257"/>
                </a:cubicBezTo>
                <a:cubicBezTo>
                  <a:pt x="191" y="256"/>
                  <a:pt x="187" y="258"/>
                  <a:pt x="184" y="261"/>
                </a:cubicBezTo>
                <a:cubicBezTo>
                  <a:pt x="174" y="271"/>
                  <a:pt x="161" y="293"/>
                  <a:pt x="161" y="319"/>
                </a:cubicBezTo>
                <a:cubicBezTo>
                  <a:pt x="161" y="326"/>
                  <a:pt x="162" y="333"/>
                  <a:pt x="164" y="340"/>
                </a:cubicBezTo>
                <a:cubicBezTo>
                  <a:pt x="141" y="336"/>
                  <a:pt x="109" y="337"/>
                  <a:pt x="85" y="359"/>
                </a:cubicBezTo>
                <a:cubicBezTo>
                  <a:pt x="83" y="361"/>
                  <a:pt x="81" y="364"/>
                  <a:pt x="81" y="368"/>
                </a:cubicBezTo>
                <a:cubicBezTo>
                  <a:pt x="81" y="372"/>
                  <a:pt x="82" y="375"/>
                  <a:pt x="84" y="378"/>
                </a:cubicBezTo>
                <a:cubicBezTo>
                  <a:pt x="86" y="380"/>
                  <a:pt x="130" y="427"/>
                  <a:pt x="200" y="414"/>
                </a:cubicBezTo>
                <a:cubicBezTo>
                  <a:pt x="204" y="421"/>
                  <a:pt x="210" y="434"/>
                  <a:pt x="212" y="449"/>
                </a:cubicBezTo>
                <a:cubicBezTo>
                  <a:pt x="213" y="456"/>
                  <a:pt x="220" y="461"/>
                  <a:pt x="227" y="460"/>
                </a:cubicBezTo>
                <a:cubicBezTo>
                  <a:pt x="234" y="459"/>
                  <a:pt x="239" y="452"/>
                  <a:pt x="238" y="445"/>
                </a:cubicBezTo>
                <a:cubicBezTo>
                  <a:pt x="234" y="415"/>
                  <a:pt x="218" y="392"/>
                  <a:pt x="217" y="391"/>
                </a:cubicBezTo>
                <a:cubicBezTo>
                  <a:pt x="214" y="386"/>
                  <a:pt x="208" y="384"/>
                  <a:pt x="203" y="385"/>
                </a:cubicBezTo>
                <a:cubicBezTo>
                  <a:pt x="163" y="396"/>
                  <a:pt x="132" y="381"/>
                  <a:pt x="116" y="370"/>
                </a:cubicBezTo>
                <a:cubicBezTo>
                  <a:pt x="145" y="358"/>
                  <a:pt x="181" y="371"/>
                  <a:pt x="182" y="372"/>
                </a:cubicBezTo>
                <a:cubicBezTo>
                  <a:pt x="187" y="374"/>
                  <a:pt x="193" y="372"/>
                  <a:pt x="197" y="368"/>
                </a:cubicBezTo>
                <a:cubicBezTo>
                  <a:pt x="199" y="365"/>
                  <a:pt x="200" y="362"/>
                  <a:pt x="200" y="359"/>
                </a:cubicBezTo>
                <a:cubicBezTo>
                  <a:pt x="200" y="357"/>
                  <a:pt x="199" y="354"/>
                  <a:pt x="198" y="352"/>
                </a:cubicBezTo>
                <a:cubicBezTo>
                  <a:pt x="190" y="340"/>
                  <a:pt x="188" y="329"/>
                  <a:pt x="188" y="319"/>
                </a:cubicBezTo>
                <a:cubicBezTo>
                  <a:pt x="188" y="310"/>
                  <a:pt x="190" y="301"/>
                  <a:pt x="193" y="295"/>
                </a:cubicBezTo>
                <a:cubicBezTo>
                  <a:pt x="215" y="323"/>
                  <a:pt x="259" y="354"/>
                  <a:pt x="320" y="337"/>
                </a:cubicBezTo>
                <a:cubicBezTo>
                  <a:pt x="325" y="336"/>
                  <a:pt x="329" y="331"/>
                  <a:pt x="330" y="326"/>
                </a:cubicBezTo>
                <a:cubicBezTo>
                  <a:pt x="331" y="318"/>
                  <a:pt x="331" y="310"/>
                  <a:pt x="331" y="302"/>
                </a:cubicBezTo>
                <a:cubicBezTo>
                  <a:pt x="331" y="283"/>
                  <a:pt x="327" y="265"/>
                  <a:pt x="319" y="250"/>
                </a:cubicBezTo>
                <a:cubicBezTo>
                  <a:pt x="312" y="239"/>
                  <a:pt x="304" y="229"/>
                  <a:pt x="294" y="222"/>
                </a:cubicBezTo>
                <a:cubicBezTo>
                  <a:pt x="308" y="217"/>
                  <a:pt x="320" y="210"/>
                  <a:pt x="331" y="202"/>
                </a:cubicBezTo>
                <a:cubicBezTo>
                  <a:pt x="354" y="183"/>
                  <a:pt x="366" y="159"/>
                  <a:pt x="366" y="131"/>
                </a:cubicBezTo>
                <a:cubicBezTo>
                  <a:pt x="366" y="127"/>
                  <a:pt x="364" y="123"/>
                  <a:pt x="361" y="121"/>
                </a:cubicBezTo>
                <a:cubicBezTo>
                  <a:pt x="316" y="87"/>
                  <a:pt x="276" y="94"/>
                  <a:pt x="242" y="110"/>
                </a:cubicBezTo>
                <a:cubicBezTo>
                  <a:pt x="243" y="103"/>
                  <a:pt x="244" y="95"/>
                  <a:pt x="244" y="88"/>
                </a:cubicBezTo>
                <a:cubicBezTo>
                  <a:pt x="244" y="71"/>
                  <a:pt x="241" y="54"/>
                  <a:pt x="234" y="39"/>
                </a:cubicBezTo>
                <a:cubicBezTo>
                  <a:pt x="224" y="19"/>
                  <a:pt x="208" y="6"/>
                  <a:pt x="187" y="1"/>
                </a:cubicBezTo>
                <a:cubicBezTo>
                  <a:pt x="184" y="0"/>
                  <a:pt x="182" y="0"/>
                  <a:pt x="180" y="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49" name="Freeform 393"/>
          <p:cNvSpPr>
            <a:spLocks/>
          </p:cNvSpPr>
          <p:nvPr userDrawn="1"/>
        </p:nvSpPr>
        <p:spPr bwMode="auto">
          <a:xfrm>
            <a:off x="4424757" y="5181017"/>
            <a:ext cx="514350" cy="284163"/>
          </a:xfrm>
          <a:custGeom>
            <a:avLst/>
            <a:gdLst/>
            <a:ahLst/>
            <a:cxnLst>
              <a:cxn ang="0">
                <a:pos x="8" y="95"/>
              </a:cxn>
              <a:cxn ang="0">
                <a:pos x="0" y="107"/>
              </a:cxn>
              <a:cxn ang="0">
                <a:pos x="36" y="134"/>
              </a:cxn>
              <a:cxn ang="0">
                <a:pos x="61" y="146"/>
              </a:cxn>
              <a:cxn ang="0">
                <a:pos x="65" y="193"/>
              </a:cxn>
              <a:cxn ang="0">
                <a:pos x="65" y="193"/>
              </a:cxn>
              <a:cxn ang="0">
                <a:pos x="62" y="209"/>
              </a:cxn>
              <a:cxn ang="0">
                <a:pos x="51" y="220"/>
              </a:cxn>
              <a:cxn ang="0">
                <a:pos x="45" y="238"/>
              </a:cxn>
              <a:cxn ang="0">
                <a:pos x="59" y="251"/>
              </a:cxn>
              <a:cxn ang="0">
                <a:pos x="107" y="246"/>
              </a:cxn>
              <a:cxn ang="0">
                <a:pos x="110" y="236"/>
              </a:cxn>
              <a:cxn ang="0">
                <a:pos x="104" y="218"/>
              </a:cxn>
              <a:cxn ang="0">
                <a:pos x="92" y="206"/>
              </a:cxn>
              <a:cxn ang="0">
                <a:pos x="93" y="200"/>
              </a:cxn>
              <a:cxn ang="0">
                <a:pos x="92" y="184"/>
              </a:cxn>
              <a:cxn ang="0">
                <a:pos x="122" y="134"/>
              </a:cxn>
              <a:cxn ang="0">
                <a:pos x="265" y="109"/>
              </a:cxn>
              <a:cxn ang="0">
                <a:pos x="338" y="130"/>
              </a:cxn>
              <a:cxn ang="0">
                <a:pos x="350" y="106"/>
              </a:cxn>
              <a:cxn ang="0">
                <a:pos x="340" y="101"/>
              </a:cxn>
              <a:cxn ang="0">
                <a:pos x="110" y="110"/>
              </a:cxn>
              <a:cxn ang="0">
                <a:pos x="76" y="123"/>
              </a:cxn>
              <a:cxn ang="0">
                <a:pos x="45" y="108"/>
              </a:cxn>
              <a:cxn ang="0">
                <a:pos x="413" y="107"/>
              </a:cxn>
              <a:cxn ang="0">
                <a:pos x="329" y="160"/>
              </a:cxn>
              <a:cxn ang="0">
                <a:pos x="149" y="207"/>
              </a:cxn>
              <a:cxn ang="0">
                <a:pos x="134" y="141"/>
              </a:cxn>
              <a:cxn ang="0">
                <a:pos x="123" y="221"/>
              </a:cxn>
              <a:cxn ang="0">
                <a:pos x="343" y="234"/>
              </a:cxn>
              <a:cxn ang="0">
                <a:pos x="356" y="168"/>
              </a:cxn>
              <a:cxn ang="0">
                <a:pos x="457" y="106"/>
              </a:cxn>
              <a:cxn ang="0">
                <a:pos x="449" y="94"/>
              </a:cxn>
              <a:cxn ang="0">
                <a:pos x="235" y="1"/>
              </a:cxn>
            </a:cxnLst>
            <a:rect l="0" t="0" r="r" b="b"/>
            <a:pathLst>
              <a:path w="457" h="251">
                <a:moveTo>
                  <a:pt x="235" y="1"/>
                </a:moveTo>
                <a:cubicBezTo>
                  <a:pt x="8" y="95"/>
                  <a:pt x="8" y="95"/>
                  <a:pt x="8" y="95"/>
                </a:cubicBezTo>
                <a:cubicBezTo>
                  <a:pt x="3" y="97"/>
                  <a:pt x="0" y="101"/>
                  <a:pt x="0" y="106"/>
                </a:cubicBezTo>
                <a:cubicBezTo>
                  <a:pt x="0" y="107"/>
                  <a:pt x="0" y="107"/>
                  <a:pt x="0" y="107"/>
                </a:cubicBezTo>
                <a:cubicBezTo>
                  <a:pt x="0" y="112"/>
                  <a:pt x="3" y="116"/>
                  <a:pt x="7" y="119"/>
                </a:cubicBezTo>
                <a:cubicBezTo>
                  <a:pt x="36" y="134"/>
                  <a:pt x="36" y="134"/>
                  <a:pt x="36" y="134"/>
                </a:cubicBezTo>
                <a:cubicBezTo>
                  <a:pt x="57" y="144"/>
                  <a:pt x="57" y="144"/>
                  <a:pt x="57" y="144"/>
                </a:cubicBezTo>
                <a:cubicBezTo>
                  <a:pt x="58" y="145"/>
                  <a:pt x="60" y="146"/>
                  <a:pt x="61" y="146"/>
                </a:cubicBezTo>
                <a:cubicBezTo>
                  <a:pt x="61" y="155"/>
                  <a:pt x="62" y="171"/>
                  <a:pt x="62" y="185"/>
                </a:cubicBezTo>
                <a:cubicBezTo>
                  <a:pt x="63" y="188"/>
                  <a:pt x="63" y="191"/>
                  <a:pt x="65" y="193"/>
                </a:cubicBezTo>
                <a:cubicBezTo>
                  <a:pt x="65" y="193"/>
                  <a:pt x="65" y="193"/>
                  <a:pt x="65" y="193"/>
                </a:cubicBezTo>
                <a:cubicBezTo>
                  <a:pt x="65" y="193"/>
                  <a:pt x="65" y="193"/>
                  <a:pt x="65" y="193"/>
                </a:cubicBezTo>
                <a:cubicBezTo>
                  <a:pt x="63" y="195"/>
                  <a:pt x="62" y="198"/>
                  <a:pt x="62" y="201"/>
                </a:cubicBezTo>
                <a:cubicBezTo>
                  <a:pt x="62" y="201"/>
                  <a:pt x="62" y="205"/>
                  <a:pt x="62" y="209"/>
                </a:cubicBezTo>
                <a:cubicBezTo>
                  <a:pt x="59" y="212"/>
                  <a:pt x="55" y="215"/>
                  <a:pt x="55" y="215"/>
                </a:cubicBezTo>
                <a:cubicBezTo>
                  <a:pt x="53" y="217"/>
                  <a:pt x="52" y="218"/>
                  <a:pt x="51" y="220"/>
                </a:cubicBezTo>
                <a:cubicBezTo>
                  <a:pt x="46" y="233"/>
                  <a:pt x="46" y="233"/>
                  <a:pt x="46" y="233"/>
                </a:cubicBezTo>
                <a:cubicBezTo>
                  <a:pt x="46" y="234"/>
                  <a:pt x="45" y="236"/>
                  <a:pt x="45" y="238"/>
                </a:cubicBezTo>
                <a:cubicBezTo>
                  <a:pt x="45" y="240"/>
                  <a:pt x="46" y="243"/>
                  <a:pt x="48" y="245"/>
                </a:cubicBezTo>
                <a:cubicBezTo>
                  <a:pt x="50" y="249"/>
                  <a:pt x="54" y="251"/>
                  <a:pt x="59" y="251"/>
                </a:cubicBezTo>
                <a:cubicBezTo>
                  <a:pt x="96" y="251"/>
                  <a:pt x="96" y="251"/>
                  <a:pt x="96" y="251"/>
                </a:cubicBezTo>
                <a:cubicBezTo>
                  <a:pt x="100" y="251"/>
                  <a:pt x="104" y="249"/>
                  <a:pt x="107" y="246"/>
                </a:cubicBezTo>
                <a:cubicBezTo>
                  <a:pt x="109" y="244"/>
                  <a:pt x="110" y="241"/>
                  <a:pt x="110" y="238"/>
                </a:cubicBezTo>
                <a:cubicBezTo>
                  <a:pt x="110" y="237"/>
                  <a:pt x="110" y="236"/>
                  <a:pt x="110" y="236"/>
                </a:cubicBezTo>
                <a:cubicBezTo>
                  <a:pt x="108" y="226"/>
                  <a:pt x="108" y="226"/>
                  <a:pt x="108" y="226"/>
                </a:cubicBezTo>
                <a:cubicBezTo>
                  <a:pt x="107" y="223"/>
                  <a:pt x="106" y="220"/>
                  <a:pt x="104" y="218"/>
                </a:cubicBezTo>
                <a:cubicBezTo>
                  <a:pt x="104" y="218"/>
                  <a:pt x="97" y="212"/>
                  <a:pt x="93" y="208"/>
                </a:cubicBezTo>
                <a:cubicBezTo>
                  <a:pt x="93" y="207"/>
                  <a:pt x="93" y="207"/>
                  <a:pt x="92" y="206"/>
                </a:cubicBezTo>
                <a:cubicBezTo>
                  <a:pt x="93" y="205"/>
                  <a:pt x="93" y="203"/>
                  <a:pt x="93" y="202"/>
                </a:cubicBezTo>
                <a:cubicBezTo>
                  <a:pt x="93" y="201"/>
                  <a:pt x="93" y="200"/>
                  <a:pt x="93" y="200"/>
                </a:cubicBezTo>
                <a:cubicBezTo>
                  <a:pt x="93" y="200"/>
                  <a:pt x="92" y="191"/>
                  <a:pt x="92" y="189"/>
                </a:cubicBezTo>
                <a:cubicBezTo>
                  <a:pt x="92" y="187"/>
                  <a:pt x="92" y="186"/>
                  <a:pt x="92" y="184"/>
                </a:cubicBezTo>
                <a:cubicBezTo>
                  <a:pt x="92" y="184"/>
                  <a:pt x="93" y="157"/>
                  <a:pt x="93" y="145"/>
                </a:cubicBezTo>
                <a:cubicBezTo>
                  <a:pt x="101" y="142"/>
                  <a:pt x="113" y="138"/>
                  <a:pt x="122" y="134"/>
                </a:cubicBezTo>
                <a:cubicBezTo>
                  <a:pt x="122" y="134"/>
                  <a:pt x="122" y="134"/>
                  <a:pt x="122" y="134"/>
                </a:cubicBezTo>
                <a:cubicBezTo>
                  <a:pt x="166" y="111"/>
                  <a:pt x="214" y="103"/>
                  <a:pt x="265" y="109"/>
                </a:cubicBezTo>
                <a:cubicBezTo>
                  <a:pt x="302" y="113"/>
                  <a:pt x="327" y="124"/>
                  <a:pt x="328" y="125"/>
                </a:cubicBezTo>
                <a:cubicBezTo>
                  <a:pt x="329" y="125"/>
                  <a:pt x="338" y="130"/>
                  <a:pt x="338" y="130"/>
                </a:cubicBezTo>
                <a:cubicBezTo>
                  <a:pt x="344" y="133"/>
                  <a:pt x="352" y="130"/>
                  <a:pt x="356" y="124"/>
                </a:cubicBezTo>
                <a:cubicBezTo>
                  <a:pt x="359" y="117"/>
                  <a:pt x="356" y="109"/>
                  <a:pt x="350" y="106"/>
                </a:cubicBezTo>
                <a:cubicBezTo>
                  <a:pt x="340" y="101"/>
                  <a:pt x="340" y="101"/>
                  <a:pt x="340" y="101"/>
                </a:cubicBezTo>
                <a:cubicBezTo>
                  <a:pt x="340" y="101"/>
                  <a:pt x="340" y="101"/>
                  <a:pt x="340" y="101"/>
                </a:cubicBezTo>
                <a:cubicBezTo>
                  <a:pt x="338" y="100"/>
                  <a:pt x="311" y="88"/>
                  <a:pt x="269" y="82"/>
                </a:cubicBezTo>
                <a:cubicBezTo>
                  <a:pt x="230" y="78"/>
                  <a:pt x="171" y="79"/>
                  <a:pt x="110" y="110"/>
                </a:cubicBezTo>
                <a:cubicBezTo>
                  <a:pt x="110" y="110"/>
                  <a:pt x="110" y="110"/>
                  <a:pt x="110" y="110"/>
                </a:cubicBezTo>
                <a:cubicBezTo>
                  <a:pt x="98" y="116"/>
                  <a:pt x="76" y="123"/>
                  <a:pt x="76" y="123"/>
                </a:cubicBezTo>
                <a:cubicBezTo>
                  <a:pt x="76" y="123"/>
                  <a:pt x="75" y="123"/>
                  <a:pt x="75" y="123"/>
                </a:cubicBezTo>
                <a:cubicBezTo>
                  <a:pt x="71" y="122"/>
                  <a:pt x="59" y="116"/>
                  <a:pt x="45" y="108"/>
                </a:cubicBezTo>
                <a:cubicBezTo>
                  <a:pt x="85" y="92"/>
                  <a:pt x="231" y="32"/>
                  <a:pt x="240" y="28"/>
                </a:cubicBezTo>
                <a:cubicBezTo>
                  <a:pt x="249" y="32"/>
                  <a:pt x="376" y="90"/>
                  <a:pt x="413" y="107"/>
                </a:cubicBezTo>
                <a:cubicBezTo>
                  <a:pt x="385" y="122"/>
                  <a:pt x="336" y="148"/>
                  <a:pt x="336" y="148"/>
                </a:cubicBezTo>
                <a:cubicBezTo>
                  <a:pt x="332" y="150"/>
                  <a:pt x="329" y="155"/>
                  <a:pt x="329" y="160"/>
                </a:cubicBezTo>
                <a:cubicBezTo>
                  <a:pt x="329" y="160"/>
                  <a:pt x="329" y="191"/>
                  <a:pt x="329" y="207"/>
                </a:cubicBezTo>
                <a:cubicBezTo>
                  <a:pt x="308" y="207"/>
                  <a:pt x="170" y="207"/>
                  <a:pt x="149" y="207"/>
                </a:cubicBezTo>
                <a:cubicBezTo>
                  <a:pt x="148" y="190"/>
                  <a:pt x="148" y="154"/>
                  <a:pt x="148" y="154"/>
                </a:cubicBezTo>
                <a:cubicBezTo>
                  <a:pt x="147" y="146"/>
                  <a:pt x="141" y="140"/>
                  <a:pt x="134" y="141"/>
                </a:cubicBezTo>
                <a:cubicBezTo>
                  <a:pt x="127" y="141"/>
                  <a:pt x="121" y="147"/>
                  <a:pt x="121" y="154"/>
                </a:cubicBezTo>
                <a:cubicBezTo>
                  <a:pt x="123" y="221"/>
                  <a:pt x="123" y="221"/>
                  <a:pt x="123" y="221"/>
                </a:cubicBezTo>
                <a:cubicBezTo>
                  <a:pt x="123" y="228"/>
                  <a:pt x="129" y="234"/>
                  <a:pt x="136" y="234"/>
                </a:cubicBezTo>
                <a:cubicBezTo>
                  <a:pt x="343" y="234"/>
                  <a:pt x="343" y="234"/>
                  <a:pt x="343" y="234"/>
                </a:cubicBezTo>
                <a:cubicBezTo>
                  <a:pt x="350" y="234"/>
                  <a:pt x="356" y="228"/>
                  <a:pt x="356" y="220"/>
                </a:cubicBezTo>
                <a:cubicBezTo>
                  <a:pt x="356" y="220"/>
                  <a:pt x="356" y="180"/>
                  <a:pt x="356" y="168"/>
                </a:cubicBezTo>
                <a:cubicBezTo>
                  <a:pt x="368" y="161"/>
                  <a:pt x="450" y="118"/>
                  <a:pt x="450" y="118"/>
                </a:cubicBezTo>
                <a:cubicBezTo>
                  <a:pt x="454" y="116"/>
                  <a:pt x="457" y="111"/>
                  <a:pt x="457" y="106"/>
                </a:cubicBezTo>
                <a:cubicBezTo>
                  <a:pt x="457" y="106"/>
                  <a:pt x="457" y="106"/>
                  <a:pt x="457" y="106"/>
                </a:cubicBezTo>
                <a:cubicBezTo>
                  <a:pt x="457" y="101"/>
                  <a:pt x="453" y="96"/>
                  <a:pt x="449" y="94"/>
                </a:cubicBezTo>
                <a:cubicBezTo>
                  <a:pt x="246" y="1"/>
                  <a:pt x="246" y="1"/>
                  <a:pt x="246" y="1"/>
                </a:cubicBezTo>
                <a:cubicBezTo>
                  <a:pt x="242" y="0"/>
                  <a:pt x="239" y="0"/>
                  <a:pt x="235" y="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50" name="Freeform 433"/>
          <p:cNvSpPr>
            <a:spLocks/>
          </p:cNvSpPr>
          <p:nvPr userDrawn="1"/>
        </p:nvSpPr>
        <p:spPr bwMode="auto">
          <a:xfrm>
            <a:off x="4532707" y="3676310"/>
            <a:ext cx="298450" cy="520700"/>
          </a:xfrm>
          <a:custGeom>
            <a:avLst/>
            <a:gdLst/>
            <a:ahLst/>
            <a:cxnLst>
              <a:cxn ang="0">
                <a:pos x="251" y="293"/>
              </a:cxn>
              <a:cxn ang="0">
                <a:pos x="233" y="293"/>
              </a:cxn>
              <a:cxn ang="0">
                <a:pos x="241" y="274"/>
              </a:cxn>
              <a:cxn ang="0">
                <a:pos x="241" y="265"/>
              </a:cxn>
              <a:cxn ang="0">
                <a:pos x="195" y="115"/>
              </a:cxn>
              <a:cxn ang="0">
                <a:pos x="195" y="14"/>
              </a:cxn>
              <a:cxn ang="0">
                <a:pos x="182" y="0"/>
              </a:cxn>
              <a:cxn ang="0">
                <a:pos x="168" y="14"/>
              </a:cxn>
              <a:cxn ang="0">
                <a:pos x="168" y="36"/>
              </a:cxn>
              <a:cxn ang="0">
                <a:pos x="154" y="25"/>
              </a:cxn>
              <a:cxn ang="0">
                <a:pos x="136" y="29"/>
              </a:cxn>
              <a:cxn ang="0">
                <a:pos x="139" y="47"/>
              </a:cxn>
              <a:cxn ang="0">
                <a:pos x="168" y="68"/>
              </a:cxn>
              <a:cxn ang="0">
                <a:pos x="168" y="117"/>
              </a:cxn>
              <a:cxn ang="0">
                <a:pos x="169" y="121"/>
              </a:cxn>
              <a:cxn ang="0">
                <a:pos x="214" y="268"/>
              </a:cxn>
              <a:cxn ang="0">
                <a:pos x="169" y="384"/>
              </a:cxn>
              <a:cxn ang="0">
                <a:pos x="171" y="397"/>
              </a:cxn>
              <a:cxn ang="0">
                <a:pos x="201" y="434"/>
              </a:cxn>
              <a:cxn ang="0">
                <a:pos x="64" y="434"/>
              </a:cxn>
              <a:cxn ang="0">
                <a:pos x="94" y="397"/>
              </a:cxn>
              <a:cxn ang="0">
                <a:pos x="96" y="384"/>
              </a:cxn>
              <a:cxn ang="0">
                <a:pos x="51" y="268"/>
              </a:cxn>
              <a:cxn ang="0">
                <a:pos x="96" y="121"/>
              </a:cxn>
              <a:cxn ang="0">
                <a:pos x="96" y="117"/>
              </a:cxn>
              <a:cxn ang="0">
                <a:pos x="96" y="68"/>
              </a:cxn>
              <a:cxn ang="0">
                <a:pos x="126" y="47"/>
              </a:cxn>
              <a:cxn ang="0">
                <a:pos x="130" y="29"/>
              </a:cxn>
              <a:cxn ang="0">
                <a:pos x="111" y="25"/>
              </a:cxn>
              <a:cxn ang="0">
                <a:pos x="96" y="36"/>
              </a:cxn>
              <a:cxn ang="0">
                <a:pos x="96" y="14"/>
              </a:cxn>
              <a:cxn ang="0">
                <a:pos x="83" y="0"/>
              </a:cxn>
              <a:cxn ang="0">
                <a:pos x="70" y="14"/>
              </a:cxn>
              <a:cxn ang="0">
                <a:pos x="70" y="115"/>
              </a:cxn>
              <a:cxn ang="0">
                <a:pos x="24" y="265"/>
              </a:cxn>
              <a:cxn ang="0">
                <a:pos x="24" y="274"/>
              </a:cxn>
              <a:cxn ang="0">
                <a:pos x="32" y="293"/>
              </a:cxn>
              <a:cxn ang="0">
                <a:pos x="14" y="293"/>
              </a:cxn>
              <a:cxn ang="0">
                <a:pos x="0" y="307"/>
              </a:cxn>
              <a:cxn ang="0">
                <a:pos x="14" y="320"/>
              </a:cxn>
              <a:cxn ang="0">
                <a:pos x="42" y="320"/>
              </a:cxn>
              <a:cxn ang="0">
                <a:pos x="68" y="386"/>
              </a:cxn>
              <a:cxn ang="0">
                <a:pos x="26" y="440"/>
              </a:cxn>
              <a:cxn ang="0">
                <a:pos x="25" y="454"/>
              </a:cxn>
              <a:cxn ang="0">
                <a:pos x="37" y="461"/>
              </a:cxn>
              <a:cxn ang="0">
                <a:pos x="229" y="461"/>
              </a:cxn>
              <a:cxn ang="0">
                <a:pos x="240" y="454"/>
              </a:cxn>
              <a:cxn ang="0">
                <a:pos x="239" y="439"/>
              </a:cxn>
              <a:cxn ang="0">
                <a:pos x="197" y="386"/>
              </a:cxn>
              <a:cxn ang="0">
                <a:pos x="223" y="320"/>
              </a:cxn>
              <a:cxn ang="0">
                <a:pos x="251" y="320"/>
              </a:cxn>
              <a:cxn ang="0">
                <a:pos x="264" y="307"/>
              </a:cxn>
              <a:cxn ang="0">
                <a:pos x="251" y="293"/>
              </a:cxn>
            </a:cxnLst>
            <a:rect l="0" t="0" r="r" b="b"/>
            <a:pathLst>
              <a:path w="264" h="461">
                <a:moveTo>
                  <a:pt x="251" y="293"/>
                </a:moveTo>
                <a:cubicBezTo>
                  <a:pt x="233" y="293"/>
                  <a:pt x="233" y="293"/>
                  <a:pt x="233" y="293"/>
                </a:cubicBezTo>
                <a:cubicBezTo>
                  <a:pt x="241" y="274"/>
                  <a:pt x="241" y="274"/>
                  <a:pt x="241" y="274"/>
                </a:cubicBezTo>
                <a:cubicBezTo>
                  <a:pt x="242" y="271"/>
                  <a:pt x="242" y="268"/>
                  <a:pt x="241" y="265"/>
                </a:cubicBezTo>
                <a:cubicBezTo>
                  <a:pt x="195" y="115"/>
                  <a:pt x="195" y="115"/>
                  <a:pt x="195" y="115"/>
                </a:cubicBezTo>
                <a:cubicBezTo>
                  <a:pt x="195" y="14"/>
                  <a:pt x="195" y="14"/>
                  <a:pt x="195" y="14"/>
                </a:cubicBezTo>
                <a:cubicBezTo>
                  <a:pt x="195" y="6"/>
                  <a:pt x="189" y="0"/>
                  <a:pt x="182" y="0"/>
                </a:cubicBezTo>
                <a:cubicBezTo>
                  <a:pt x="174" y="0"/>
                  <a:pt x="168" y="6"/>
                  <a:pt x="168" y="14"/>
                </a:cubicBezTo>
                <a:cubicBezTo>
                  <a:pt x="168" y="36"/>
                  <a:pt x="168" y="36"/>
                  <a:pt x="168" y="36"/>
                </a:cubicBezTo>
                <a:cubicBezTo>
                  <a:pt x="154" y="25"/>
                  <a:pt x="154" y="25"/>
                  <a:pt x="154" y="25"/>
                </a:cubicBezTo>
                <a:cubicBezTo>
                  <a:pt x="148" y="21"/>
                  <a:pt x="140" y="23"/>
                  <a:pt x="136" y="29"/>
                </a:cubicBezTo>
                <a:cubicBezTo>
                  <a:pt x="131" y="35"/>
                  <a:pt x="133" y="43"/>
                  <a:pt x="139" y="47"/>
                </a:cubicBezTo>
                <a:cubicBezTo>
                  <a:pt x="168" y="68"/>
                  <a:pt x="168" y="68"/>
                  <a:pt x="168" y="68"/>
                </a:cubicBezTo>
                <a:cubicBezTo>
                  <a:pt x="168" y="117"/>
                  <a:pt x="168" y="117"/>
                  <a:pt x="168" y="117"/>
                </a:cubicBezTo>
                <a:cubicBezTo>
                  <a:pt x="168" y="118"/>
                  <a:pt x="169" y="120"/>
                  <a:pt x="169" y="121"/>
                </a:cubicBezTo>
                <a:cubicBezTo>
                  <a:pt x="214" y="268"/>
                  <a:pt x="214" y="268"/>
                  <a:pt x="214" y="268"/>
                </a:cubicBezTo>
                <a:cubicBezTo>
                  <a:pt x="169" y="384"/>
                  <a:pt x="169" y="384"/>
                  <a:pt x="169" y="384"/>
                </a:cubicBezTo>
                <a:cubicBezTo>
                  <a:pt x="168" y="388"/>
                  <a:pt x="168" y="393"/>
                  <a:pt x="171" y="397"/>
                </a:cubicBezTo>
                <a:cubicBezTo>
                  <a:pt x="201" y="434"/>
                  <a:pt x="201" y="434"/>
                  <a:pt x="201" y="434"/>
                </a:cubicBezTo>
                <a:cubicBezTo>
                  <a:pt x="64" y="434"/>
                  <a:pt x="64" y="434"/>
                  <a:pt x="64" y="434"/>
                </a:cubicBezTo>
                <a:cubicBezTo>
                  <a:pt x="94" y="397"/>
                  <a:pt x="94" y="397"/>
                  <a:pt x="94" y="397"/>
                </a:cubicBezTo>
                <a:cubicBezTo>
                  <a:pt x="96" y="393"/>
                  <a:pt x="97" y="388"/>
                  <a:pt x="96" y="384"/>
                </a:cubicBezTo>
                <a:cubicBezTo>
                  <a:pt x="51" y="268"/>
                  <a:pt x="51" y="268"/>
                  <a:pt x="51" y="268"/>
                </a:cubicBezTo>
                <a:cubicBezTo>
                  <a:pt x="96" y="121"/>
                  <a:pt x="96" y="121"/>
                  <a:pt x="96" y="121"/>
                </a:cubicBezTo>
                <a:cubicBezTo>
                  <a:pt x="96" y="120"/>
                  <a:pt x="96" y="118"/>
                  <a:pt x="96" y="117"/>
                </a:cubicBezTo>
                <a:cubicBezTo>
                  <a:pt x="96" y="68"/>
                  <a:pt x="96" y="68"/>
                  <a:pt x="96" y="68"/>
                </a:cubicBezTo>
                <a:cubicBezTo>
                  <a:pt x="126" y="47"/>
                  <a:pt x="126" y="47"/>
                  <a:pt x="126" y="47"/>
                </a:cubicBezTo>
                <a:cubicBezTo>
                  <a:pt x="132" y="43"/>
                  <a:pt x="134" y="35"/>
                  <a:pt x="130" y="29"/>
                </a:cubicBezTo>
                <a:cubicBezTo>
                  <a:pt x="125" y="23"/>
                  <a:pt x="117" y="21"/>
                  <a:pt x="111" y="25"/>
                </a:cubicBezTo>
                <a:cubicBezTo>
                  <a:pt x="96" y="36"/>
                  <a:pt x="96" y="36"/>
                  <a:pt x="96" y="36"/>
                </a:cubicBezTo>
                <a:cubicBezTo>
                  <a:pt x="96" y="14"/>
                  <a:pt x="96" y="14"/>
                  <a:pt x="96" y="14"/>
                </a:cubicBezTo>
                <a:cubicBezTo>
                  <a:pt x="96" y="6"/>
                  <a:pt x="90" y="0"/>
                  <a:pt x="83" y="0"/>
                </a:cubicBezTo>
                <a:cubicBezTo>
                  <a:pt x="76" y="0"/>
                  <a:pt x="70" y="6"/>
                  <a:pt x="70" y="14"/>
                </a:cubicBezTo>
                <a:cubicBezTo>
                  <a:pt x="70" y="115"/>
                  <a:pt x="70" y="115"/>
                  <a:pt x="70" y="115"/>
                </a:cubicBezTo>
                <a:cubicBezTo>
                  <a:pt x="24" y="265"/>
                  <a:pt x="24" y="265"/>
                  <a:pt x="24" y="265"/>
                </a:cubicBezTo>
                <a:cubicBezTo>
                  <a:pt x="23" y="268"/>
                  <a:pt x="23" y="271"/>
                  <a:pt x="24" y="274"/>
                </a:cubicBezTo>
                <a:cubicBezTo>
                  <a:pt x="32" y="293"/>
                  <a:pt x="32" y="293"/>
                  <a:pt x="32" y="293"/>
                </a:cubicBezTo>
                <a:cubicBezTo>
                  <a:pt x="14" y="293"/>
                  <a:pt x="14" y="293"/>
                  <a:pt x="14" y="293"/>
                </a:cubicBezTo>
                <a:cubicBezTo>
                  <a:pt x="6" y="293"/>
                  <a:pt x="0" y="299"/>
                  <a:pt x="0" y="307"/>
                </a:cubicBezTo>
                <a:cubicBezTo>
                  <a:pt x="0" y="314"/>
                  <a:pt x="6" y="320"/>
                  <a:pt x="14" y="320"/>
                </a:cubicBezTo>
                <a:cubicBezTo>
                  <a:pt x="42" y="320"/>
                  <a:pt x="42" y="320"/>
                  <a:pt x="42" y="320"/>
                </a:cubicBezTo>
                <a:cubicBezTo>
                  <a:pt x="68" y="386"/>
                  <a:pt x="68" y="386"/>
                  <a:pt x="68" y="386"/>
                </a:cubicBezTo>
                <a:cubicBezTo>
                  <a:pt x="26" y="440"/>
                  <a:pt x="26" y="440"/>
                  <a:pt x="26" y="440"/>
                </a:cubicBezTo>
                <a:cubicBezTo>
                  <a:pt x="23" y="444"/>
                  <a:pt x="23" y="449"/>
                  <a:pt x="25" y="454"/>
                </a:cubicBezTo>
                <a:cubicBezTo>
                  <a:pt x="27" y="458"/>
                  <a:pt x="32" y="461"/>
                  <a:pt x="37" y="461"/>
                </a:cubicBezTo>
                <a:cubicBezTo>
                  <a:pt x="229" y="461"/>
                  <a:pt x="229" y="461"/>
                  <a:pt x="229" y="461"/>
                </a:cubicBezTo>
                <a:cubicBezTo>
                  <a:pt x="234" y="461"/>
                  <a:pt x="238" y="458"/>
                  <a:pt x="240" y="454"/>
                </a:cubicBezTo>
                <a:cubicBezTo>
                  <a:pt x="243" y="449"/>
                  <a:pt x="242" y="443"/>
                  <a:pt x="239" y="439"/>
                </a:cubicBezTo>
                <a:cubicBezTo>
                  <a:pt x="197" y="386"/>
                  <a:pt x="197" y="386"/>
                  <a:pt x="197" y="386"/>
                </a:cubicBezTo>
                <a:cubicBezTo>
                  <a:pt x="223" y="320"/>
                  <a:pt x="223" y="320"/>
                  <a:pt x="223" y="320"/>
                </a:cubicBezTo>
                <a:cubicBezTo>
                  <a:pt x="251" y="320"/>
                  <a:pt x="251" y="320"/>
                  <a:pt x="251" y="320"/>
                </a:cubicBezTo>
                <a:cubicBezTo>
                  <a:pt x="258" y="320"/>
                  <a:pt x="264" y="314"/>
                  <a:pt x="264" y="307"/>
                </a:cubicBezTo>
                <a:cubicBezTo>
                  <a:pt x="264" y="299"/>
                  <a:pt x="258" y="293"/>
                  <a:pt x="251" y="29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51" name="Freeform 251"/>
          <p:cNvSpPr>
            <a:spLocks/>
          </p:cNvSpPr>
          <p:nvPr userDrawn="1"/>
        </p:nvSpPr>
        <p:spPr bwMode="auto">
          <a:xfrm>
            <a:off x="5070032" y="1189437"/>
            <a:ext cx="514350" cy="465139"/>
          </a:xfrm>
          <a:custGeom>
            <a:avLst/>
            <a:gdLst/>
            <a:ahLst/>
            <a:cxnLst>
              <a:cxn ang="0">
                <a:pos x="113" y="0"/>
              </a:cxn>
              <a:cxn ang="0">
                <a:pos x="69" y="44"/>
              </a:cxn>
              <a:cxn ang="0">
                <a:pos x="69" y="298"/>
              </a:cxn>
              <a:cxn ang="0">
                <a:pos x="83" y="312"/>
              </a:cxn>
              <a:cxn ang="0">
                <a:pos x="96" y="298"/>
              </a:cxn>
              <a:cxn ang="0">
                <a:pos x="96" y="44"/>
              </a:cxn>
              <a:cxn ang="0">
                <a:pos x="113" y="27"/>
              </a:cxn>
              <a:cxn ang="0">
                <a:pos x="152" y="27"/>
              </a:cxn>
              <a:cxn ang="0">
                <a:pos x="169" y="44"/>
              </a:cxn>
              <a:cxn ang="0">
                <a:pos x="169" y="298"/>
              </a:cxn>
              <a:cxn ang="0">
                <a:pos x="183" y="312"/>
              </a:cxn>
              <a:cxn ang="0">
                <a:pos x="246" y="312"/>
              </a:cxn>
              <a:cxn ang="0">
                <a:pos x="259" y="298"/>
              </a:cxn>
              <a:cxn ang="0">
                <a:pos x="259" y="194"/>
              </a:cxn>
              <a:cxn ang="0">
                <a:pos x="301" y="194"/>
              </a:cxn>
              <a:cxn ang="0">
                <a:pos x="301" y="298"/>
              </a:cxn>
              <a:cxn ang="0">
                <a:pos x="314" y="312"/>
              </a:cxn>
              <a:cxn ang="0">
                <a:pos x="375" y="312"/>
              </a:cxn>
              <a:cxn ang="0">
                <a:pos x="388" y="298"/>
              </a:cxn>
              <a:cxn ang="0">
                <a:pos x="388" y="194"/>
              </a:cxn>
              <a:cxn ang="0">
                <a:pos x="430" y="194"/>
              </a:cxn>
              <a:cxn ang="0">
                <a:pos x="430" y="340"/>
              </a:cxn>
              <a:cxn ang="0">
                <a:pos x="42" y="340"/>
              </a:cxn>
              <a:cxn ang="0">
                <a:pos x="31" y="346"/>
              </a:cxn>
              <a:cxn ang="0">
                <a:pos x="3" y="390"/>
              </a:cxn>
              <a:cxn ang="0">
                <a:pos x="0" y="397"/>
              </a:cxn>
              <a:cxn ang="0">
                <a:pos x="6" y="408"/>
              </a:cxn>
              <a:cxn ang="0">
                <a:pos x="25" y="404"/>
              </a:cxn>
              <a:cxn ang="0">
                <a:pos x="50" y="367"/>
              </a:cxn>
              <a:cxn ang="0">
                <a:pos x="443" y="367"/>
              </a:cxn>
              <a:cxn ang="0">
                <a:pos x="456" y="354"/>
              </a:cxn>
              <a:cxn ang="0">
                <a:pos x="456" y="181"/>
              </a:cxn>
              <a:cxn ang="0">
                <a:pos x="443" y="168"/>
              </a:cxn>
              <a:cxn ang="0">
                <a:pos x="375" y="168"/>
              </a:cxn>
              <a:cxn ang="0">
                <a:pos x="362" y="181"/>
              </a:cxn>
              <a:cxn ang="0">
                <a:pos x="362" y="285"/>
              </a:cxn>
              <a:cxn ang="0">
                <a:pos x="327" y="285"/>
              </a:cxn>
              <a:cxn ang="0">
                <a:pos x="327" y="181"/>
              </a:cxn>
              <a:cxn ang="0">
                <a:pos x="314" y="168"/>
              </a:cxn>
              <a:cxn ang="0">
                <a:pos x="246" y="168"/>
              </a:cxn>
              <a:cxn ang="0">
                <a:pos x="233" y="181"/>
              </a:cxn>
              <a:cxn ang="0">
                <a:pos x="233" y="285"/>
              </a:cxn>
              <a:cxn ang="0">
                <a:pos x="196" y="285"/>
              </a:cxn>
              <a:cxn ang="0">
                <a:pos x="196" y="44"/>
              </a:cxn>
              <a:cxn ang="0">
                <a:pos x="152" y="0"/>
              </a:cxn>
              <a:cxn ang="0">
                <a:pos x="113" y="0"/>
              </a:cxn>
            </a:cxnLst>
            <a:rect l="0" t="0" r="r" b="b"/>
            <a:pathLst>
              <a:path w="456" h="412">
                <a:moveTo>
                  <a:pt x="113" y="0"/>
                </a:moveTo>
                <a:cubicBezTo>
                  <a:pt x="89" y="0"/>
                  <a:pt x="69" y="20"/>
                  <a:pt x="69" y="44"/>
                </a:cubicBezTo>
                <a:cubicBezTo>
                  <a:pt x="69" y="298"/>
                  <a:pt x="69" y="298"/>
                  <a:pt x="69" y="298"/>
                </a:cubicBezTo>
                <a:cubicBezTo>
                  <a:pt x="69" y="306"/>
                  <a:pt x="75" y="312"/>
                  <a:pt x="83" y="312"/>
                </a:cubicBezTo>
                <a:cubicBezTo>
                  <a:pt x="90" y="312"/>
                  <a:pt x="96" y="306"/>
                  <a:pt x="96" y="298"/>
                </a:cubicBezTo>
                <a:cubicBezTo>
                  <a:pt x="96" y="44"/>
                  <a:pt x="96" y="44"/>
                  <a:pt x="96" y="44"/>
                </a:cubicBezTo>
                <a:cubicBezTo>
                  <a:pt x="96" y="34"/>
                  <a:pt x="104" y="27"/>
                  <a:pt x="113" y="27"/>
                </a:cubicBezTo>
                <a:cubicBezTo>
                  <a:pt x="152" y="27"/>
                  <a:pt x="152" y="27"/>
                  <a:pt x="152" y="27"/>
                </a:cubicBezTo>
                <a:cubicBezTo>
                  <a:pt x="162" y="27"/>
                  <a:pt x="169" y="34"/>
                  <a:pt x="169" y="44"/>
                </a:cubicBezTo>
                <a:cubicBezTo>
                  <a:pt x="169" y="298"/>
                  <a:pt x="169" y="298"/>
                  <a:pt x="169" y="298"/>
                </a:cubicBezTo>
                <a:cubicBezTo>
                  <a:pt x="169" y="306"/>
                  <a:pt x="175" y="312"/>
                  <a:pt x="183" y="312"/>
                </a:cubicBezTo>
                <a:cubicBezTo>
                  <a:pt x="246" y="312"/>
                  <a:pt x="246" y="312"/>
                  <a:pt x="246" y="312"/>
                </a:cubicBezTo>
                <a:cubicBezTo>
                  <a:pt x="253" y="312"/>
                  <a:pt x="259" y="306"/>
                  <a:pt x="259" y="298"/>
                </a:cubicBezTo>
                <a:cubicBezTo>
                  <a:pt x="259" y="298"/>
                  <a:pt x="259" y="215"/>
                  <a:pt x="259" y="194"/>
                </a:cubicBezTo>
                <a:cubicBezTo>
                  <a:pt x="272" y="194"/>
                  <a:pt x="288" y="194"/>
                  <a:pt x="301" y="194"/>
                </a:cubicBezTo>
                <a:cubicBezTo>
                  <a:pt x="301" y="215"/>
                  <a:pt x="301" y="298"/>
                  <a:pt x="301" y="298"/>
                </a:cubicBezTo>
                <a:cubicBezTo>
                  <a:pt x="301" y="306"/>
                  <a:pt x="307" y="312"/>
                  <a:pt x="314" y="312"/>
                </a:cubicBezTo>
                <a:cubicBezTo>
                  <a:pt x="375" y="312"/>
                  <a:pt x="375" y="312"/>
                  <a:pt x="375" y="312"/>
                </a:cubicBezTo>
                <a:cubicBezTo>
                  <a:pt x="382" y="312"/>
                  <a:pt x="388" y="306"/>
                  <a:pt x="388" y="298"/>
                </a:cubicBezTo>
                <a:cubicBezTo>
                  <a:pt x="388" y="298"/>
                  <a:pt x="388" y="215"/>
                  <a:pt x="388" y="194"/>
                </a:cubicBezTo>
                <a:cubicBezTo>
                  <a:pt x="401" y="194"/>
                  <a:pt x="417" y="194"/>
                  <a:pt x="430" y="194"/>
                </a:cubicBezTo>
                <a:cubicBezTo>
                  <a:pt x="430" y="215"/>
                  <a:pt x="430" y="320"/>
                  <a:pt x="430" y="340"/>
                </a:cubicBezTo>
                <a:cubicBezTo>
                  <a:pt x="405" y="340"/>
                  <a:pt x="42" y="340"/>
                  <a:pt x="42" y="340"/>
                </a:cubicBezTo>
                <a:cubicBezTo>
                  <a:pt x="38" y="340"/>
                  <a:pt x="34" y="343"/>
                  <a:pt x="31" y="346"/>
                </a:cubicBezTo>
                <a:cubicBezTo>
                  <a:pt x="3" y="390"/>
                  <a:pt x="3" y="390"/>
                  <a:pt x="3" y="390"/>
                </a:cubicBezTo>
                <a:cubicBezTo>
                  <a:pt x="1" y="392"/>
                  <a:pt x="0" y="394"/>
                  <a:pt x="0" y="397"/>
                </a:cubicBezTo>
                <a:cubicBezTo>
                  <a:pt x="0" y="401"/>
                  <a:pt x="2" y="406"/>
                  <a:pt x="6" y="408"/>
                </a:cubicBezTo>
                <a:cubicBezTo>
                  <a:pt x="12" y="412"/>
                  <a:pt x="21" y="411"/>
                  <a:pt x="25" y="404"/>
                </a:cubicBezTo>
                <a:cubicBezTo>
                  <a:pt x="25" y="404"/>
                  <a:pt x="44" y="376"/>
                  <a:pt x="50" y="367"/>
                </a:cubicBezTo>
                <a:cubicBezTo>
                  <a:pt x="63" y="367"/>
                  <a:pt x="443" y="367"/>
                  <a:pt x="443" y="367"/>
                </a:cubicBezTo>
                <a:cubicBezTo>
                  <a:pt x="450" y="367"/>
                  <a:pt x="456" y="361"/>
                  <a:pt x="456" y="354"/>
                </a:cubicBezTo>
                <a:cubicBezTo>
                  <a:pt x="456" y="181"/>
                  <a:pt x="456" y="181"/>
                  <a:pt x="456" y="181"/>
                </a:cubicBezTo>
                <a:cubicBezTo>
                  <a:pt x="456" y="174"/>
                  <a:pt x="450" y="168"/>
                  <a:pt x="443" y="168"/>
                </a:cubicBezTo>
                <a:cubicBezTo>
                  <a:pt x="375" y="168"/>
                  <a:pt x="375" y="168"/>
                  <a:pt x="375" y="168"/>
                </a:cubicBezTo>
                <a:cubicBezTo>
                  <a:pt x="368" y="168"/>
                  <a:pt x="362" y="174"/>
                  <a:pt x="362" y="181"/>
                </a:cubicBezTo>
                <a:cubicBezTo>
                  <a:pt x="362" y="181"/>
                  <a:pt x="362" y="264"/>
                  <a:pt x="362" y="285"/>
                </a:cubicBezTo>
                <a:cubicBezTo>
                  <a:pt x="350" y="285"/>
                  <a:pt x="339" y="285"/>
                  <a:pt x="327" y="285"/>
                </a:cubicBezTo>
                <a:cubicBezTo>
                  <a:pt x="327" y="264"/>
                  <a:pt x="327" y="181"/>
                  <a:pt x="327" y="181"/>
                </a:cubicBezTo>
                <a:cubicBezTo>
                  <a:pt x="327" y="174"/>
                  <a:pt x="321" y="168"/>
                  <a:pt x="314" y="168"/>
                </a:cubicBezTo>
                <a:cubicBezTo>
                  <a:pt x="246" y="168"/>
                  <a:pt x="246" y="168"/>
                  <a:pt x="246" y="168"/>
                </a:cubicBezTo>
                <a:cubicBezTo>
                  <a:pt x="238" y="168"/>
                  <a:pt x="233" y="174"/>
                  <a:pt x="233" y="181"/>
                </a:cubicBezTo>
                <a:cubicBezTo>
                  <a:pt x="233" y="181"/>
                  <a:pt x="233" y="264"/>
                  <a:pt x="233" y="285"/>
                </a:cubicBezTo>
                <a:cubicBezTo>
                  <a:pt x="220" y="285"/>
                  <a:pt x="208" y="285"/>
                  <a:pt x="196" y="285"/>
                </a:cubicBezTo>
                <a:cubicBezTo>
                  <a:pt x="196" y="261"/>
                  <a:pt x="196" y="44"/>
                  <a:pt x="196" y="44"/>
                </a:cubicBezTo>
                <a:cubicBezTo>
                  <a:pt x="196" y="20"/>
                  <a:pt x="176" y="0"/>
                  <a:pt x="152" y="0"/>
                </a:cubicBezTo>
                <a:lnTo>
                  <a:pt x="113" y="0"/>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52" name="Freeform 345"/>
          <p:cNvSpPr>
            <a:spLocks/>
          </p:cNvSpPr>
          <p:nvPr userDrawn="1"/>
        </p:nvSpPr>
        <p:spPr bwMode="auto">
          <a:xfrm>
            <a:off x="5069239" y="3083033"/>
            <a:ext cx="515938" cy="330200"/>
          </a:xfrm>
          <a:custGeom>
            <a:avLst/>
            <a:gdLst/>
            <a:ahLst/>
            <a:cxnLst>
              <a:cxn ang="0">
                <a:pos x="0" y="15"/>
              </a:cxn>
              <a:cxn ang="0">
                <a:pos x="68" y="44"/>
              </a:cxn>
              <a:cxn ang="0">
                <a:pos x="21" y="69"/>
              </a:cxn>
              <a:cxn ang="0">
                <a:pos x="0" y="89"/>
              </a:cxn>
              <a:cxn ang="0">
                <a:pos x="14" y="102"/>
              </a:cxn>
              <a:cxn ang="0">
                <a:pos x="322" y="102"/>
              </a:cxn>
              <a:cxn ang="0">
                <a:pos x="430" y="213"/>
              </a:cxn>
              <a:cxn ang="0">
                <a:pos x="300" y="222"/>
              </a:cxn>
              <a:cxn ang="0">
                <a:pos x="291" y="245"/>
              </a:cxn>
              <a:cxn ang="0">
                <a:pos x="282" y="266"/>
              </a:cxn>
              <a:cxn ang="0">
                <a:pos x="274" y="245"/>
              </a:cxn>
              <a:cxn ang="0">
                <a:pos x="265" y="222"/>
              </a:cxn>
              <a:cxn ang="0">
                <a:pos x="187" y="230"/>
              </a:cxn>
              <a:cxn ang="0">
                <a:pos x="195" y="254"/>
              </a:cxn>
              <a:cxn ang="0">
                <a:pos x="170" y="254"/>
              </a:cxn>
              <a:cxn ang="0">
                <a:pos x="177" y="230"/>
              </a:cxn>
              <a:cxn ang="0">
                <a:pos x="101" y="222"/>
              </a:cxn>
              <a:cxn ang="0">
                <a:pos x="92" y="245"/>
              </a:cxn>
              <a:cxn ang="0">
                <a:pos x="83" y="266"/>
              </a:cxn>
              <a:cxn ang="0">
                <a:pos x="75" y="245"/>
              </a:cxn>
              <a:cxn ang="0">
                <a:pos x="65" y="222"/>
              </a:cxn>
              <a:cxn ang="0">
                <a:pos x="0" y="235"/>
              </a:cxn>
              <a:cxn ang="0">
                <a:pos x="45" y="248"/>
              </a:cxn>
              <a:cxn ang="0">
                <a:pos x="83" y="293"/>
              </a:cxn>
              <a:cxn ang="0">
                <a:pos x="122" y="248"/>
              </a:cxn>
              <a:cxn ang="0">
                <a:pos x="143" y="254"/>
              </a:cxn>
              <a:cxn ang="0">
                <a:pos x="221" y="254"/>
              </a:cxn>
              <a:cxn ang="0">
                <a:pos x="244" y="248"/>
              </a:cxn>
              <a:cxn ang="0">
                <a:pos x="282" y="293"/>
              </a:cxn>
              <a:cxn ang="0">
                <a:pos x="321" y="248"/>
              </a:cxn>
              <a:cxn ang="0">
                <a:pos x="434" y="248"/>
              </a:cxn>
              <a:cxn ang="0">
                <a:pos x="409" y="120"/>
              </a:cxn>
              <a:cxn ang="0">
                <a:pos x="322" y="76"/>
              </a:cxn>
              <a:cxn ang="0">
                <a:pos x="64" y="76"/>
              </a:cxn>
              <a:cxn ang="0">
                <a:pos x="118" y="40"/>
              </a:cxn>
              <a:cxn ang="0">
                <a:pos x="108" y="27"/>
              </a:cxn>
              <a:cxn ang="0">
                <a:pos x="1" y="12"/>
              </a:cxn>
            </a:cxnLst>
            <a:rect l="0" t="0" r="r" b="b"/>
            <a:pathLst>
              <a:path w="459" h="293">
                <a:moveTo>
                  <a:pt x="1" y="12"/>
                </a:moveTo>
                <a:cubicBezTo>
                  <a:pt x="1" y="13"/>
                  <a:pt x="0" y="14"/>
                  <a:pt x="0" y="15"/>
                </a:cubicBezTo>
                <a:cubicBezTo>
                  <a:pt x="0" y="21"/>
                  <a:pt x="4" y="26"/>
                  <a:pt x="10" y="28"/>
                </a:cubicBezTo>
                <a:cubicBezTo>
                  <a:pt x="10" y="28"/>
                  <a:pt x="41" y="36"/>
                  <a:pt x="68" y="44"/>
                </a:cubicBezTo>
                <a:cubicBezTo>
                  <a:pt x="63" y="46"/>
                  <a:pt x="58" y="49"/>
                  <a:pt x="53" y="52"/>
                </a:cubicBezTo>
                <a:cubicBezTo>
                  <a:pt x="39" y="59"/>
                  <a:pt x="29" y="64"/>
                  <a:pt x="21" y="69"/>
                </a:cubicBezTo>
                <a:cubicBezTo>
                  <a:pt x="10" y="75"/>
                  <a:pt x="10" y="75"/>
                  <a:pt x="10" y="75"/>
                </a:cubicBezTo>
                <a:cubicBezTo>
                  <a:pt x="7" y="77"/>
                  <a:pt x="0" y="81"/>
                  <a:pt x="0" y="89"/>
                </a:cubicBezTo>
                <a:cubicBezTo>
                  <a:pt x="0" y="89"/>
                  <a:pt x="0" y="90"/>
                  <a:pt x="0" y="90"/>
                </a:cubicBezTo>
                <a:cubicBezTo>
                  <a:pt x="1" y="97"/>
                  <a:pt x="7" y="102"/>
                  <a:pt x="14" y="102"/>
                </a:cubicBezTo>
                <a:cubicBezTo>
                  <a:pt x="27" y="102"/>
                  <a:pt x="160" y="102"/>
                  <a:pt x="249" y="102"/>
                </a:cubicBezTo>
                <a:cubicBezTo>
                  <a:pt x="249" y="102"/>
                  <a:pt x="322" y="102"/>
                  <a:pt x="322" y="102"/>
                </a:cubicBezTo>
                <a:cubicBezTo>
                  <a:pt x="367" y="102"/>
                  <a:pt x="422" y="167"/>
                  <a:pt x="429" y="206"/>
                </a:cubicBezTo>
                <a:cubicBezTo>
                  <a:pt x="430" y="209"/>
                  <a:pt x="430" y="211"/>
                  <a:pt x="430" y="213"/>
                </a:cubicBezTo>
                <a:cubicBezTo>
                  <a:pt x="430" y="219"/>
                  <a:pt x="428" y="221"/>
                  <a:pt x="426" y="222"/>
                </a:cubicBezTo>
                <a:cubicBezTo>
                  <a:pt x="421" y="222"/>
                  <a:pt x="300" y="222"/>
                  <a:pt x="300" y="222"/>
                </a:cubicBezTo>
                <a:cubicBezTo>
                  <a:pt x="295" y="222"/>
                  <a:pt x="290" y="225"/>
                  <a:pt x="288" y="230"/>
                </a:cubicBezTo>
                <a:cubicBezTo>
                  <a:pt x="286" y="235"/>
                  <a:pt x="287" y="241"/>
                  <a:pt x="291" y="245"/>
                </a:cubicBezTo>
                <a:cubicBezTo>
                  <a:pt x="293" y="247"/>
                  <a:pt x="295" y="250"/>
                  <a:pt x="295" y="254"/>
                </a:cubicBezTo>
                <a:cubicBezTo>
                  <a:pt x="295" y="261"/>
                  <a:pt x="289" y="266"/>
                  <a:pt x="282" y="266"/>
                </a:cubicBezTo>
                <a:cubicBezTo>
                  <a:pt x="276" y="266"/>
                  <a:pt x="270" y="261"/>
                  <a:pt x="270" y="254"/>
                </a:cubicBezTo>
                <a:cubicBezTo>
                  <a:pt x="270" y="250"/>
                  <a:pt x="271" y="247"/>
                  <a:pt x="274" y="245"/>
                </a:cubicBezTo>
                <a:cubicBezTo>
                  <a:pt x="278" y="241"/>
                  <a:pt x="279" y="235"/>
                  <a:pt x="277" y="230"/>
                </a:cubicBezTo>
                <a:cubicBezTo>
                  <a:pt x="275" y="225"/>
                  <a:pt x="270" y="222"/>
                  <a:pt x="265" y="222"/>
                </a:cubicBezTo>
                <a:cubicBezTo>
                  <a:pt x="200" y="222"/>
                  <a:pt x="200" y="222"/>
                  <a:pt x="200" y="222"/>
                </a:cubicBezTo>
                <a:cubicBezTo>
                  <a:pt x="194" y="222"/>
                  <a:pt x="189" y="225"/>
                  <a:pt x="187" y="230"/>
                </a:cubicBezTo>
                <a:cubicBezTo>
                  <a:pt x="185" y="235"/>
                  <a:pt x="187" y="241"/>
                  <a:pt x="191" y="245"/>
                </a:cubicBezTo>
                <a:cubicBezTo>
                  <a:pt x="193" y="247"/>
                  <a:pt x="195" y="250"/>
                  <a:pt x="195" y="254"/>
                </a:cubicBezTo>
                <a:cubicBezTo>
                  <a:pt x="195" y="261"/>
                  <a:pt x="189" y="266"/>
                  <a:pt x="182" y="266"/>
                </a:cubicBezTo>
                <a:cubicBezTo>
                  <a:pt x="175" y="266"/>
                  <a:pt x="170" y="261"/>
                  <a:pt x="170" y="254"/>
                </a:cubicBezTo>
                <a:cubicBezTo>
                  <a:pt x="170" y="250"/>
                  <a:pt x="171" y="247"/>
                  <a:pt x="173" y="245"/>
                </a:cubicBezTo>
                <a:cubicBezTo>
                  <a:pt x="177" y="241"/>
                  <a:pt x="179" y="235"/>
                  <a:pt x="177" y="230"/>
                </a:cubicBezTo>
                <a:cubicBezTo>
                  <a:pt x="174" y="225"/>
                  <a:pt x="170" y="222"/>
                  <a:pt x="164" y="222"/>
                </a:cubicBezTo>
                <a:cubicBezTo>
                  <a:pt x="101" y="222"/>
                  <a:pt x="101" y="222"/>
                  <a:pt x="101" y="222"/>
                </a:cubicBezTo>
                <a:cubicBezTo>
                  <a:pt x="96" y="222"/>
                  <a:pt x="91" y="225"/>
                  <a:pt x="89" y="230"/>
                </a:cubicBezTo>
                <a:cubicBezTo>
                  <a:pt x="87" y="235"/>
                  <a:pt x="88" y="241"/>
                  <a:pt x="92" y="245"/>
                </a:cubicBezTo>
                <a:cubicBezTo>
                  <a:pt x="94" y="247"/>
                  <a:pt x="96" y="250"/>
                  <a:pt x="96" y="254"/>
                </a:cubicBezTo>
                <a:cubicBezTo>
                  <a:pt x="96" y="261"/>
                  <a:pt x="90" y="266"/>
                  <a:pt x="83" y="266"/>
                </a:cubicBezTo>
                <a:cubicBezTo>
                  <a:pt x="76" y="266"/>
                  <a:pt x="71" y="261"/>
                  <a:pt x="71" y="254"/>
                </a:cubicBezTo>
                <a:cubicBezTo>
                  <a:pt x="71" y="250"/>
                  <a:pt x="72" y="247"/>
                  <a:pt x="75" y="245"/>
                </a:cubicBezTo>
                <a:cubicBezTo>
                  <a:pt x="79" y="241"/>
                  <a:pt x="80" y="235"/>
                  <a:pt x="78" y="230"/>
                </a:cubicBezTo>
                <a:cubicBezTo>
                  <a:pt x="76" y="225"/>
                  <a:pt x="71" y="222"/>
                  <a:pt x="65" y="222"/>
                </a:cubicBezTo>
                <a:cubicBezTo>
                  <a:pt x="14" y="222"/>
                  <a:pt x="14" y="222"/>
                  <a:pt x="14" y="222"/>
                </a:cubicBezTo>
                <a:cubicBezTo>
                  <a:pt x="6" y="222"/>
                  <a:pt x="0" y="228"/>
                  <a:pt x="0" y="235"/>
                </a:cubicBezTo>
                <a:cubicBezTo>
                  <a:pt x="0" y="243"/>
                  <a:pt x="6" y="248"/>
                  <a:pt x="14" y="248"/>
                </a:cubicBezTo>
                <a:cubicBezTo>
                  <a:pt x="14" y="248"/>
                  <a:pt x="30" y="248"/>
                  <a:pt x="45" y="248"/>
                </a:cubicBezTo>
                <a:cubicBezTo>
                  <a:pt x="44" y="250"/>
                  <a:pt x="44" y="252"/>
                  <a:pt x="44" y="254"/>
                </a:cubicBezTo>
                <a:cubicBezTo>
                  <a:pt x="44" y="275"/>
                  <a:pt x="62" y="293"/>
                  <a:pt x="83" y="293"/>
                </a:cubicBezTo>
                <a:cubicBezTo>
                  <a:pt x="105" y="293"/>
                  <a:pt x="122" y="275"/>
                  <a:pt x="122" y="254"/>
                </a:cubicBezTo>
                <a:cubicBezTo>
                  <a:pt x="122" y="252"/>
                  <a:pt x="122" y="250"/>
                  <a:pt x="122" y="248"/>
                </a:cubicBezTo>
                <a:cubicBezTo>
                  <a:pt x="131" y="248"/>
                  <a:pt x="134" y="248"/>
                  <a:pt x="143" y="248"/>
                </a:cubicBezTo>
                <a:cubicBezTo>
                  <a:pt x="143" y="250"/>
                  <a:pt x="143" y="252"/>
                  <a:pt x="143" y="254"/>
                </a:cubicBezTo>
                <a:cubicBezTo>
                  <a:pt x="143" y="275"/>
                  <a:pt x="161" y="293"/>
                  <a:pt x="182" y="293"/>
                </a:cubicBezTo>
                <a:cubicBezTo>
                  <a:pt x="204" y="293"/>
                  <a:pt x="221" y="275"/>
                  <a:pt x="221" y="254"/>
                </a:cubicBezTo>
                <a:cubicBezTo>
                  <a:pt x="221" y="252"/>
                  <a:pt x="221" y="250"/>
                  <a:pt x="221" y="248"/>
                </a:cubicBezTo>
                <a:cubicBezTo>
                  <a:pt x="231" y="248"/>
                  <a:pt x="234" y="248"/>
                  <a:pt x="244" y="248"/>
                </a:cubicBezTo>
                <a:cubicBezTo>
                  <a:pt x="243" y="250"/>
                  <a:pt x="243" y="252"/>
                  <a:pt x="243" y="254"/>
                </a:cubicBezTo>
                <a:cubicBezTo>
                  <a:pt x="243" y="275"/>
                  <a:pt x="261" y="293"/>
                  <a:pt x="282" y="293"/>
                </a:cubicBezTo>
                <a:cubicBezTo>
                  <a:pt x="304" y="293"/>
                  <a:pt x="322" y="275"/>
                  <a:pt x="322" y="254"/>
                </a:cubicBezTo>
                <a:cubicBezTo>
                  <a:pt x="322" y="252"/>
                  <a:pt x="321" y="250"/>
                  <a:pt x="321" y="248"/>
                </a:cubicBezTo>
                <a:cubicBezTo>
                  <a:pt x="351" y="248"/>
                  <a:pt x="429" y="249"/>
                  <a:pt x="429" y="249"/>
                </a:cubicBezTo>
                <a:cubicBezTo>
                  <a:pt x="431" y="249"/>
                  <a:pt x="432" y="248"/>
                  <a:pt x="434" y="248"/>
                </a:cubicBezTo>
                <a:cubicBezTo>
                  <a:pt x="451" y="241"/>
                  <a:pt x="459" y="224"/>
                  <a:pt x="455" y="201"/>
                </a:cubicBezTo>
                <a:cubicBezTo>
                  <a:pt x="451" y="177"/>
                  <a:pt x="433" y="146"/>
                  <a:pt x="409" y="120"/>
                </a:cubicBezTo>
                <a:cubicBezTo>
                  <a:pt x="392" y="103"/>
                  <a:pt x="359" y="75"/>
                  <a:pt x="322" y="76"/>
                </a:cubicBezTo>
                <a:cubicBezTo>
                  <a:pt x="322" y="76"/>
                  <a:pt x="322" y="76"/>
                  <a:pt x="322" y="76"/>
                </a:cubicBezTo>
                <a:cubicBezTo>
                  <a:pt x="249" y="76"/>
                  <a:pt x="249" y="76"/>
                  <a:pt x="249" y="76"/>
                </a:cubicBezTo>
                <a:cubicBezTo>
                  <a:pt x="191" y="76"/>
                  <a:pt x="114" y="76"/>
                  <a:pt x="64" y="76"/>
                </a:cubicBezTo>
                <a:cubicBezTo>
                  <a:pt x="79" y="68"/>
                  <a:pt x="95" y="60"/>
                  <a:pt x="110" y="51"/>
                </a:cubicBezTo>
                <a:cubicBezTo>
                  <a:pt x="115" y="49"/>
                  <a:pt x="118" y="45"/>
                  <a:pt x="118" y="40"/>
                </a:cubicBezTo>
                <a:cubicBezTo>
                  <a:pt x="118" y="39"/>
                  <a:pt x="118" y="39"/>
                  <a:pt x="118" y="38"/>
                </a:cubicBezTo>
                <a:cubicBezTo>
                  <a:pt x="117" y="33"/>
                  <a:pt x="113" y="28"/>
                  <a:pt x="108" y="27"/>
                </a:cubicBezTo>
                <a:cubicBezTo>
                  <a:pt x="17" y="2"/>
                  <a:pt x="17" y="2"/>
                  <a:pt x="17" y="2"/>
                </a:cubicBezTo>
                <a:cubicBezTo>
                  <a:pt x="10" y="0"/>
                  <a:pt x="3" y="5"/>
                  <a:pt x="1" y="1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53" name="Freeform 349"/>
          <p:cNvSpPr>
            <a:spLocks/>
          </p:cNvSpPr>
          <p:nvPr userDrawn="1"/>
        </p:nvSpPr>
        <p:spPr bwMode="auto">
          <a:xfrm>
            <a:off x="5135913" y="4398457"/>
            <a:ext cx="382588" cy="525463"/>
          </a:xfrm>
          <a:custGeom>
            <a:avLst/>
            <a:gdLst/>
            <a:ahLst/>
            <a:cxnLst>
              <a:cxn ang="0">
                <a:pos x="299" y="75"/>
              </a:cxn>
              <a:cxn ang="0">
                <a:pos x="227" y="20"/>
              </a:cxn>
              <a:cxn ang="0">
                <a:pos x="170" y="0"/>
              </a:cxn>
              <a:cxn ang="0">
                <a:pos x="102" y="30"/>
              </a:cxn>
              <a:cxn ang="0">
                <a:pos x="56" y="67"/>
              </a:cxn>
              <a:cxn ang="0">
                <a:pos x="0" y="151"/>
              </a:cxn>
              <a:cxn ang="0">
                <a:pos x="35" y="222"/>
              </a:cxn>
              <a:cxn ang="0">
                <a:pos x="39" y="274"/>
              </a:cxn>
              <a:cxn ang="0">
                <a:pos x="116" y="325"/>
              </a:cxn>
              <a:cxn ang="0">
                <a:pos x="130" y="323"/>
              </a:cxn>
              <a:cxn ang="0">
                <a:pos x="95" y="440"/>
              </a:cxn>
              <a:cxn ang="0">
                <a:pos x="95" y="466"/>
              </a:cxn>
              <a:cxn ang="0">
                <a:pos x="152" y="462"/>
              </a:cxn>
              <a:cxn ang="0">
                <a:pos x="156" y="306"/>
              </a:cxn>
              <a:cxn ang="0">
                <a:pos x="139" y="293"/>
              </a:cxn>
              <a:cxn ang="0">
                <a:pos x="130" y="296"/>
              </a:cxn>
              <a:cxn ang="0">
                <a:pos x="118" y="298"/>
              </a:cxn>
              <a:cxn ang="0">
                <a:pos x="94" y="293"/>
              </a:cxn>
              <a:cxn ang="0">
                <a:pos x="59" y="241"/>
              </a:cxn>
              <a:cxn ang="0">
                <a:pos x="57" y="206"/>
              </a:cxn>
              <a:cxn ang="0">
                <a:pos x="27" y="151"/>
              </a:cxn>
              <a:cxn ang="0">
                <a:pos x="55" y="97"/>
              </a:cxn>
              <a:cxn ang="0">
                <a:pos x="93" y="86"/>
              </a:cxn>
              <a:cxn ang="0">
                <a:pos x="129" y="41"/>
              </a:cxn>
              <a:cxn ang="0">
                <a:pos x="170" y="26"/>
              </a:cxn>
              <a:cxn ang="0">
                <a:pos x="218" y="48"/>
              </a:cxn>
              <a:cxn ang="0">
                <a:pos x="246" y="86"/>
              </a:cxn>
              <a:cxn ang="0">
                <a:pos x="273" y="91"/>
              </a:cxn>
              <a:cxn ang="0">
                <a:pos x="313" y="151"/>
              </a:cxn>
              <a:cxn ang="0">
                <a:pos x="282" y="206"/>
              </a:cxn>
              <a:cxn ang="0">
                <a:pos x="280" y="241"/>
              </a:cxn>
              <a:cxn ang="0">
                <a:pos x="255" y="288"/>
              </a:cxn>
              <a:cxn ang="0">
                <a:pos x="221" y="298"/>
              </a:cxn>
              <a:cxn ang="0">
                <a:pos x="205" y="294"/>
              </a:cxn>
              <a:cxn ang="0">
                <a:pos x="201" y="293"/>
              </a:cxn>
              <a:cxn ang="0">
                <a:pos x="200" y="293"/>
              </a:cxn>
              <a:cxn ang="0">
                <a:pos x="189" y="296"/>
              </a:cxn>
              <a:cxn ang="0">
                <a:pos x="183" y="453"/>
              </a:cxn>
              <a:cxn ang="0">
                <a:pos x="197" y="466"/>
              </a:cxn>
              <a:cxn ang="0">
                <a:pos x="258" y="453"/>
              </a:cxn>
              <a:cxn ang="0">
                <a:pos x="210" y="440"/>
              </a:cxn>
              <a:cxn ang="0">
                <a:pos x="213" y="324"/>
              </a:cxn>
              <a:cxn ang="0">
                <a:pos x="224" y="324"/>
              </a:cxn>
              <a:cxn ang="0">
                <a:pos x="293" y="288"/>
              </a:cxn>
              <a:cxn ang="0">
                <a:pos x="305" y="222"/>
              </a:cxn>
              <a:cxn ang="0">
                <a:pos x="339" y="151"/>
              </a:cxn>
            </a:cxnLst>
            <a:rect l="0" t="0" r="r" b="b"/>
            <a:pathLst>
              <a:path w="339" h="466">
                <a:moveTo>
                  <a:pt x="332" y="115"/>
                </a:moveTo>
                <a:cubicBezTo>
                  <a:pt x="325" y="99"/>
                  <a:pt x="314" y="85"/>
                  <a:pt x="299" y="75"/>
                </a:cubicBezTo>
                <a:cubicBezTo>
                  <a:pt x="287" y="67"/>
                  <a:pt x="272" y="61"/>
                  <a:pt x="255" y="60"/>
                </a:cubicBezTo>
                <a:cubicBezTo>
                  <a:pt x="250" y="44"/>
                  <a:pt x="240" y="30"/>
                  <a:pt x="227" y="20"/>
                </a:cubicBezTo>
                <a:cubicBezTo>
                  <a:pt x="219" y="14"/>
                  <a:pt x="210" y="9"/>
                  <a:pt x="200" y="5"/>
                </a:cubicBezTo>
                <a:cubicBezTo>
                  <a:pt x="191" y="2"/>
                  <a:pt x="180" y="0"/>
                  <a:pt x="170" y="0"/>
                </a:cubicBezTo>
                <a:cubicBezTo>
                  <a:pt x="159" y="0"/>
                  <a:pt x="149" y="2"/>
                  <a:pt x="139" y="5"/>
                </a:cubicBezTo>
                <a:cubicBezTo>
                  <a:pt x="125" y="10"/>
                  <a:pt x="112" y="19"/>
                  <a:pt x="102" y="30"/>
                </a:cubicBezTo>
                <a:cubicBezTo>
                  <a:pt x="94" y="39"/>
                  <a:pt x="88" y="49"/>
                  <a:pt x="84" y="60"/>
                </a:cubicBezTo>
                <a:cubicBezTo>
                  <a:pt x="74" y="61"/>
                  <a:pt x="65" y="63"/>
                  <a:pt x="56" y="67"/>
                </a:cubicBezTo>
                <a:cubicBezTo>
                  <a:pt x="39" y="74"/>
                  <a:pt x="25" y="85"/>
                  <a:pt x="16" y="100"/>
                </a:cubicBezTo>
                <a:cubicBezTo>
                  <a:pt x="6" y="114"/>
                  <a:pt x="0" y="132"/>
                  <a:pt x="0" y="151"/>
                </a:cubicBezTo>
                <a:cubicBezTo>
                  <a:pt x="0" y="167"/>
                  <a:pt x="4" y="182"/>
                  <a:pt x="12" y="196"/>
                </a:cubicBezTo>
                <a:cubicBezTo>
                  <a:pt x="18" y="206"/>
                  <a:pt x="25" y="215"/>
                  <a:pt x="35" y="222"/>
                </a:cubicBezTo>
                <a:cubicBezTo>
                  <a:pt x="33" y="228"/>
                  <a:pt x="32" y="235"/>
                  <a:pt x="32" y="241"/>
                </a:cubicBezTo>
                <a:cubicBezTo>
                  <a:pt x="32" y="253"/>
                  <a:pt x="35" y="264"/>
                  <a:pt x="39" y="274"/>
                </a:cubicBezTo>
                <a:cubicBezTo>
                  <a:pt x="45" y="289"/>
                  <a:pt x="56" y="301"/>
                  <a:pt x="69" y="310"/>
                </a:cubicBezTo>
                <a:cubicBezTo>
                  <a:pt x="82" y="319"/>
                  <a:pt x="99" y="325"/>
                  <a:pt x="116" y="325"/>
                </a:cubicBezTo>
                <a:cubicBezTo>
                  <a:pt x="118" y="325"/>
                  <a:pt x="119" y="324"/>
                  <a:pt x="121" y="324"/>
                </a:cubicBezTo>
                <a:cubicBezTo>
                  <a:pt x="124" y="324"/>
                  <a:pt x="127" y="324"/>
                  <a:pt x="130" y="323"/>
                </a:cubicBezTo>
                <a:cubicBezTo>
                  <a:pt x="130" y="440"/>
                  <a:pt x="130" y="440"/>
                  <a:pt x="130" y="440"/>
                </a:cubicBezTo>
                <a:cubicBezTo>
                  <a:pt x="95" y="440"/>
                  <a:pt x="95" y="440"/>
                  <a:pt x="95" y="440"/>
                </a:cubicBezTo>
                <a:cubicBezTo>
                  <a:pt x="88" y="440"/>
                  <a:pt x="82" y="446"/>
                  <a:pt x="82" y="453"/>
                </a:cubicBezTo>
                <a:cubicBezTo>
                  <a:pt x="82" y="460"/>
                  <a:pt x="88" y="466"/>
                  <a:pt x="95" y="466"/>
                </a:cubicBezTo>
                <a:cubicBezTo>
                  <a:pt x="143" y="466"/>
                  <a:pt x="143" y="466"/>
                  <a:pt x="143" y="466"/>
                </a:cubicBezTo>
                <a:cubicBezTo>
                  <a:pt x="146" y="466"/>
                  <a:pt x="150" y="465"/>
                  <a:pt x="152" y="462"/>
                </a:cubicBezTo>
                <a:cubicBezTo>
                  <a:pt x="155" y="460"/>
                  <a:pt x="156" y="456"/>
                  <a:pt x="156" y="453"/>
                </a:cubicBezTo>
                <a:cubicBezTo>
                  <a:pt x="156" y="306"/>
                  <a:pt x="156" y="306"/>
                  <a:pt x="156" y="306"/>
                </a:cubicBezTo>
                <a:cubicBezTo>
                  <a:pt x="156" y="302"/>
                  <a:pt x="154" y="298"/>
                  <a:pt x="151" y="296"/>
                </a:cubicBezTo>
                <a:cubicBezTo>
                  <a:pt x="148" y="293"/>
                  <a:pt x="143" y="292"/>
                  <a:pt x="139" y="293"/>
                </a:cubicBezTo>
                <a:cubicBezTo>
                  <a:pt x="139" y="293"/>
                  <a:pt x="139" y="293"/>
                  <a:pt x="139" y="293"/>
                </a:cubicBezTo>
                <a:cubicBezTo>
                  <a:pt x="139" y="293"/>
                  <a:pt x="135" y="295"/>
                  <a:pt x="130" y="296"/>
                </a:cubicBezTo>
                <a:cubicBezTo>
                  <a:pt x="127" y="296"/>
                  <a:pt x="124" y="297"/>
                  <a:pt x="122" y="297"/>
                </a:cubicBezTo>
                <a:cubicBezTo>
                  <a:pt x="121" y="297"/>
                  <a:pt x="119" y="298"/>
                  <a:pt x="118" y="298"/>
                </a:cubicBezTo>
                <a:cubicBezTo>
                  <a:pt x="117" y="298"/>
                  <a:pt x="116" y="298"/>
                  <a:pt x="116" y="298"/>
                </a:cubicBezTo>
                <a:cubicBezTo>
                  <a:pt x="108" y="298"/>
                  <a:pt x="100" y="296"/>
                  <a:pt x="94" y="293"/>
                </a:cubicBezTo>
                <a:cubicBezTo>
                  <a:pt x="84" y="289"/>
                  <a:pt x="75" y="282"/>
                  <a:pt x="69" y="273"/>
                </a:cubicBezTo>
                <a:cubicBezTo>
                  <a:pt x="63" y="264"/>
                  <a:pt x="59" y="253"/>
                  <a:pt x="59" y="241"/>
                </a:cubicBezTo>
                <a:cubicBezTo>
                  <a:pt x="59" y="234"/>
                  <a:pt x="60" y="228"/>
                  <a:pt x="63" y="221"/>
                </a:cubicBezTo>
                <a:cubicBezTo>
                  <a:pt x="65" y="216"/>
                  <a:pt x="62" y="209"/>
                  <a:pt x="57" y="206"/>
                </a:cubicBezTo>
                <a:cubicBezTo>
                  <a:pt x="48" y="200"/>
                  <a:pt x="40" y="192"/>
                  <a:pt x="35" y="183"/>
                </a:cubicBezTo>
                <a:cubicBezTo>
                  <a:pt x="30" y="173"/>
                  <a:pt x="27" y="162"/>
                  <a:pt x="27" y="151"/>
                </a:cubicBezTo>
                <a:cubicBezTo>
                  <a:pt x="27" y="142"/>
                  <a:pt x="29" y="133"/>
                  <a:pt x="32" y="126"/>
                </a:cubicBezTo>
                <a:cubicBezTo>
                  <a:pt x="37" y="114"/>
                  <a:pt x="45" y="104"/>
                  <a:pt x="55" y="97"/>
                </a:cubicBezTo>
                <a:cubicBezTo>
                  <a:pt x="65" y="90"/>
                  <a:pt x="78" y="86"/>
                  <a:pt x="91" y="86"/>
                </a:cubicBezTo>
                <a:cubicBezTo>
                  <a:pt x="92" y="86"/>
                  <a:pt x="93" y="86"/>
                  <a:pt x="93" y="86"/>
                </a:cubicBezTo>
                <a:cubicBezTo>
                  <a:pt x="100" y="87"/>
                  <a:pt x="105" y="82"/>
                  <a:pt x="107" y="76"/>
                </a:cubicBezTo>
                <a:cubicBezTo>
                  <a:pt x="110" y="62"/>
                  <a:pt x="118" y="49"/>
                  <a:pt x="129" y="41"/>
                </a:cubicBezTo>
                <a:cubicBezTo>
                  <a:pt x="135" y="36"/>
                  <a:pt x="141" y="33"/>
                  <a:pt x="148" y="30"/>
                </a:cubicBezTo>
                <a:cubicBezTo>
                  <a:pt x="155" y="28"/>
                  <a:pt x="162" y="26"/>
                  <a:pt x="170" y="26"/>
                </a:cubicBezTo>
                <a:cubicBezTo>
                  <a:pt x="177" y="26"/>
                  <a:pt x="185" y="28"/>
                  <a:pt x="191" y="30"/>
                </a:cubicBezTo>
                <a:cubicBezTo>
                  <a:pt x="202" y="34"/>
                  <a:pt x="211" y="40"/>
                  <a:pt x="218" y="48"/>
                </a:cubicBezTo>
                <a:cubicBezTo>
                  <a:pt x="225" y="56"/>
                  <a:pt x="230" y="65"/>
                  <a:pt x="232" y="76"/>
                </a:cubicBezTo>
                <a:cubicBezTo>
                  <a:pt x="234" y="82"/>
                  <a:pt x="240" y="87"/>
                  <a:pt x="246" y="86"/>
                </a:cubicBezTo>
                <a:cubicBezTo>
                  <a:pt x="247" y="86"/>
                  <a:pt x="248" y="86"/>
                  <a:pt x="248" y="86"/>
                </a:cubicBezTo>
                <a:cubicBezTo>
                  <a:pt x="257" y="86"/>
                  <a:pt x="266" y="88"/>
                  <a:pt x="273" y="91"/>
                </a:cubicBezTo>
                <a:cubicBezTo>
                  <a:pt x="285" y="96"/>
                  <a:pt x="295" y="104"/>
                  <a:pt x="302" y="115"/>
                </a:cubicBezTo>
                <a:cubicBezTo>
                  <a:pt x="309" y="125"/>
                  <a:pt x="313" y="137"/>
                  <a:pt x="313" y="151"/>
                </a:cubicBezTo>
                <a:cubicBezTo>
                  <a:pt x="313" y="162"/>
                  <a:pt x="310" y="173"/>
                  <a:pt x="304" y="183"/>
                </a:cubicBezTo>
                <a:cubicBezTo>
                  <a:pt x="299" y="192"/>
                  <a:pt x="292" y="200"/>
                  <a:pt x="282" y="206"/>
                </a:cubicBezTo>
                <a:cubicBezTo>
                  <a:pt x="277" y="209"/>
                  <a:pt x="275" y="216"/>
                  <a:pt x="277" y="221"/>
                </a:cubicBezTo>
                <a:cubicBezTo>
                  <a:pt x="279" y="228"/>
                  <a:pt x="280" y="234"/>
                  <a:pt x="280" y="241"/>
                </a:cubicBezTo>
                <a:cubicBezTo>
                  <a:pt x="280" y="249"/>
                  <a:pt x="279" y="256"/>
                  <a:pt x="276" y="263"/>
                </a:cubicBezTo>
                <a:cubicBezTo>
                  <a:pt x="272" y="273"/>
                  <a:pt x="265" y="282"/>
                  <a:pt x="255" y="288"/>
                </a:cubicBezTo>
                <a:cubicBezTo>
                  <a:pt x="246" y="294"/>
                  <a:pt x="236" y="298"/>
                  <a:pt x="224" y="298"/>
                </a:cubicBezTo>
                <a:cubicBezTo>
                  <a:pt x="223" y="298"/>
                  <a:pt x="222" y="298"/>
                  <a:pt x="221" y="298"/>
                </a:cubicBezTo>
                <a:cubicBezTo>
                  <a:pt x="219" y="297"/>
                  <a:pt x="217" y="297"/>
                  <a:pt x="215" y="297"/>
                </a:cubicBezTo>
                <a:cubicBezTo>
                  <a:pt x="211" y="296"/>
                  <a:pt x="207" y="295"/>
                  <a:pt x="205" y="294"/>
                </a:cubicBezTo>
                <a:cubicBezTo>
                  <a:pt x="203" y="294"/>
                  <a:pt x="202" y="294"/>
                  <a:pt x="202" y="294"/>
                </a:cubicBezTo>
                <a:cubicBezTo>
                  <a:pt x="201" y="294"/>
                  <a:pt x="201" y="293"/>
                  <a:pt x="201" y="293"/>
                </a:cubicBezTo>
                <a:cubicBezTo>
                  <a:pt x="200" y="293"/>
                  <a:pt x="200" y="293"/>
                  <a:pt x="200" y="293"/>
                </a:cubicBezTo>
                <a:cubicBezTo>
                  <a:pt x="200" y="293"/>
                  <a:pt x="200" y="293"/>
                  <a:pt x="200" y="293"/>
                </a:cubicBezTo>
                <a:cubicBezTo>
                  <a:pt x="200" y="293"/>
                  <a:pt x="200" y="293"/>
                  <a:pt x="200" y="293"/>
                </a:cubicBezTo>
                <a:cubicBezTo>
                  <a:pt x="196" y="292"/>
                  <a:pt x="192" y="293"/>
                  <a:pt x="189" y="296"/>
                </a:cubicBezTo>
                <a:cubicBezTo>
                  <a:pt x="185" y="298"/>
                  <a:pt x="183" y="302"/>
                  <a:pt x="183" y="306"/>
                </a:cubicBezTo>
                <a:cubicBezTo>
                  <a:pt x="183" y="453"/>
                  <a:pt x="183" y="453"/>
                  <a:pt x="183" y="453"/>
                </a:cubicBezTo>
                <a:cubicBezTo>
                  <a:pt x="183" y="456"/>
                  <a:pt x="185" y="460"/>
                  <a:pt x="187" y="462"/>
                </a:cubicBezTo>
                <a:cubicBezTo>
                  <a:pt x="190" y="465"/>
                  <a:pt x="193" y="466"/>
                  <a:pt x="197" y="466"/>
                </a:cubicBezTo>
                <a:cubicBezTo>
                  <a:pt x="244" y="466"/>
                  <a:pt x="244" y="466"/>
                  <a:pt x="244" y="466"/>
                </a:cubicBezTo>
                <a:cubicBezTo>
                  <a:pt x="252" y="466"/>
                  <a:pt x="258" y="460"/>
                  <a:pt x="258" y="453"/>
                </a:cubicBezTo>
                <a:cubicBezTo>
                  <a:pt x="258" y="446"/>
                  <a:pt x="252" y="440"/>
                  <a:pt x="244" y="440"/>
                </a:cubicBezTo>
                <a:cubicBezTo>
                  <a:pt x="210" y="440"/>
                  <a:pt x="210" y="440"/>
                  <a:pt x="210" y="440"/>
                </a:cubicBezTo>
                <a:cubicBezTo>
                  <a:pt x="210" y="323"/>
                  <a:pt x="210" y="323"/>
                  <a:pt x="210" y="323"/>
                </a:cubicBezTo>
                <a:cubicBezTo>
                  <a:pt x="211" y="323"/>
                  <a:pt x="212" y="323"/>
                  <a:pt x="213" y="324"/>
                </a:cubicBezTo>
                <a:cubicBezTo>
                  <a:pt x="215" y="324"/>
                  <a:pt x="217" y="324"/>
                  <a:pt x="219" y="324"/>
                </a:cubicBezTo>
                <a:cubicBezTo>
                  <a:pt x="220" y="324"/>
                  <a:pt x="222" y="324"/>
                  <a:pt x="224" y="324"/>
                </a:cubicBezTo>
                <a:cubicBezTo>
                  <a:pt x="235" y="324"/>
                  <a:pt x="246" y="322"/>
                  <a:pt x="256" y="318"/>
                </a:cubicBezTo>
                <a:cubicBezTo>
                  <a:pt x="271" y="312"/>
                  <a:pt x="284" y="301"/>
                  <a:pt x="293" y="288"/>
                </a:cubicBezTo>
                <a:cubicBezTo>
                  <a:pt x="302" y="274"/>
                  <a:pt x="307" y="258"/>
                  <a:pt x="307" y="241"/>
                </a:cubicBezTo>
                <a:cubicBezTo>
                  <a:pt x="307" y="235"/>
                  <a:pt x="306" y="228"/>
                  <a:pt x="305" y="222"/>
                </a:cubicBezTo>
                <a:cubicBezTo>
                  <a:pt x="314" y="215"/>
                  <a:pt x="322" y="206"/>
                  <a:pt x="328" y="196"/>
                </a:cubicBezTo>
                <a:cubicBezTo>
                  <a:pt x="335" y="182"/>
                  <a:pt x="339" y="167"/>
                  <a:pt x="339" y="151"/>
                </a:cubicBezTo>
                <a:cubicBezTo>
                  <a:pt x="339" y="138"/>
                  <a:pt x="337" y="126"/>
                  <a:pt x="332" y="11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54" name="Freeform 369"/>
          <p:cNvSpPr>
            <a:spLocks/>
          </p:cNvSpPr>
          <p:nvPr userDrawn="1"/>
        </p:nvSpPr>
        <p:spPr bwMode="auto">
          <a:xfrm>
            <a:off x="5251008" y="2397343"/>
            <a:ext cx="152400" cy="488951"/>
          </a:xfrm>
          <a:custGeom>
            <a:avLst/>
            <a:gdLst/>
            <a:ahLst/>
            <a:cxnLst>
              <a:cxn ang="0">
                <a:pos x="80" y="356"/>
              </a:cxn>
              <a:cxn ang="0">
                <a:pos x="80" y="333"/>
              </a:cxn>
              <a:cxn ang="0">
                <a:pos x="131" y="280"/>
              </a:cxn>
              <a:cxn ang="0">
                <a:pos x="131" y="53"/>
              </a:cxn>
              <a:cxn ang="0">
                <a:pos x="78" y="0"/>
              </a:cxn>
              <a:cxn ang="0">
                <a:pos x="54" y="0"/>
              </a:cxn>
              <a:cxn ang="0">
                <a:pos x="0" y="53"/>
              </a:cxn>
              <a:cxn ang="0">
                <a:pos x="0" y="280"/>
              </a:cxn>
              <a:cxn ang="0">
                <a:pos x="16" y="318"/>
              </a:cxn>
              <a:cxn ang="0">
                <a:pos x="35" y="318"/>
              </a:cxn>
              <a:cxn ang="0">
                <a:pos x="35" y="299"/>
              </a:cxn>
              <a:cxn ang="0">
                <a:pos x="27" y="280"/>
              </a:cxn>
              <a:cxn ang="0">
                <a:pos x="27" y="255"/>
              </a:cxn>
              <a:cxn ang="0">
                <a:pos x="54" y="263"/>
              </a:cxn>
              <a:cxn ang="0">
                <a:pos x="77" y="263"/>
              </a:cxn>
              <a:cxn ang="0">
                <a:pos x="91" y="249"/>
              </a:cxn>
              <a:cxn ang="0">
                <a:pos x="77" y="236"/>
              </a:cxn>
              <a:cxn ang="0">
                <a:pos x="54" y="236"/>
              </a:cxn>
              <a:cxn ang="0">
                <a:pos x="35" y="228"/>
              </a:cxn>
              <a:cxn ang="0">
                <a:pos x="27" y="209"/>
              </a:cxn>
              <a:cxn ang="0">
                <a:pos x="27" y="206"/>
              </a:cxn>
              <a:cxn ang="0">
                <a:pos x="27" y="177"/>
              </a:cxn>
              <a:cxn ang="0">
                <a:pos x="54" y="184"/>
              </a:cxn>
              <a:cxn ang="0">
                <a:pos x="77" y="184"/>
              </a:cxn>
              <a:cxn ang="0">
                <a:pos x="91" y="171"/>
              </a:cxn>
              <a:cxn ang="0">
                <a:pos x="77" y="157"/>
              </a:cxn>
              <a:cxn ang="0">
                <a:pos x="54" y="157"/>
              </a:cxn>
              <a:cxn ang="0">
                <a:pos x="35" y="149"/>
              </a:cxn>
              <a:cxn ang="0">
                <a:pos x="27" y="131"/>
              </a:cxn>
              <a:cxn ang="0">
                <a:pos x="27" y="128"/>
              </a:cxn>
              <a:cxn ang="0">
                <a:pos x="27" y="97"/>
              </a:cxn>
              <a:cxn ang="0">
                <a:pos x="54" y="104"/>
              </a:cxn>
              <a:cxn ang="0">
                <a:pos x="77" y="104"/>
              </a:cxn>
              <a:cxn ang="0">
                <a:pos x="91" y="91"/>
              </a:cxn>
              <a:cxn ang="0">
                <a:pos x="77" y="77"/>
              </a:cxn>
              <a:cxn ang="0">
                <a:pos x="54" y="77"/>
              </a:cxn>
              <a:cxn ang="0">
                <a:pos x="35" y="69"/>
              </a:cxn>
              <a:cxn ang="0">
                <a:pos x="27" y="51"/>
              </a:cxn>
              <a:cxn ang="0">
                <a:pos x="27" y="50"/>
              </a:cxn>
              <a:cxn ang="0">
                <a:pos x="54" y="27"/>
              </a:cxn>
              <a:cxn ang="0">
                <a:pos x="78" y="27"/>
              </a:cxn>
              <a:cxn ang="0">
                <a:pos x="104" y="53"/>
              </a:cxn>
              <a:cxn ang="0">
                <a:pos x="104" y="280"/>
              </a:cxn>
              <a:cxn ang="0">
                <a:pos x="78" y="307"/>
              </a:cxn>
              <a:cxn ang="0">
                <a:pos x="71" y="307"/>
              </a:cxn>
              <a:cxn ang="0">
                <a:pos x="69" y="307"/>
              </a:cxn>
              <a:cxn ang="0">
                <a:pos x="67" y="307"/>
              </a:cxn>
              <a:cxn ang="0">
                <a:pos x="53" y="320"/>
              </a:cxn>
              <a:cxn ang="0">
                <a:pos x="53" y="368"/>
              </a:cxn>
              <a:cxn ang="0">
                <a:pos x="61" y="380"/>
              </a:cxn>
              <a:cxn ang="0">
                <a:pos x="68" y="382"/>
              </a:cxn>
              <a:cxn ang="0">
                <a:pos x="107" y="394"/>
              </a:cxn>
              <a:cxn ang="0">
                <a:pos x="68" y="406"/>
              </a:cxn>
              <a:cxn ang="0">
                <a:pos x="29" y="394"/>
              </a:cxn>
              <a:cxn ang="0">
                <a:pos x="39" y="387"/>
              </a:cxn>
              <a:cxn ang="0">
                <a:pos x="46" y="370"/>
              </a:cxn>
              <a:cxn ang="0">
                <a:pos x="29" y="362"/>
              </a:cxn>
              <a:cxn ang="0">
                <a:pos x="2" y="394"/>
              </a:cxn>
              <a:cxn ang="0">
                <a:pos x="68" y="433"/>
              </a:cxn>
              <a:cxn ang="0">
                <a:pos x="134" y="394"/>
              </a:cxn>
              <a:cxn ang="0">
                <a:pos x="80" y="356"/>
              </a:cxn>
            </a:cxnLst>
            <a:rect l="0" t="0" r="r" b="b"/>
            <a:pathLst>
              <a:path w="134" h="433">
                <a:moveTo>
                  <a:pt x="80" y="356"/>
                </a:moveTo>
                <a:cubicBezTo>
                  <a:pt x="80" y="333"/>
                  <a:pt x="80" y="333"/>
                  <a:pt x="80" y="333"/>
                </a:cubicBezTo>
                <a:cubicBezTo>
                  <a:pt x="108" y="332"/>
                  <a:pt x="131" y="309"/>
                  <a:pt x="131" y="280"/>
                </a:cubicBezTo>
                <a:cubicBezTo>
                  <a:pt x="131" y="53"/>
                  <a:pt x="131" y="53"/>
                  <a:pt x="131" y="53"/>
                </a:cubicBezTo>
                <a:cubicBezTo>
                  <a:pt x="131" y="24"/>
                  <a:pt x="107" y="0"/>
                  <a:pt x="78" y="0"/>
                </a:cubicBezTo>
                <a:cubicBezTo>
                  <a:pt x="54" y="0"/>
                  <a:pt x="54" y="0"/>
                  <a:pt x="54" y="0"/>
                </a:cubicBezTo>
                <a:cubicBezTo>
                  <a:pt x="24" y="0"/>
                  <a:pt x="0" y="24"/>
                  <a:pt x="0" y="53"/>
                </a:cubicBezTo>
                <a:cubicBezTo>
                  <a:pt x="0" y="280"/>
                  <a:pt x="0" y="280"/>
                  <a:pt x="0" y="280"/>
                </a:cubicBezTo>
                <a:cubicBezTo>
                  <a:pt x="0" y="294"/>
                  <a:pt x="6" y="308"/>
                  <a:pt x="16" y="318"/>
                </a:cubicBezTo>
                <a:cubicBezTo>
                  <a:pt x="21" y="323"/>
                  <a:pt x="30" y="323"/>
                  <a:pt x="35" y="318"/>
                </a:cubicBezTo>
                <a:cubicBezTo>
                  <a:pt x="40" y="313"/>
                  <a:pt x="40" y="304"/>
                  <a:pt x="35" y="299"/>
                </a:cubicBezTo>
                <a:cubicBezTo>
                  <a:pt x="29" y="294"/>
                  <a:pt x="27" y="287"/>
                  <a:pt x="27" y="280"/>
                </a:cubicBezTo>
                <a:cubicBezTo>
                  <a:pt x="27" y="255"/>
                  <a:pt x="27" y="255"/>
                  <a:pt x="27" y="255"/>
                </a:cubicBezTo>
                <a:cubicBezTo>
                  <a:pt x="35" y="260"/>
                  <a:pt x="44" y="263"/>
                  <a:pt x="54" y="263"/>
                </a:cubicBezTo>
                <a:cubicBezTo>
                  <a:pt x="77" y="263"/>
                  <a:pt x="77" y="263"/>
                  <a:pt x="77" y="263"/>
                </a:cubicBezTo>
                <a:cubicBezTo>
                  <a:pt x="85" y="263"/>
                  <a:pt x="91" y="257"/>
                  <a:pt x="91" y="249"/>
                </a:cubicBezTo>
                <a:cubicBezTo>
                  <a:pt x="91" y="242"/>
                  <a:pt x="85" y="236"/>
                  <a:pt x="77" y="236"/>
                </a:cubicBezTo>
                <a:cubicBezTo>
                  <a:pt x="54" y="236"/>
                  <a:pt x="54" y="236"/>
                  <a:pt x="54" y="236"/>
                </a:cubicBezTo>
                <a:cubicBezTo>
                  <a:pt x="47" y="236"/>
                  <a:pt x="40" y="233"/>
                  <a:pt x="35" y="228"/>
                </a:cubicBezTo>
                <a:cubicBezTo>
                  <a:pt x="30" y="223"/>
                  <a:pt x="27" y="216"/>
                  <a:pt x="27" y="209"/>
                </a:cubicBezTo>
                <a:cubicBezTo>
                  <a:pt x="27" y="208"/>
                  <a:pt x="27" y="207"/>
                  <a:pt x="27" y="206"/>
                </a:cubicBezTo>
                <a:cubicBezTo>
                  <a:pt x="27" y="177"/>
                  <a:pt x="27" y="177"/>
                  <a:pt x="27" y="177"/>
                </a:cubicBezTo>
                <a:cubicBezTo>
                  <a:pt x="35" y="181"/>
                  <a:pt x="44" y="184"/>
                  <a:pt x="54" y="184"/>
                </a:cubicBezTo>
                <a:cubicBezTo>
                  <a:pt x="77" y="184"/>
                  <a:pt x="77" y="184"/>
                  <a:pt x="77" y="184"/>
                </a:cubicBezTo>
                <a:cubicBezTo>
                  <a:pt x="85" y="184"/>
                  <a:pt x="91" y="178"/>
                  <a:pt x="91" y="171"/>
                </a:cubicBezTo>
                <a:cubicBezTo>
                  <a:pt x="91" y="163"/>
                  <a:pt x="85" y="157"/>
                  <a:pt x="77" y="157"/>
                </a:cubicBezTo>
                <a:cubicBezTo>
                  <a:pt x="54" y="157"/>
                  <a:pt x="54" y="157"/>
                  <a:pt x="54" y="157"/>
                </a:cubicBezTo>
                <a:cubicBezTo>
                  <a:pt x="47" y="157"/>
                  <a:pt x="40" y="155"/>
                  <a:pt x="35" y="149"/>
                </a:cubicBezTo>
                <a:cubicBezTo>
                  <a:pt x="30" y="144"/>
                  <a:pt x="27" y="138"/>
                  <a:pt x="27" y="131"/>
                </a:cubicBezTo>
                <a:cubicBezTo>
                  <a:pt x="27" y="130"/>
                  <a:pt x="27" y="129"/>
                  <a:pt x="27" y="128"/>
                </a:cubicBezTo>
                <a:cubicBezTo>
                  <a:pt x="27" y="97"/>
                  <a:pt x="27" y="97"/>
                  <a:pt x="27" y="97"/>
                </a:cubicBezTo>
                <a:cubicBezTo>
                  <a:pt x="35" y="101"/>
                  <a:pt x="44" y="104"/>
                  <a:pt x="54" y="104"/>
                </a:cubicBezTo>
                <a:cubicBezTo>
                  <a:pt x="77" y="104"/>
                  <a:pt x="77" y="104"/>
                  <a:pt x="77" y="104"/>
                </a:cubicBezTo>
                <a:cubicBezTo>
                  <a:pt x="85" y="104"/>
                  <a:pt x="91" y="98"/>
                  <a:pt x="91" y="91"/>
                </a:cubicBezTo>
                <a:cubicBezTo>
                  <a:pt x="91" y="83"/>
                  <a:pt x="85" y="77"/>
                  <a:pt x="77" y="77"/>
                </a:cubicBezTo>
                <a:cubicBezTo>
                  <a:pt x="54" y="77"/>
                  <a:pt x="54" y="77"/>
                  <a:pt x="54" y="77"/>
                </a:cubicBezTo>
                <a:cubicBezTo>
                  <a:pt x="47" y="77"/>
                  <a:pt x="40" y="75"/>
                  <a:pt x="35" y="69"/>
                </a:cubicBezTo>
                <a:cubicBezTo>
                  <a:pt x="30" y="64"/>
                  <a:pt x="27" y="58"/>
                  <a:pt x="27" y="51"/>
                </a:cubicBezTo>
                <a:cubicBezTo>
                  <a:pt x="27" y="50"/>
                  <a:pt x="27" y="50"/>
                  <a:pt x="27" y="50"/>
                </a:cubicBezTo>
                <a:cubicBezTo>
                  <a:pt x="29" y="37"/>
                  <a:pt x="40" y="27"/>
                  <a:pt x="54" y="27"/>
                </a:cubicBezTo>
                <a:cubicBezTo>
                  <a:pt x="78" y="27"/>
                  <a:pt x="78" y="27"/>
                  <a:pt x="78" y="27"/>
                </a:cubicBezTo>
                <a:cubicBezTo>
                  <a:pt x="93" y="27"/>
                  <a:pt x="104" y="38"/>
                  <a:pt x="104" y="53"/>
                </a:cubicBezTo>
                <a:cubicBezTo>
                  <a:pt x="104" y="280"/>
                  <a:pt x="104" y="280"/>
                  <a:pt x="104" y="280"/>
                </a:cubicBezTo>
                <a:cubicBezTo>
                  <a:pt x="104" y="295"/>
                  <a:pt x="93" y="307"/>
                  <a:pt x="78" y="307"/>
                </a:cubicBezTo>
                <a:cubicBezTo>
                  <a:pt x="71" y="307"/>
                  <a:pt x="71" y="307"/>
                  <a:pt x="71" y="307"/>
                </a:cubicBezTo>
                <a:cubicBezTo>
                  <a:pt x="70" y="307"/>
                  <a:pt x="69" y="307"/>
                  <a:pt x="69" y="307"/>
                </a:cubicBezTo>
                <a:cubicBezTo>
                  <a:pt x="68" y="307"/>
                  <a:pt x="67" y="307"/>
                  <a:pt x="67" y="307"/>
                </a:cubicBezTo>
                <a:cubicBezTo>
                  <a:pt x="59" y="307"/>
                  <a:pt x="53" y="313"/>
                  <a:pt x="53" y="320"/>
                </a:cubicBezTo>
                <a:cubicBezTo>
                  <a:pt x="53" y="368"/>
                  <a:pt x="53" y="368"/>
                  <a:pt x="53" y="368"/>
                </a:cubicBezTo>
                <a:cubicBezTo>
                  <a:pt x="53" y="374"/>
                  <a:pt x="57" y="378"/>
                  <a:pt x="61" y="380"/>
                </a:cubicBezTo>
                <a:cubicBezTo>
                  <a:pt x="63" y="381"/>
                  <a:pt x="66" y="382"/>
                  <a:pt x="68" y="382"/>
                </a:cubicBezTo>
                <a:cubicBezTo>
                  <a:pt x="92" y="382"/>
                  <a:pt x="106" y="391"/>
                  <a:pt x="107" y="394"/>
                </a:cubicBezTo>
                <a:cubicBezTo>
                  <a:pt x="106" y="397"/>
                  <a:pt x="92" y="406"/>
                  <a:pt x="68" y="406"/>
                </a:cubicBezTo>
                <a:cubicBezTo>
                  <a:pt x="44" y="406"/>
                  <a:pt x="30" y="398"/>
                  <a:pt x="29" y="394"/>
                </a:cubicBezTo>
                <a:cubicBezTo>
                  <a:pt x="29" y="393"/>
                  <a:pt x="32" y="390"/>
                  <a:pt x="39" y="387"/>
                </a:cubicBezTo>
                <a:cubicBezTo>
                  <a:pt x="46" y="384"/>
                  <a:pt x="49" y="376"/>
                  <a:pt x="46" y="370"/>
                </a:cubicBezTo>
                <a:cubicBezTo>
                  <a:pt x="43" y="363"/>
                  <a:pt x="36" y="360"/>
                  <a:pt x="29" y="362"/>
                </a:cubicBezTo>
                <a:cubicBezTo>
                  <a:pt x="12" y="369"/>
                  <a:pt x="2" y="381"/>
                  <a:pt x="2" y="394"/>
                </a:cubicBezTo>
                <a:cubicBezTo>
                  <a:pt x="2" y="416"/>
                  <a:pt x="30" y="433"/>
                  <a:pt x="68" y="433"/>
                </a:cubicBezTo>
                <a:cubicBezTo>
                  <a:pt x="106" y="433"/>
                  <a:pt x="134" y="416"/>
                  <a:pt x="134" y="394"/>
                </a:cubicBezTo>
                <a:cubicBezTo>
                  <a:pt x="134" y="374"/>
                  <a:pt x="112" y="359"/>
                  <a:pt x="80" y="35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grpSp>
        <p:nvGrpSpPr>
          <p:cNvPr id="4" name="Group 54"/>
          <p:cNvGrpSpPr/>
          <p:nvPr userDrawn="1"/>
        </p:nvGrpSpPr>
        <p:grpSpPr>
          <a:xfrm>
            <a:off x="5093851" y="5090521"/>
            <a:ext cx="466725" cy="465139"/>
            <a:chOff x="5486401" y="5233988"/>
            <a:chExt cx="466725" cy="465138"/>
          </a:xfrm>
          <a:noFill/>
        </p:grpSpPr>
        <p:sp>
          <p:nvSpPr>
            <p:cNvPr id="56" name="Line 401"/>
            <p:cNvSpPr>
              <a:spLocks noChangeShapeType="1"/>
            </p:cNvSpPr>
            <p:nvPr/>
          </p:nvSpPr>
          <p:spPr bwMode="auto">
            <a:xfrm flipV="1">
              <a:off x="5943601" y="5319713"/>
              <a:ext cx="4763"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57" name="Line 402"/>
            <p:cNvSpPr>
              <a:spLocks noChangeShapeType="1"/>
            </p:cNvSpPr>
            <p:nvPr/>
          </p:nvSpPr>
          <p:spPr bwMode="auto">
            <a:xfrm flipH="1" flipV="1">
              <a:off x="5884863" y="5362576"/>
              <a:ext cx="58738" cy="2063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58" name="Freeform 403"/>
            <p:cNvSpPr>
              <a:spLocks/>
            </p:cNvSpPr>
            <p:nvPr/>
          </p:nvSpPr>
          <p:spPr bwMode="auto">
            <a:xfrm>
              <a:off x="5486401" y="5233988"/>
              <a:ext cx="466725" cy="465138"/>
            </a:xfrm>
            <a:custGeom>
              <a:avLst/>
              <a:gdLst/>
              <a:ahLst/>
              <a:cxnLst>
                <a:cxn ang="0">
                  <a:pos x="20" y="297"/>
                </a:cxn>
                <a:cxn ang="0">
                  <a:pos x="207" y="414"/>
                </a:cxn>
                <a:cxn ang="0">
                  <a:pos x="414" y="208"/>
                </a:cxn>
                <a:cxn ang="0">
                  <a:pos x="332" y="208"/>
                </a:cxn>
                <a:cxn ang="0">
                  <a:pos x="274" y="304"/>
                </a:cxn>
                <a:cxn ang="0">
                  <a:pos x="209" y="208"/>
                </a:cxn>
                <a:cxn ang="0">
                  <a:pos x="144" y="96"/>
                </a:cxn>
                <a:cxn ang="0">
                  <a:pos x="82" y="208"/>
                </a:cxn>
                <a:cxn ang="0">
                  <a:pos x="0" y="208"/>
                </a:cxn>
                <a:cxn ang="0">
                  <a:pos x="0" y="207"/>
                </a:cxn>
                <a:cxn ang="0">
                  <a:pos x="207" y="0"/>
                </a:cxn>
                <a:cxn ang="0">
                  <a:pos x="393" y="117"/>
                </a:cxn>
              </a:cxnLst>
              <a:rect l="0" t="0" r="r" b="b"/>
              <a:pathLst>
                <a:path w="414" h="414">
                  <a:moveTo>
                    <a:pt x="20" y="297"/>
                  </a:moveTo>
                  <a:cubicBezTo>
                    <a:pt x="54" y="366"/>
                    <a:pt x="125" y="414"/>
                    <a:pt x="207" y="414"/>
                  </a:cubicBezTo>
                  <a:cubicBezTo>
                    <a:pt x="321" y="414"/>
                    <a:pt x="414" y="322"/>
                    <a:pt x="414" y="208"/>
                  </a:cubicBezTo>
                  <a:cubicBezTo>
                    <a:pt x="332" y="208"/>
                    <a:pt x="332" y="208"/>
                    <a:pt x="332" y="208"/>
                  </a:cubicBezTo>
                  <a:cubicBezTo>
                    <a:pt x="332" y="208"/>
                    <a:pt x="314" y="304"/>
                    <a:pt x="274" y="304"/>
                  </a:cubicBezTo>
                  <a:cubicBezTo>
                    <a:pt x="234" y="304"/>
                    <a:pt x="218" y="242"/>
                    <a:pt x="209" y="208"/>
                  </a:cubicBezTo>
                  <a:cubicBezTo>
                    <a:pt x="199" y="173"/>
                    <a:pt x="185" y="96"/>
                    <a:pt x="144" y="96"/>
                  </a:cubicBezTo>
                  <a:cubicBezTo>
                    <a:pt x="104" y="97"/>
                    <a:pt x="82" y="208"/>
                    <a:pt x="82" y="208"/>
                  </a:cubicBezTo>
                  <a:cubicBezTo>
                    <a:pt x="0" y="208"/>
                    <a:pt x="0" y="208"/>
                    <a:pt x="0" y="208"/>
                  </a:cubicBezTo>
                  <a:cubicBezTo>
                    <a:pt x="0" y="207"/>
                    <a:pt x="0" y="207"/>
                    <a:pt x="0" y="207"/>
                  </a:cubicBezTo>
                  <a:cubicBezTo>
                    <a:pt x="0" y="93"/>
                    <a:pt x="93" y="0"/>
                    <a:pt x="207" y="0"/>
                  </a:cubicBezTo>
                  <a:cubicBezTo>
                    <a:pt x="289" y="0"/>
                    <a:pt x="360" y="48"/>
                    <a:pt x="393" y="117"/>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59" name="Line 404"/>
            <p:cNvSpPr>
              <a:spLocks noChangeShapeType="1"/>
            </p:cNvSpPr>
            <p:nvPr/>
          </p:nvSpPr>
          <p:spPr bwMode="auto">
            <a:xfrm flipH="1">
              <a:off x="5492751" y="5551488"/>
              <a:ext cx="7938" cy="635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60" name="Line 405"/>
            <p:cNvSpPr>
              <a:spLocks noChangeShapeType="1"/>
            </p:cNvSpPr>
            <p:nvPr/>
          </p:nvSpPr>
          <p:spPr bwMode="auto">
            <a:xfrm>
              <a:off x="5500688" y="5551488"/>
              <a:ext cx="57150" cy="25400"/>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grpSp>
      <p:sp>
        <p:nvSpPr>
          <p:cNvPr id="61" name="Freeform 441"/>
          <p:cNvSpPr>
            <a:spLocks/>
          </p:cNvSpPr>
          <p:nvPr userDrawn="1"/>
        </p:nvSpPr>
        <p:spPr bwMode="auto">
          <a:xfrm>
            <a:off x="5182750" y="1746153"/>
            <a:ext cx="288925" cy="515939"/>
          </a:xfrm>
          <a:custGeom>
            <a:avLst/>
            <a:gdLst/>
            <a:ahLst/>
            <a:cxnLst>
              <a:cxn ang="0">
                <a:pos x="109" y="15"/>
              </a:cxn>
              <a:cxn ang="0">
                <a:pos x="84" y="49"/>
              </a:cxn>
              <a:cxn ang="0">
                <a:pos x="3" y="118"/>
              </a:cxn>
              <a:cxn ang="0">
                <a:pos x="0" y="142"/>
              </a:cxn>
              <a:cxn ang="0">
                <a:pos x="13" y="189"/>
              </a:cxn>
              <a:cxn ang="0">
                <a:pos x="65" y="230"/>
              </a:cxn>
              <a:cxn ang="0">
                <a:pos x="77" y="274"/>
              </a:cxn>
              <a:cxn ang="0">
                <a:pos x="77" y="283"/>
              </a:cxn>
              <a:cxn ang="0">
                <a:pos x="31" y="439"/>
              </a:cxn>
              <a:cxn ang="0">
                <a:pos x="30" y="445"/>
              </a:cxn>
              <a:cxn ang="0">
                <a:pos x="32" y="452"/>
              </a:cxn>
              <a:cxn ang="0">
                <a:pos x="43" y="458"/>
              </a:cxn>
              <a:cxn ang="0">
                <a:pos x="241" y="458"/>
              </a:cxn>
              <a:cxn ang="0">
                <a:pos x="252" y="452"/>
              </a:cxn>
              <a:cxn ang="0">
                <a:pos x="253" y="439"/>
              </a:cxn>
              <a:cxn ang="0">
                <a:pos x="221" y="226"/>
              </a:cxn>
              <a:cxn ang="0">
                <a:pos x="223" y="216"/>
              </a:cxn>
              <a:cxn ang="0">
                <a:pos x="217" y="208"/>
              </a:cxn>
              <a:cxn ang="0">
                <a:pos x="107" y="195"/>
              </a:cxn>
              <a:cxn ang="0">
                <a:pos x="97" y="210"/>
              </a:cxn>
              <a:cxn ang="0">
                <a:pos x="112" y="221"/>
              </a:cxn>
              <a:cxn ang="0">
                <a:pos x="192" y="225"/>
              </a:cxn>
              <a:cxn ang="0">
                <a:pos x="180" y="283"/>
              </a:cxn>
              <a:cxn ang="0">
                <a:pos x="219" y="432"/>
              </a:cxn>
              <a:cxn ang="0">
                <a:pos x="64" y="432"/>
              </a:cxn>
              <a:cxn ang="0">
                <a:pos x="104" y="284"/>
              </a:cxn>
              <a:cxn ang="0">
                <a:pos x="103" y="268"/>
              </a:cxn>
              <a:cxn ang="0">
                <a:pos x="85" y="213"/>
              </a:cxn>
              <a:cxn ang="0">
                <a:pos x="77" y="206"/>
              </a:cxn>
              <a:cxn ang="0">
                <a:pos x="36" y="175"/>
              </a:cxn>
              <a:cxn ang="0">
                <a:pos x="27" y="142"/>
              </a:cxn>
              <a:cxn ang="0">
                <a:pos x="29" y="125"/>
              </a:cxn>
              <a:cxn ang="0">
                <a:pos x="94" y="75"/>
              </a:cxn>
              <a:cxn ang="0">
                <a:pos x="98" y="75"/>
              </a:cxn>
              <a:cxn ang="0">
                <a:pos x="98" y="75"/>
              </a:cxn>
              <a:cxn ang="0">
                <a:pos x="108" y="64"/>
              </a:cxn>
              <a:cxn ang="0">
                <a:pos x="125" y="37"/>
              </a:cxn>
              <a:cxn ang="0">
                <a:pos x="156" y="30"/>
              </a:cxn>
              <a:cxn ang="0">
                <a:pos x="184" y="47"/>
              </a:cxn>
              <a:cxn ang="0">
                <a:pos x="191" y="78"/>
              </a:cxn>
              <a:cxn ang="0">
                <a:pos x="202" y="93"/>
              </a:cxn>
              <a:cxn ang="0">
                <a:pos x="217" y="83"/>
              </a:cxn>
              <a:cxn ang="0">
                <a:pos x="205" y="31"/>
              </a:cxn>
              <a:cxn ang="0">
                <a:pos x="161" y="3"/>
              </a:cxn>
              <a:cxn ang="0">
                <a:pos x="109" y="15"/>
              </a:cxn>
            </a:cxnLst>
            <a:rect l="0" t="0" r="r" b="b"/>
            <a:pathLst>
              <a:path w="255" h="458">
                <a:moveTo>
                  <a:pt x="109" y="15"/>
                </a:moveTo>
                <a:cubicBezTo>
                  <a:pt x="97" y="23"/>
                  <a:pt x="89" y="35"/>
                  <a:pt x="84" y="49"/>
                </a:cubicBezTo>
                <a:cubicBezTo>
                  <a:pt x="46" y="53"/>
                  <a:pt x="13" y="80"/>
                  <a:pt x="3" y="118"/>
                </a:cubicBezTo>
                <a:cubicBezTo>
                  <a:pt x="1" y="126"/>
                  <a:pt x="0" y="134"/>
                  <a:pt x="0" y="142"/>
                </a:cubicBezTo>
                <a:cubicBezTo>
                  <a:pt x="0" y="158"/>
                  <a:pt x="5" y="174"/>
                  <a:pt x="13" y="189"/>
                </a:cubicBezTo>
                <a:cubicBezTo>
                  <a:pt x="25" y="209"/>
                  <a:pt x="43" y="223"/>
                  <a:pt x="65" y="230"/>
                </a:cubicBezTo>
                <a:cubicBezTo>
                  <a:pt x="68" y="235"/>
                  <a:pt x="75" y="249"/>
                  <a:pt x="77" y="274"/>
                </a:cubicBezTo>
                <a:cubicBezTo>
                  <a:pt x="77" y="277"/>
                  <a:pt x="77" y="280"/>
                  <a:pt x="77" y="283"/>
                </a:cubicBezTo>
                <a:cubicBezTo>
                  <a:pt x="77" y="315"/>
                  <a:pt x="68" y="366"/>
                  <a:pt x="31" y="439"/>
                </a:cubicBezTo>
                <a:cubicBezTo>
                  <a:pt x="30" y="441"/>
                  <a:pt x="30" y="443"/>
                  <a:pt x="30" y="445"/>
                </a:cubicBezTo>
                <a:cubicBezTo>
                  <a:pt x="30" y="448"/>
                  <a:pt x="30" y="450"/>
                  <a:pt x="32" y="452"/>
                </a:cubicBezTo>
                <a:cubicBezTo>
                  <a:pt x="34" y="456"/>
                  <a:pt x="38" y="458"/>
                  <a:pt x="43" y="458"/>
                </a:cubicBezTo>
                <a:cubicBezTo>
                  <a:pt x="241" y="458"/>
                  <a:pt x="241" y="458"/>
                  <a:pt x="241" y="458"/>
                </a:cubicBezTo>
                <a:cubicBezTo>
                  <a:pt x="246" y="458"/>
                  <a:pt x="250" y="456"/>
                  <a:pt x="252" y="452"/>
                </a:cubicBezTo>
                <a:cubicBezTo>
                  <a:pt x="255" y="448"/>
                  <a:pt x="255" y="443"/>
                  <a:pt x="253" y="439"/>
                </a:cubicBezTo>
                <a:cubicBezTo>
                  <a:pt x="252" y="437"/>
                  <a:pt x="176" y="295"/>
                  <a:pt x="221" y="226"/>
                </a:cubicBezTo>
                <a:cubicBezTo>
                  <a:pt x="223" y="223"/>
                  <a:pt x="224" y="220"/>
                  <a:pt x="223" y="216"/>
                </a:cubicBezTo>
                <a:cubicBezTo>
                  <a:pt x="222" y="213"/>
                  <a:pt x="220" y="210"/>
                  <a:pt x="217" y="208"/>
                </a:cubicBezTo>
                <a:cubicBezTo>
                  <a:pt x="215" y="207"/>
                  <a:pt x="175" y="181"/>
                  <a:pt x="107" y="195"/>
                </a:cubicBezTo>
                <a:cubicBezTo>
                  <a:pt x="100" y="196"/>
                  <a:pt x="95" y="203"/>
                  <a:pt x="97" y="210"/>
                </a:cubicBezTo>
                <a:cubicBezTo>
                  <a:pt x="98" y="217"/>
                  <a:pt x="105" y="222"/>
                  <a:pt x="112" y="221"/>
                </a:cubicBezTo>
                <a:cubicBezTo>
                  <a:pt x="150" y="213"/>
                  <a:pt x="177" y="220"/>
                  <a:pt x="192" y="225"/>
                </a:cubicBezTo>
                <a:cubicBezTo>
                  <a:pt x="184" y="243"/>
                  <a:pt x="180" y="262"/>
                  <a:pt x="180" y="283"/>
                </a:cubicBezTo>
                <a:cubicBezTo>
                  <a:pt x="180" y="339"/>
                  <a:pt x="205" y="401"/>
                  <a:pt x="219" y="432"/>
                </a:cubicBezTo>
                <a:cubicBezTo>
                  <a:pt x="189" y="432"/>
                  <a:pt x="94" y="432"/>
                  <a:pt x="64" y="432"/>
                </a:cubicBezTo>
                <a:cubicBezTo>
                  <a:pt x="91" y="376"/>
                  <a:pt x="104" y="326"/>
                  <a:pt x="104" y="284"/>
                </a:cubicBezTo>
                <a:cubicBezTo>
                  <a:pt x="104" y="279"/>
                  <a:pt x="104" y="273"/>
                  <a:pt x="103" y="268"/>
                </a:cubicBezTo>
                <a:cubicBezTo>
                  <a:pt x="100" y="237"/>
                  <a:pt x="90" y="219"/>
                  <a:pt x="85" y="213"/>
                </a:cubicBezTo>
                <a:cubicBezTo>
                  <a:pt x="84" y="210"/>
                  <a:pt x="81" y="207"/>
                  <a:pt x="77" y="206"/>
                </a:cubicBezTo>
                <a:cubicBezTo>
                  <a:pt x="60" y="202"/>
                  <a:pt x="45" y="191"/>
                  <a:pt x="36" y="175"/>
                </a:cubicBezTo>
                <a:cubicBezTo>
                  <a:pt x="30" y="165"/>
                  <a:pt x="27" y="154"/>
                  <a:pt x="27" y="142"/>
                </a:cubicBezTo>
                <a:cubicBezTo>
                  <a:pt x="27" y="136"/>
                  <a:pt x="28" y="131"/>
                  <a:pt x="29" y="125"/>
                </a:cubicBezTo>
                <a:cubicBezTo>
                  <a:pt x="37" y="95"/>
                  <a:pt x="64" y="75"/>
                  <a:pt x="94" y="75"/>
                </a:cubicBezTo>
                <a:cubicBezTo>
                  <a:pt x="95" y="75"/>
                  <a:pt x="97" y="75"/>
                  <a:pt x="98" y="75"/>
                </a:cubicBezTo>
                <a:cubicBezTo>
                  <a:pt x="98" y="75"/>
                  <a:pt x="98" y="75"/>
                  <a:pt x="98" y="75"/>
                </a:cubicBezTo>
                <a:cubicBezTo>
                  <a:pt x="103" y="73"/>
                  <a:pt x="107" y="69"/>
                  <a:pt x="108" y="64"/>
                </a:cubicBezTo>
                <a:cubicBezTo>
                  <a:pt x="110" y="53"/>
                  <a:pt x="116" y="43"/>
                  <a:pt x="125" y="37"/>
                </a:cubicBezTo>
                <a:cubicBezTo>
                  <a:pt x="134" y="30"/>
                  <a:pt x="145" y="28"/>
                  <a:pt x="156" y="30"/>
                </a:cubicBezTo>
                <a:cubicBezTo>
                  <a:pt x="167" y="31"/>
                  <a:pt x="177" y="37"/>
                  <a:pt x="184" y="47"/>
                </a:cubicBezTo>
                <a:cubicBezTo>
                  <a:pt x="190" y="56"/>
                  <a:pt x="193" y="67"/>
                  <a:pt x="191" y="78"/>
                </a:cubicBezTo>
                <a:cubicBezTo>
                  <a:pt x="189" y="85"/>
                  <a:pt x="194" y="92"/>
                  <a:pt x="202" y="93"/>
                </a:cubicBezTo>
                <a:cubicBezTo>
                  <a:pt x="209" y="95"/>
                  <a:pt x="216" y="90"/>
                  <a:pt x="217" y="83"/>
                </a:cubicBezTo>
                <a:cubicBezTo>
                  <a:pt x="220" y="64"/>
                  <a:pt x="216" y="46"/>
                  <a:pt x="205" y="31"/>
                </a:cubicBezTo>
                <a:cubicBezTo>
                  <a:pt x="195" y="16"/>
                  <a:pt x="179" y="6"/>
                  <a:pt x="161" y="3"/>
                </a:cubicBezTo>
                <a:cubicBezTo>
                  <a:pt x="143" y="0"/>
                  <a:pt x="124" y="4"/>
                  <a:pt x="109" y="1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2" name="Freeform 497"/>
          <p:cNvSpPr>
            <a:spLocks noEditPoints="1"/>
          </p:cNvSpPr>
          <p:nvPr userDrawn="1"/>
        </p:nvSpPr>
        <p:spPr bwMode="auto">
          <a:xfrm>
            <a:off x="5073208" y="3772363"/>
            <a:ext cx="508001" cy="328613"/>
          </a:xfrm>
          <a:custGeom>
            <a:avLst/>
            <a:gdLst/>
            <a:ahLst/>
            <a:cxnLst>
              <a:cxn ang="0">
                <a:pos x="25" y="33"/>
              </a:cxn>
              <a:cxn ang="0">
                <a:pos x="0" y="87"/>
              </a:cxn>
              <a:cxn ang="0">
                <a:pos x="51" y="166"/>
              </a:cxn>
              <a:cxn ang="0">
                <a:pos x="12" y="178"/>
              </a:cxn>
              <a:cxn ang="0">
                <a:pos x="24" y="231"/>
              </a:cxn>
              <a:cxn ang="0">
                <a:pos x="32" y="241"/>
              </a:cxn>
              <a:cxn ang="0">
                <a:pos x="131" y="241"/>
              </a:cxn>
              <a:cxn ang="0">
                <a:pos x="140" y="231"/>
              </a:cxn>
              <a:cxn ang="0">
                <a:pos x="188" y="290"/>
              </a:cxn>
              <a:cxn ang="0">
                <a:pos x="205" y="194"/>
              </a:cxn>
              <a:cxn ang="0">
                <a:pos x="189" y="202"/>
              </a:cxn>
              <a:cxn ang="0">
                <a:pos x="213" y="241"/>
              </a:cxn>
              <a:cxn ang="0">
                <a:pos x="163" y="241"/>
              </a:cxn>
              <a:cxn ang="0">
                <a:pos x="169" y="213"/>
              </a:cxn>
              <a:cxn ang="0">
                <a:pos x="111" y="207"/>
              </a:cxn>
              <a:cxn ang="0">
                <a:pos x="101" y="226"/>
              </a:cxn>
              <a:cxn ang="0">
                <a:pos x="81" y="266"/>
              </a:cxn>
              <a:cxn ang="0">
                <a:pos x="61" y="226"/>
              </a:cxn>
              <a:cxn ang="0">
                <a:pos x="51" y="206"/>
              </a:cxn>
              <a:cxn ang="0">
                <a:pos x="36" y="207"/>
              </a:cxn>
              <a:cxn ang="0">
                <a:pos x="78" y="190"/>
              </a:cxn>
              <a:cxn ang="0">
                <a:pos x="89" y="183"/>
              </a:cxn>
              <a:cxn ang="0">
                <a:pos x="87" y="168"/>
              </a:cxn>
              <a:cxn ang="0">
                <a:pos x="44" y="49"/>
              </a:cxn>
              <a:cxn ang="0">
                <a:pos x="230" y="88"/>
              </a:cxn>
              <a:cxn ang="0">
                <a:pos x="229" y="138"/>
              </a:cxn>
              <a:cxn ang="0">
                <a:pos x="211" y="170"/>
              </a:cxn>
              <a:cxn ang="0">
                <a:pos x="220" y="190"/>
              </a:cxn>
              <a:cxn ang="0">
                <a:pos x="302" y="178"/>
              </a:cxn>
              <a:cxn ang="0">
                <a:pos x="339" y="105"/>
              </a:cxn>
              <a:cxn ang="0">
                <a:pos x="364" y="153"/>
              </a:cxn>
              <a:cxn ang="0">
                <a:pos x="425" y="207"/>
              </a:cxn>
              <a:cxn ang="0">
                <a:pos x="391" y="207"/>
              </a:cxn>
              <a:cxn ang="0">
                <a:pos x="378" y="213"/>
              </a:cxn>
              <a:cxn ang="0">
                <a:pos x="384" y="241"/>
              </a:cxn>
              <a:cxn ang="0">
                <a:pos x="334" y="241"/>
              </a:cxn>
              <a:cxn ang="0">
                <a:pos x="357" y="211"/>
              </a:cxn>
              <a:cxn ang="0">
                <a:pos x="351" y="195"/>
              </a:cxn>
              <a:cxn ang="0">
                <a:pos x="309" y="241"/>
              </a:cxn>
              <a:cxn ang="0">
                <a:pos x="408" y="241"/>
              </a:cxn>
              <a:cxn ang="0">
                <a:pos x="437" y="231"/>
              </a:cxn>
              <a:cxn ang="0">
                <a:pos x="449" y="157"/>
              </a:cxn>
              <a:cxn ang="0">
                <a:pos x="376" y="131"/>
              </a:cxn>
              <a:cxn ang="0">
                <a:pos x="348" y="81"/>
              </a:cxn>
              <a:cxn ang="0">
                <a:pos x="278" y="93"/>
              </a:cxn>
              <a:cxn ang="0">
                <a:pos x="243" y="166"/>
              </a:cxn>
              <a:cxn ang="0">
                <a:pos x="252" y="147"/>
              </a:cxn>
              <a:cxn ang="0">
                <a:pos x="260" y="105"/>
              </a:cxn>
              <a:cxn ang="0">
                <a:pos x="247" y="71"/>
              </a:cxn>
              <a:cxn ang="0">
                <a:pos x="33" y="26"/>
              </a:cxn>
              <a:cxn ang="0">
                <a:pos x="33" y="26"/>
              </a:cxn>
            </a:cxnLst>
            <a:rect l="0" t="0" r="r" b="b"/>
            <a:pathLst>
              <a:path w="449" h="290">
                <a:moveTo>
                  <a:pt x="33" y="26"/>
                </a:moveTo>
                <a:cubicBezTo>
                  <a:pt x="30" y="27"/>
                  <a:pt x="26" y="30"/>
                  <a:pt x="25" y="33"/>
                </a:cubicBezTo>
                <a:cubicBezTo>
                  <a:pt x="1" y="82"/>
                  <a:pt x="1" y="82"/>
                  <a:pt x="1" y="82"/>
                </a:cubicBezTo>
                <a:cubicBezTo>
                  <a:pt x="0" y="84"/>
                  <a:pt x="0" y="85"/>
                  <a:pt x="0" y="87"/>
                </a:cubicBezTo>
                <a:cubicBezTo>
                  <a:pt x="0" y="89"/>
                  <a:pt x="0" y="91"/>
                  <a:pt x="1" y="93"/>
                </a:cubicBezTo>
                <a:cubicBezTo>
                  <a:pt x="2" y="95"/>
                  <a:pt x="23" y="133"/>
                  <a:pt x="51" y="166"/>
                </a:cubicBezTo>
                <a:cubicBezTo>
                  <a:pt x="45" y="166"/>
                  <a:pt x="24" y="166"/>
                  <a:pt x="24" y="166"/>
                </a:cubicBezTo>
                <a:cubicBezTo>
                  <a:pt x="17" y="166"/>
                  <a:pt x="12" y="171"/>
                  <a:pt x="12" y="178"/>
                </a:cubicBezTo>
                <a:cubicBezTo>
                  <a:pt x="12" y="219"/>
                  <a:pt x="12" y="219"/>
                  <a:pt x="12" y="219"/>
                </a:cubicBezTo>
                <a:cubicBezTo>
                  <a:pt x="12" y="226"/>
                  <a:pt x="17" y="231"/>
                  <a:pt x="24" y="231"/>
                </a:cubicBezTo>
                <a:cubicBezTo>
                  <a:pt x="24" y="231"/>
                  <a:pt x="30" y="231"/>
                  <a:pt x="33" y="231"/>
                </a:cubicBezTo>
                <a:cubicBezTo>
                  <a:pt x="32" y="234"/>
                  <a:pt x="32" y="238"/>
                  <a:pt x="32" y="241"/>
                </a:cubicBezTo>
                <a:cubicBezTo>
                  <a:pt x="32" y="268"/>
                  <a:pt x="54" y="290"/>
                  <a:pt x="81" y="290"/>
                </a:cubicBezTo>
                <a:cubicBezTo>
                  <a:pt x="108" y="290"/>
                  <a:pt x="131" y="268"/>
                  <a:pt x="131" y="241"/>
                </a:cubicBezTo>
                <a:cubicBezTo>
                  <a:pt x="131" y="238"/>
                  <a:pt x="130" y="234"/>
                  <a:pt x="129" y="231"/>
                </a:cubicBezTo>
                <a:cubicBezTo>
                  <a:pt x="131" y="231"/>
                  <a:pt x="137" y="231"/>
                  <a:pt x="140" y="231"/>
                </a:cubicBezTo>
                <a:cubicBezTo>
                  <a:pt x="139" y="234"/>
                  <a:pt x="139" y="238"/>
                  <a:pt x="139" y="241"/>
                </a:cubicBezTo>
                <a:cubicBezTo>
                  <a:pt x="139" y="268"/>
                  <a:pt x="161" y="290"/>
                  <a:pt x="188" y="290"/>
                </a:cubicBezTo>
                <a:cubicBezTo>
                  <a:pt x="215" y="290"/>
                  <a:pt x="237" y="268"/>
                  <a:pt x="237" y="241"/>
                </a:cubicBezTo>
                <a:cubicBezTo>
                  <a:pt x="237" y="220"/>
                  <a:pt x="224" y="201"/>
                  <a:pt x="205" y="194"/>
                </a:cubicBezTo>
                <a:cubicBezTo>
                  <a:pt x="201" y="193"/>
                  <a:pt x="198" y="194"/>
                  <a:pt x="195" y="195"/>
                </a:cubicBezTo>
                <a:cubicBezTo>
                  <a:pt x="192" y="196"/>
                  <a:pt x="190" y="199"/>
                  <a:pt x="189" y="202"/>
                </a:cubicBezTo>
                <a:cubicBezTo>
                  <a:pt x="187" y="208"/>
                  <a:pt x="190" y="215"/>
                  <a:pt x="196" y="217"/>
                </a:cubicBezTo>
                <a:cubicBezTo>
                  <a:pt x="206" y="221"/>
                  <a:pt x="213" y="230"/>
                  <a:pt x="213" y="241"/>
                </a:cubicBezTo>
                <a:cubicBezTo>
                  <a:pt x="213" y="255"/>
                  <a:pt x="202" y="266"/>
                  <a:pt x="188" y="266"/>
                </a:cubicBezTo>
                <a:cubicBezTo>
                  <a:pt x="174" y="266"/>
                  <a:pt x="163" y="255"/>
                  <a:pt x="163" y="241"/>
                </a:cubicBezTo>
                <a:cubicBezTo>
                  <a:pt x="163" y="235"/>
                  <a:pt x="165" y="230"/>
                  <a:pt x="168" y="226"/>
                </a:cubicBezTo>
                <a:cubicBezTo>
                  <a:pt x="170" y="222"/>
                  <a:pt x="171" y="217"/>
                  <a:pt x="169" y="213"/>
                </a:cubicBezTo>
                <a:cubicBezTo>
                  <a:pt x="167" y="209"/>
                  <a:pt x="163" y="207"/>
                  <a:pt x="158" y="207"/>
                </a:cubicBezTo>
                <a:cubicBezTo>
                  <a:pt x="111" y="207"/>
                  <a:pt x="111" y="207"/>
                  <a:pt x="111" y="207"/>
                </a:cubicBezTo>
                <a:cubicBezTo>
                  <a:pt x="107" y="207"/>
                  <a:pt x="102" y="209"/>
                  <a:pt x="100" y="213"/>
                </a:cubicBezTo>
                <a:cubicBezTo>
                  <a:pt x="98" y="217"/>
                  <a:pt x="99" y="222"/>
                  <a:pt x="101" y="226"/>
                </a:cubicBezTo>
                <a:cubicBezTo>
                  <a:pt x="105" y="230"/>
                  <a:pt x="106" y="235"/>
                  <a:pt x="106" y="241"/>
                </a:cubicBezTo>
                <a:cubicBezTo>
                  <a:pt x="106" y="255"/>
                  <a:pt x="95" y="266"/>
                  <a:pt x="81" y="266"/>
                </a:cubicBezTo>
                <a:cubicBezTo>
                  <a:pt x="67" y="266"/>
                  <a:pt x="56" y="255"/>
                  <a:pt x="56" y="241"/>
                </a:cubicBezTo>
                <a:cubicBezTo>
                  <a:pt x="56" y="235"/>
                  <a:pt x="58" y="230"/>
                  <a:pt x="61" y="226"/>
                </a:cubicBezTo>
                <a:cubicBezTo>
                  <a:pt x="64" y="222"/>
                  <a:pt x="64" y="217"/>
                  <a:pt x="62" y="213"/>
                </a:cubicBezTo>
                <a:cubicBezTo>
                  <a:pt x="60" y="209"/>
                  <a:pt x="56" y="206"/>
                  <a:pt x="51" y="206"/>
                </a:cubicBezTo>
                <a:cubicBezTo>
                  <a:pt x="43" y="207"/>
                  <a:pt x="43" y="207"/>
                  <a:pt x="43" y="207"/>
                </a:cubicBezTo>
                <a:cubicBezTo>
                  <a:pt x="43" y="207"/>
                  <a:pt x="38" y="207"/>
                  <a:pt x="36" y="207"/>
                </a:cubicBezTo>
                <a:cubicBezTo>
                  <a:pt x="36" y="204"/>
                  <a:pt x="36" y="193"/>
                  <a:pt x="36" y="190"/>
                </a:cubicBezTo>
                <a:cubicBezTo>
                  <a:pt x="40" y="190"/>
                  <a:pt x="78" y="190"/>
                  <a:pt x="78" y="190"/>
                </a:cubicBezTo>
                <a:cubicBezTo>
                  <a:pt x="83" y="190"/>
                  <a:pt x="86" y="188"/>
                  <a:pt x="89" y="184"/>
                </a:cubicBezTo>
                <a:cubicBezTo>
                  <a:pt x="89" y="184"/>
                  <a:pt x="89" y="183"/>
                  <a:pt x="89" y="183"/>
                </a:cubicBezTo>
                <a:cubicBezTo>
                  <a:pt x="90" y="181"/>
                  <a:pt x="91" y="179"/>
                  <a:pt x="91" y="177"/>
                </a:cubicBezTo>
                <a:cubicBezTo>
                  <a:pt x="91" y="174"/>
                  <a:pt x="90" y="170"/>
                  <a:pt x="87" y="168"/>
                </a:cubicBezTo>
                <a:cubicBezTo>
                  <a:pt x="59" y="143"/>
                  <a:pt x="33" y="101"/>
                  <a:pt x="25" y="87"/>
                </a:cubicBezTo>
                <a:cubicBezTo>
                  <a:pt x="26" y="85"/>
                  <a:pt x="43" y="51"/>
                  <a:pt x="44" y="49"/>
                </a:cubicBezTo>
                <a:cubicBezTo>
                  <a:pt x="109" y="39"/>
                  <a:pt x="156" y="49"/>
                  <a:pt x="183" y="60"/>
                </a:cubicBezTo>
                <a:cubicBezTo>
                  <a:pt x="214" y="72"/>
                  <a:pt x="230" y="88"/>
                  <a:pt x="230" y="88"/>
                </a:cubicBezTo>
                <a:cubicBezTo>
                  <a:pt x="230" y="88"/>
                  <a:pt x="231" y="89"/>
                  <a:pt x="231" y="89"/>
                </a:cubicBezTo>
                <a:cubicBezTo>
                  <a:pt x="239" y="96"/>
                  <a:pt x="235" y="122"/>
                  <a:pt x="229" y="138"/>
                </a:cubicBezTo>
                <a:cubicBezTo>
                  <a:pt x="229" y="137"/>
                  <a:pt x="229" y="139"/>
                  <a:pt x="229" y="139"/>
                </a:cubicBezTo>
                <a:cubicBezTo>
                  <a:pt x="229" y="140"/>
                  <a:pt x="222" y="158"/>
                  <a:pt x="211" y="170"/>
                </a:cubicBezTo>
                <a:cubicBezTo>
                  <a:pt x="208" y="174"/>
                  <a:pt x="207" y="179"/>
                  <a:pt x="209" y="183"/>
                </a:cubicBezTo>
                <a:cubicBezTo>
                  <a:pt x="211" y="187"/>
                  <a:pt x="216" y="190"/>
                  <a:pt x="220" y="190"/>
                </a:cubicBezTo>
                <a:cubicBezTo>
                  <a:pt x="290" y="190"/>
                  <a:pt x="290" y="190"/>
                  <a:pt x="290" y="190"/>
                </a:cubicBezTo>
                <a:cubicBezTo>
                  <a:pt x="297" y="190"/>
                  <a:pt x="302" y="185"/>
                  <a:pt x="302" y="178"/>
                </a:cubicBezTo>
                <a:cubicBezTo>
                  <a:pt x="302" y="178"/>
                  <a:pt x="302" y="109"/>
                  <a:pt x="302" y="105"/>
                </a:cubicBezTo>
                <a:cubicBezTo>
                  <a:pt x="306" y="105"/>
                  <a:pt x="337" y="105"/>
                  <a:pt x="339" y="105"/>
                </a:cubicBezTo>
                <a:cubicBezTo>
                  <a:pt x="340" y="108"/>
                  <a:pt x="356" y="146"/>
                  <a:pt x="356" y="146"/>
                </a:cubicBezTo>
                <a:cubicBezTo>
                  <a:pt x="357" y="150"/>
                  <a:pt x="360" y="152"/>
                  <a:pt x="364" y="153"/>
                </a:cubicBezTo>
                <a:cubicBezTo>
                  <a:pt x="364" y="153"/>
                  <a:pt x="415" y="165"/>
                  <a:pt x="425" y="167"/>
                </a:cubicBezTo>
                <a:cubicBezTo>
                  <a:pt x="425" y="170"/>
                  <a:pt x="425" y="203"/>
                  <a:pt x="425" y="207"/>
                </a:cubicBezTo>
                <a:cubicBezTo>
                  <a:pt x="421" y="207"/>
                  <a:pt x="391" y="207"/>
                  <a:pt x="391" y="207"/>
                </a:cubicBezTo>
                <a:cubicBezTo>
                  <a:pt x="391" y="207"/>
                  <a:pt x="391" y="207"/>
                  <a:pt x="391" y="207"/>
                </a:cubicBezTo>
                <a:cubicBezTo>
                  <a:pt x="391" y="207"/>
                  <a:pt x="390" y="207"/>
                  <a:pt x="389" y="207"/>
                </a:cubicBezTo>
                <a:cubicBezTo>
                  <a:pt x="384" y="207"/>
                  <a:pt x="380" y="209"/>
                  <a:pt x="378" y="213"/>
                </a:cubicBezTo>
                <a:cubicBezTo>
                  <a:pt x="376" y="217"/>
                  <a:pt x="376" y="222"/>
                  <a:pt x="379" y="226"/>
                </a:cubicBezTo>
                <a:cubicBezTo>
                  <a:pt x="382" y="230"/>
                  <a:pt x="384" y="236"/>
                  <a:pt x="384" y="241"/>
                </a:cubicBezTo>
                <a:cubicBezTo>
                  <a:pt x="384" y="255"/>
                  <a:pt x="373" y="266"/>
                  <a:pt x="359" y="266"/>
                </a:cubicBezTo>
                <a:cubicBezTo>
                  <a:pt x="345" y="266"/>
                  <a:pt x="334" y="255"/>
                  <a:pt x="334" y="241"/>
                </a:cubicBezTo>
                <a:cubicBezTo>
                  <a:pt x="334" y="230"/>
                  <a:pt x="340" y="221"/>
                  <a:pt x="350" y="217"/>
                </a:cubicBezTo>
                <a:cubicBezTo>
                  <a:pt x="353" y="216"/>
                  <a:pt x="355" y="214"/>
                  <a:pt x="357" y="211"/>
                </a:cubicBezTo>
                <a:cubicBezTo>
                  <a:pt x="358" y="208"/>
                  <a:pt x="358" y="205"/>
                  <a:pt x="357" y="202"/>
                </a:cubicBezTo>
                <a:cubicBezTo>
                  <a:pt x="356" y="199"/>
                  <a:pt x="354" y="196"/>
                  <a:pt x="351" y="195"/>
                </a:cubicBezTo>
                <a:cubicBezTo>
                  <a:pt x="348" y="194"/>
                  <a:pt x="345" y="194"/>
                  <a:pt x="342" y="195"/>
                </a:cubicBezTo>
                <a:cubicBezTo>
                  <a:pt x="322" y="202"/>
                  <a:pt x="309" y="220"/>
                  <a:pt x="309" y="241"/>
                </a:cubicBezTo>
                <a:cubicBezTo>
                  <a:pt x="309" y="268"/>
                  <a:pt x="332" y="290"/>
                  <a:pt x="359" y="290"/>
                </a:cubicBezTo>
                <a:cubicBezTo>
                  <a:pt x="386" y="290"/>
                  <a:pt x="408" y="268"/>
                  <a:pt x="408" y="241"/>
                </a:cubicBezTo>
                <a:cubicBezTo>
                  <a:pt x="408" y="238"/>
                  <a:pt x="408" y="234"/>
                  <a:pt x="407" y="231"/>
                </a:cubicBezTo>
                <a:cubicBezTo>
                  <a:pt x="411" y="231"/>
                  <a:pt x="437" y="231"/>
                  <a:pt x="437" y="231"/>
                </a:cubicBezTo>
                <a:cubicBezTo>
                  <a:pt x="444" y="231"/>
                  <a:pt x="449" y="226"/>
                  <a:pt x="449" y="219"/>
                </a:cubicBezTo>
                <a:cubicBezTo>
                  <a:pt x="449" y="157"/>
                  <a:pt x="449" y="157"/>
                  <a:pt x="449" y="157"/>
                </a:cubicBezTo>
                <a:cubicBezTo>
                  <a:pt x="449" y="152"/>
                  <a:pt x="445" y="147"/>
                  <a:pt x="440" y="146"/>
                </a:cubicBezTo>
                <a:cubicBezTo>
                  <a:pt x="440" y="146"/>
                  <a:pt x="378" y="132"/>
                  <a:pt x="376" y="131"/>
                </a:cubicBezTo>
                <a:cubicBezTo>
                  <a:pt x="375" y="129"/>
                  <a:pt x="359" y="89"/>
                  <a:pt x="359" y="89"/>
                </a:cubicBezTo>
                <a:cubicBezTo>
                  <a:pt x="357" y="84"/>
                  <a:pt x="353" y="81"/>
                  <a:pt x="348" y="81"/>
                </a:cubicBezTo>
                <a:cubicBezTo>
                  <a:pt x="290" y="81"/>
                  <a:pt x="290" y="81"/>
                  <a:pt x="290" y="81"/>
                </a:cubicBezTo>
                <a:cubicBezTo>
                  <a:pt x="283" y="81"/>
                  <a:pt x="278" y="87"/>
                  <a:pt x="278" y="93"/>
                </a:cubicBezTo>
                <a:cubicBezTo>
                  <a:pt x="278" y="93"/>
                  <a:pt x="278" y="162"/>
                  <a:pt x="278" y="166"/>
                </a:cubicBezTo>
                <a:cubicBezTo>
                  <a:pt x="275" y="166"/>
                  <a:pt x="248" y="166"/>
                  <a:pt x="243" y="166"/>
                </a:cubicBezTo>
                <a:cubicBezTo>
                  <a:pt x="249" y="156"/>
                  <a:pt x="252" y="147"/>
                  <a:pt x="252" y="147"/>
                </a:cubicBezTo>
                <a:cubicBezTo>
                  <a:pt x="252" y="147"/>
                  <a:pt x="252" y="147"/>
                  <a:pt x="252" y="147"/>
                </a:cubicBezTo>
                <a:cubicBezTo>
                  <a:pt x="252" y="147"/>
                  <a:pt x="252" y="146"/>
                  <a:pt x="252" y="146"/>
                </a:cubicBezTo>
                <a:cubicBezTo>
                  <a:pt x="253" y="142"/>
                  <a:pt x="260" y="124"/>
                  <a:pt x="260" y="105"/>
                </a:cubicBezTo>
                <a:cubicBezTo>
                  <a:pt x="260" y="93"/>
                  <a:pt x="257" y="80"/>
                  <a:pt x="247" y="71"/>
                </a:cubicBezTo>
                <a:cubicBezTo>
                  <a:pt x="247" y="71"/>
                  <a:pt x="247" y="71"/>
                  <a:pt x="247" y="71"/>
                </a:cubicBezTo>
                <a:cubicBezTo>
                  <a:pt x="247" y="71"/>
                  <a:pt x="247" y="71"/>
                  <a:pt x="247" y="71"/>
                </a:cubicBezTo>
                <a:cubicBezTo>
                  <a:pt x="244" y="68"/>
                  <a:pt x="176" y="0"/>
                  <a:pt x="33" y="26"/>
                </a:cubicBezTo>
                <a:moveTo>
                  <a:pt x="33" y="26"/>
                </a:moveTo>
                <a:cubicBezTo>
                  <a:pt x="33" y="26"/>
                  <a:pt x="33" y="26"/>
                  <a:pt x="33" y="2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3" name="Freeform 263"/>
          <p:cNvSpPr>
            <a:spLocks/>
          </p:cNvSpPr>
          <p:nvPr userDrawn="1"/>
        </p:nvSpPr>
        <p:spPr bwMode="auto">
          <a:xfrm>
            <a:off x="5732774" y="1160863"/>
            <a:ext cx="409575" cy="522288"/>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4" name="Freeform 357"/>
          <p:cNvSpPr>
            <a:spLocks/>
          </p:cNvSpPr>
          <p:nvPr userDrawn="1"/>
        </p:nvSpPr>
        <p:spPr bwMode="auto">
          <a:xfrm>
            <a:off x="5670857" y="4389732"/>
            <a:ext cx="533400" cy="542925"/>
          </a:xfrm>
          <a:custGeom>
            <a:avLst/>
            <a:gdLst/>
            <a:ahLst/>
            <a:cxnLst>
              <a:cxn ang="0">
                <a:pos x="470" y="225"/>
              </a:cxn>
              <a:cxn ang="0">
                <a:pos x="376" y="221"/>
              </a:cxn>
              <a:cxn ang="0">
                <a:pos x="392" y="271"/>
              </a:cxn>
              <a:cxn ang="0">
                <a:pos x="404" y="280"/>
              </a:cxn>
              <a:cxn ang="0">
                <a:pos x="362" y="365"/>
              </a:cxn>
              <a:cxn ang="0">
                <a:pos x="349" y="345"/>
              </a:cxn>
              <a:cxn ang="0">
                <a:pos x="302" y="280"/>
              </a:cxn>
              <a:cxn ang="0">
                <a:pos x="320" y="245"/>
              </a:cxn>
              <a:cxn ang="0">
                <a:pos x="361" y="188"/>
              </a:cxn>
              <a:cxn ang="0">
                <a:pos x="293" y="188"/>
              </a:cxn>
              <a:cxn ang="0">
                <a:pos x="320" y="146"/>
              </a:cxn>
              <a:cxn ang="0">
                <a:pos x="362" y="161"/>
              </a:cxn>
              <a:cxn ang="0">
                <a:pos x="404" y="143"/>
              </a:cxn>
              <a:cxn ang="0">
                <a:pos x="377" y="138"/>
              </a:cxn>
              <a:cxn ang="0">
                <a:pos x="354" y="129"/>
              </a:cxn>
              <a:cxn ang="0">
                <a:pos x="266" y="187"/>
              </a:cxn>
              <a:cxn ang="0">
                <a:pos x="340" y="205"/>
              </a:cxn>
              <a:cxn ang="0">
                <a:pos x="336" y="218"/>
              </a:cxn>
              <a:cxn ang="0">
                <a:pos x="261" y="260"/>
              </a:cxn>
              <a:cxn ang="0">
                <a:pos x="321" y="338"/>
              </a:cxn>
              <a:cxn ang="0">
                <a:pos x="353" y="394"/>
              </a:cxn>
              <a:cxn ang="0">
                <a:pos x="427" y="295"/>
              </a:cxn>
              <a:cxn ang="0">
                <a:pos x="409" y="251"/>
              </a:cxn>
              <a:cxn ang="0">
                <a:pos x="440" y="221"/>
              </a:cxn>
              <a:cxn ang="0">
                <a:pos x="445" y="245"/>
              </a:cxn>
              <a:cxn ang="0">
                <a:pos x="215" y="448"/>
              </a:cxn>
              <a:cxn ang="0">
                <a:pos x="266" y="335"/>
              </a:cxn>
              <a:cxn ang="0">
                <a:pos x="191" y="271"/>
              </a:cxn>
              <a:cxn ang="0">
                <a:pos x="148" y="236"/>
              </a:cxn>
              <a:cxn ang="0">
                <a:pos x="216" y="176"/>
              </a:cxn>
              <a:cxn ang="0">
                <a:pos x="102" y="117"/>
              </a:cxn>
              <a:cxn ang="0">
                <a:pos x="55" y="221"/>
              </a:cxn>
              <a:cxn ang="0">
                <a:pos x="126" y="313"/>
              </a:cxn>
              <a:cxn ang="0">
                <a:pos x="133" y="366"/>
              </a:cxn>
              <a:cxn ang="0">
                <a:pos x="127" y="416"/>
              </a:cxn>
              <a:cxn ang="0">
                <a:pos x="266" y="42"/>
              </a:cxn>
              <a:cxn ang="0">
                <a:pos x="316" y="86"/>
              </a:cxn>
              <a:cxn ang="0">
                <a:pos x="383" y="90"/>
              </a:cxn>
              <a:cxn ang="0">
                <a:pos x="384" y="24"/>
              </a:cxn>
              <a:cxn ang="0">
                <a:pos x="358" y="29"/>
              </a:cxn>
              <a:cxn ang="0">
                <a:pos x="269" y="16"/>
              </a:cxn>
              <a:cxn ang="0">
                <a:pos x="138" y="443"/>
              </a:cxn>
              <a:cxn ang="0">
                <a:pos x="144" y="334"/>
              </a:cxn>
              <a:cxn ang="0">
                <a:pos x="142" y="292"/>
              </a:cxn>
              <a:cxn ang="0">
                <a:pos x="85" y="194"/>
              </a:cxn>
              <a:cxn ang="0">
                <a:pos x="131" y="142"/>
              </a:cxn>
              <a:cxn ang="0">
                <a:pos x="186" y="188"/>
              </a:cxn>
              <a:cxn ang="0">
                <a:pos x="112" y="230"/>
              </a:cxn>
              <a:cxn ang="0">
                <a:pos x="176" y="294"/>
              </a:cxn>
              <a:cxn ang="0">
                <a:pos x="239" y="334"/>
              </a:cxn>
              <a:cxn ang="0">
                <a:pos x="184" y="393"/>
              </a:cxn>
              <a:cxn ang="0">
                <a:pos x="164" y="463"/>
              </a:cxn>
              <a:cxn ang="0">
                <a:pos x="470" y="274"/>
              </a:cxn>
            </a:cxnLst>
            <a:rect l="0" t="0" r="r" b="b"/>
            <a:pathLst>
              <a:path w="472" h="481">
                <a:moveTo>
                  <a:pt x="471" y="235"/>
                </a:moveTo>
                <a:cubicBezTo>
                  <a:pt x="471" y="234"/>
                  <a:pt x="471" y="234"/>
                  <a:pt x="471" y="234"/>
                </a:cubicBezTo>
                <a:cubicBezTo>
                  <a:pt x="470" y="225"/>
                  <a:pt x="470" y="225"/>
                  <a:pt x="470" y="225"/>
                </a:cubicBezTo>
                <a:cubicBezTo>
                  <a:pt x="470" y="224"/>
                  <a:pt x="470" y="224"/>
                  <a:pt x="470" y="224"/>
                </a:cubicBezTo>
                <a:cubicBezTo>
                  <a:pt x="467" y="207"/>
                  <a:pt x="458" y="200"/>
                  <a:pt x="450" y="197"/>
                </a:cubicBezTo>
                <a:cubicBezTo>
                  <a:pt x="426" y="187"/>
                  <a:pt x="390" y="210"/>
                  <a:pt x="376" y="221"/>
                </a:cubicBezTo>
                <a:cubicBezTo>
                  <a:pt x="370" y="225"/>
                  <a:pt x="367" y="231"/>
                  <a:pt x="367" y="238"/>
                </a:cubicBezTo>
                <a:cubicBezTo>
                  <a:pt x="367" y="238"/>
                  <a:pt x="367" y="238"/>
                  <a:pt x="367" y="238"/>
                </a:cubicBezTo>
                <a:cubicBezTo>
                  <a:pt x="367" y="252"/>
                  <a:pt x="380" y="262"/>
                  <a:pt x="392" y="271"/>
                </a:cubicBezTo>
                <a:cubicBezTo>
                  <a:pt x="393" y="272"/>
                  <a:pt x="393" y="272"/>
                  <a:pt x="393" y="272"/>
                </a:cubicBezTo>
                <a:cubicBezTo>
                  <a:pt x="393" y="272"/>
                  <a:pt x="400" y="277"/>
                  <a:pt x="400" y="277"/>
                </a:cubicBezTo>
                <a:cubicBezTo>
                  <a:pt x="401" y="278"/>
                  <a:pt x="403" y="279"/>
                  <a:pt x="404" y="280"/>
                </a:cubicBezTo>
                <a:cubicBezTo>
                  <a:pt x="404" y="280"/>
                  <a:pt x="404" y="281"/>
                  <a:pt x="403" y="282"/>
                </a:cubicBezTo>
                <a:cubicBezTo>
                  <a:pt x="397" y="293"/>
                  <a:pt x="393" y="305"/>
                  <a:pt x="388" y="316"/>
                </a:cubicBezTo>
                <a:cubicBezTo>
                  <a:pt x="381" y="334"/>
                  <a:pt x="374" y="352"/>
                  <a:pt x="362" y="365"/>
                </a:cubicBezTo>
                <a:cubicBezTo>
                  <a:pt x="360" y="367"/>
                  <a:pt x="357" y="368"/>
                  <a:pt x="356" y="368"/>
                </a:cubicBezTo>
                <a:cubicBezTo>
                  <a:pt x="355" y="368"/>
                  <a:pt x="355" y="367"/>
                  <a:pt x="354" y="366"/>
                </a:cubicBezTo>
                <a:cubicBezTo>
                  <a:pt x="351" y="361"/>
                  <a:pt x="350" y="353"/>
                  <a:pt x="349" y="345"/>
                </a:cubicBezTo>
                <a:cubicBezTo>
                  <a:pt x="348" y="341"/>
                  <a:pt x="348" y="337"/>
                  <a:pt x="347" y="333"/>
                </a:cubicBezTo>
                <a:cubicBezTo>
                  <a:pt x="342" y="305"/>
                  <a:pt x="323" y="294"/>
                  <a:pt x="305" y="282"/>
                </a:cubicBezTo>
                <a:cubicBezTo>
                  <a:pt x="302" y="280"/>
                  <a:pt x="302" y="280"/>
                  <a:pt x="302" y="280"/>
                </a:cubicBezTo>
                <a:cubicBezTo>
                  <a:pt x="294" y="275"/>
                  <a:pt x="288" y="266"/>
                  <a:pt x="287" y="259"/>
                </a:cubicBezTo>
                <a:cubicBezTo>
                  <a:pt x="287" y="255"/>
                  <a:pt x="289" y="252"/>
                  <a:pt x="292" y="250"/>
                </a:cubicBezTo>
                <a:cubicBezTo>
                  <a:pt x="299" y="245"/>
                  <a:pt x="307" y="245"/>
                  <a:pt x="320" y="245"/>
                </a:cubicBezTo>
                <a:cubicBezTo>
                  <a:pt x="326" y="245"/>
                  <a:pt x="333" y="245"/>
                  <a:pt x="340" y="245"/>
                </a:cubicBezTo>
                <a:cubicBezTo>
                  <a:pt x="350" y="243"/>
                  <a:pt x="359" y="235"/>
                  <a:pt x="364" y="224"/>
                </a:cubicBezTo>
                <a:cubicBezTo>
                  <a:pt x="370" y="211"/>
                  <a:pt x="368" y="197"/>
                  <a:pt x="361" y="188"/>
                </a:cubicBezTo>
                <a:cubicBezTo>
                  <a:pt x="349" y="172"/>
                  <a:pt x="327" y="179"/>
                  <a:pt x="312" y="184"/>
                </a:cubicBezTo>
                <a:cubicBezTo>
                  <a:pt x="306" y="186"/>
                  <a:pt x="298" y="188"/>
                  <a:pt x="296" y="188"/>
                </a:cubicBezTo>
                <a:cubicBezTo>
                  <a:pt x="294" y="188"/>
                  <a:pt x="293" y="188"/>
                  <a:pt x="293" y="188"/>
                </a:cubicBezTo>
                <a:cubicBezTo>
                  <a:pt x="293" y="187"/>
                  <a:pt x="293" y="187"/>
                  <a:pt x="293" y="186"/>
                </a:cubicBezTo>
                <a:cubicBezTo>
                  <a:pt x="293" y="184"/>
                  <a:pt x="294" y="179"/>
                  <a:pt x="297" y="173"/>
                </a:cubicBezTo>
                <a:cubicBezTo>
                  <a:pt x="304" y="158"/>
                  <a:pt x="316" y="147"/>
                  <a:pt x="320" y="146"/>
                </a:cubicBezTo>
                <a:cubicBezTo>
                  <a:pt x="325" y="145"/>
                  <a:pt x="332" y="148"/>
                  <a:pt x="339" y="152"/>
                </a:cubicBezTo>
                <a:cubicBezTo>
                  <a:pt x="342" y="153"/>
                  <a:pt x="342" y="153"/>
                  <a:pt x="342" y="153"/>
                </a:cubicBezTo>
                <a:cubicBezTo>
                  <a:pt x="348" y="156"/>
                  <a:pt x="355" y="159"/>
                  <a:pt x="362" y="161"/>
                </a:cubicBezTo>
                <a:cubicBezTo>
                  <a:pt x="362" y="161"/>
                  <a:pt x="365" y="162"/>
                  <a:pt x="365" y="162"/>
                </a:cubicBezTo>
                <a:cubicBezTo>
                  <a:pt x="371" y="164"/>
                  <a:pt x="382" y="168"/>
                  <a:pt x="391" y="162"/>
                </a:cubicBezTo>
                <a:cubicBezTo>
                  <a:pt x="398" y="157"/>
                  <a:pt x="401" y="150"/>
                  <a:pt x="404" y="143"/>
                </a:cubicBezTo>
                <a:cubicBezTo>
                  <a:pt x="406" y="136"/>
                  <a:pt x="403" y="129"/>
                  <a:pt x="396" y="126"/>
                </a:cubicBezTo>
                <a:cubicBezTo>
                  <a:pt x="389" y="123"/>
                  <a:pt x="381" y="127"/>
                  <a:pt x="379" y="134"/>
                </a:cubicBezTo>
                <a:cubicBezTo>
                  <a:pt x="378" y="136"/>
                  <a:pt x="377" y="137"/>
                  <a:pt x="377" y="138"/>
                </a:cubicBezTo>
                <a:cubicBezTo>
                  <a:pt x="376" y="138"/>
                  <a:pt x="375" y="137"/>
                  <a:pt x="374" y="137"/>
                </a:cubicBezTo>
                <a:cubicBezTo>
                  <a:pt x="371" y="136"/>
                  <a:pt x="371" y="136"/>
                  <a:pt x="371" y="136"/>
                </a:cubicBezTo>
                <a:cubicBezTo>
                  <a:pt x="364" y="134"/>
                  <a:pt x="359" y="131"/>
                  <a:pt x="354" y="129"/>
                </a:cubicBezTo>
                <a:cubicBezTo>
                  <a:pt x="350" y="128"/>
                  <a:pt x="350" y="128"/>
                  <a:pt x="350" y="128"/>
                </a:cubicBezTo>
                <a:cubicBezTo>
                  <a:pt x="341" y="123"/>
                  <a:pt x="329" y="117"/>
                  <a:pt x="314" y="120"/>
                </a:cubicBezTo>
                <a:cubicBezTo>
                  <a:pt x="293" y="125"/>
                  <a:pt x="266" y="162"/>
                  <a:pt x="266" y="187"/>
                </a:cubicBezTo>
                <a:cubicBezTo>
                  <a:pt x="267" y="202"/>
                  <a:pt x="276" y="212"/>
                  <a:pt x="292" y="215"/>
                </a:cubicBezTo>
                <a:cubicBezTo>
                  <a:pt x="300" y="216"/>
                  <a:pt x="310" y="213"/>
                  <a:pt x="320" y="209"/>
                </a:cubicBezTo>
                <a:cubicBezTo>
                  <a:pt x="326" y="208"/>
                  <a:pt x="337" y="204"/>
                  <a:pt x="340" y="205"/>
                </a:cubicBezTo>
                <a:cubicBezTo>
                  <a:pt x="341" y="205"/>
                  <a:pt x="341" y="206"/>
                  <a:pt x="341" y="207"/>
                </a:cubicBezTo>
                <a:cubicBezTo>
                  <a:pt x="341" y="209"/>
                  <a:pt x="341" y="212"/>
                  <a:pt x="340" y="214"/>
                </a:cubicBezTo>
                <a:cubicBezTo>
                  <a:pt x="338" y="217"/>
                  <a:pt x="337" y="218"/>
                  <a:pt x="336" y="218"/>
                </a:cubicBezTo>
                <a:cubicBezTo>
                  <a:pt x="332" y="219"/>
                  <a:pt x="326" y="218"/>
                  <a:pt x="321" y="218"/>
                </a:cubicBezTo>
                <a:cubicBezTo>
                  <a:pt x="307" y="218"/>
                  <a:pt x="290" y="217"/>
                  <a:pt x="276" y="229"/>
                </a:cubicBezTo>
                <a:cubicBezTo>
                  <a:pt x="265" y="237"/>
                  <a:pt x="260" y="248"/>
                  <a:pt x="261" y="260"/>
                </a:cubicBezTo>
                <a:cubicBezTo>
                  <a:pt x="262" y="279"/>
                  <a:pt x="275" y="295"/>
                  <a:pt x="288" y="303"/>
                </a:cubicBezTo>
                <a:cubicBezTo>
                  <a:pt x="290" y="305"/>
                  <a:pt x="290" y="305"/>
                  <a:pt x="290" y="305"/>
                </a:cubicBezTo>
                <a:cubicBezTo>
                  <a:pt x="308" y="316"/>
                  <a:pt x="318" y="323"/>
                  <a:pt x="321" y="338"/>
                </a:cubicBezTo>
                <a:cubicBezTo>
                  <a:pt x="321" y="341"/>
                  <a:pt x="322" y="345"/>
                  <a:pt x="322" y="348"/>
                </a:cubicBezTo>
                <a:cubicBezTo>
                  <a:pt x="324" y="358"/>
                  <a:pt x="325" y="370"/>
                  <a:pt x="331" y="380"/>
                </a:cubicBezTo>
                <a:cubicBezTo>
                  <a:pt x="336" y="388"/>
                  <a:pt x="344" y="393"/>
                  <a:pt x="353" y="394"/>
                </a:cubicBezTo>
                <a:cubicBezTo>
                  <a:pt x="363" y="395"/>
                  <a:pt x="374" y="391"/>
                  <a:pt x="381" y="383"/>
                </a:cubicBezTo>
                <a:cubicBezTo>
                  <a:pt x="397" y="366"/>
                  <a:pt x="405" y="345"/>
                  <a:pt x="413" y="325"/>
                </a:cubicBezTo>
                <a:cubicBezTo>
                  <a:pt x="418" y="315"/>
                  <a:pt x="422" y="304"/>
                  <a:pt x="427" y="295"/>
                </a:cubicBezTo>
                <a:cubicBezTo>
                  <a:pt x="430" y="288"/>
                  <a:pt x="432" y="283"/>
                  <a:pt x="432" y="279"/>
                </a:cubicBezTo>
                <a:cubicBezTo>
                  <a:pt x="432" y="266"/>
                  <a:pt x="421" y="259"/>
                  <a:pt x="415" y="254"/>
                </a:cubicBezTo>
                <a:cubicBezTo>
                  <a:pt x="409" y="251"/>
                  <a:pt x="409" y="251"/>
                  <a:pt x="409" y="251"/>
                </a:cubicBezTo>
                <a:cubicBezTo>
                  <a:pt x="407" y="249"/>
                  <a:pt x="407" y="249"/>
                  <a:pt x="407" y="249"/>
                </a:cubicBezTo>
                <a:cubicBezTo>
                  <a:pt x="401" y="245"/>
                  <a:pt x="398" y="242"/>
                  <a:pt x="396" y="240"/>
                </a:cubicBezTo>
                <a:cubicBezTo>
                  <a:pt x="414" y="227"/>
                  <a:pt x="434" y="219"/>
                  <a:pt x="440" y="221"/>
                </a:cubicBezTo>
                <a:cubicBezTo>
                  <a:pt x="442" y="222"/>
                  <a:pt x="443" y="225"/>
                  <a:pt x="444" y="228"/>
                </a:cubicBezTo>
                <a:cubicBezTo>
                  <a:pt x="444" y="229"/>
                  <a:pt x="445" y="235"/>
                  <a:pt x="445" y="236"/>
                </a:cubicBezTo>
                <a:cubicBezTo>
                  <a:pt x="445" y="239"/>
                  <a:pt x="445" y="242"/>
                  <a:pt x="445" y="245"/>
                </a:cubicBezTo>
                <a:cubicBezTo>
                  <a:pt x="445" y="254"/>
                  <a:pt x="444" y="262"/>
                  <a:pt x="443" y="271"/>
                </a:cubicBezTo>
                <a:cubicBezTo>
                  <a:pt x="436" y="325"/>
                  <a:pt x="409" y="373"/>
                  <a:pt x="366" y="406"/>
                </a:cubicBezTo>
                <a:cubicBezTo>
                  <a:pt x="323" y="439"/>
                  <a:pt x="269" y="454"/>
                  <a:pt x="215" y="448"/>
                </a:cubicBezTo>
                <a:cubicBezTo>
                  <a:pt x="201" y="447"/>
                  <a:pt x="188" y="443"/>
                  <a:pt x="180" y="440"/>
                </a:cubicBezTo>
                <a:cubicBezTo>
                  <a:pt x="185" y="431"/>
                  <a:pt x="203" y="409"/>
                  <a:pt x="246" y="372"/>
                </a:cubicBezTo>
                <a:cubicBezTo>
                  <a:pt x="259" y="360"/>
                  <a:pt x="266" y="347"/>
                  <a:pt x="266" y="335"/>
                </a:cubicBezTo>
                <a:cubicBezTo>
                  <a:pt x="266" y="333"/>
                  <a:pt x="266" y="332"/>
                  <a:pt x="266" y="330"/>
                </a:cubicBezTo>
                <a:cubicBezTo>
                  <a:pt x="262" y="304"/>
                  <a:pt x="229" y="289"/>
                  <a:pt x="202" y="276"/>
                </a:cubicBezTo>
                <a:cubicBezTo>
                  <a:pt x="191" y="271"/>
                  <a:pt x="191" y="271"/>
                  <a:pt x="191" y="271"/>
                </a:cubicBezTo>
                <a:cubicBezTo>
                  <a:pt x="185" y="269"/>
                  <a:pt x="185" y="269"/>
                  <a:pt x="185" y="269"/>
                </a:cubicBezTo>
                <a:cubicBezTo>
                  <a:pt x="147" y="255"/>
                  <a:pt x="137" y="247"/>
                  <a:pt x="135" y="244"/>
                </a:cubicBezTo>
                <a:cubicBezTo>
                  <a:pt x="137" y="242"/>
                  <a:pt x="140" y="239"/>
                  <a:pt x="148" y="236"/>
                </a:cubicBezTo>
                <a:cubicBezTo>
                  <a:pt x="152" y="235"/>
                  <a:pt x="157" y="233"/>
                  <a:pt x="161" y="232"/>
                </a:cubicBezTo>
                <a:cubicBezTo>
                  <a:pt x="178" y="227"/>
                  <a:pt x="199" y="220"/>
                  <a:pt x="210" y="200"/>
                </a:cubicBezTo>
                <a:cubicBezTo>
                  <a:pt x="214" y="192"/>
                  <a:pt x="216" y="184"/>
                  <a:pt x="216" y="176"/>
                </a:cubicBezTo>
                <a:cubicBezTo>
                  <a:pt x="216" y="161"/>
                  <a:pt x="209" y="147"/>
                  <a:pt x="196" y="138"/>
                </a:cubicBezTo>
                <a:cubicBezTo>
                  <a:pt x="178" y="126"/>
                  <a:pt x="157" y="118"/>
                  <a:pt x="134" y="115"/>
                </a:cubicBezTo>
                <a:cubicBezTo>
                  <a:pt x="122" y="114"/>
                  <a:pt x="111" y="114"/>
                  <a:pt x="102" y="117"/>
                </a:cubicBezTo>
                <a:cubicBezTo>
                  <a:pt x="74" y="123"/>
                  <a:pt x="65" y="161"/>
                  <a:pt x="60" y="184"/>
                </a:cubicBezTo>
                <a:cubicBezTo>
                  <a:pt x="59" y="188"/>
                  <a:pt x="59" y="188"/>
                  <a:pt x="59" y="188"/>
                </a:cubicBezTo>
                <a:cubicBezTo>
                  <a:pt x="56" y="200"/>
                  <a:pt x="55" y="211"/>
                  <a:pt x="55" y="221"/>
                </a:cubicBezTo>
                <a:cubicBezTo>
                  <a:pt x="55" y="237"/>
                  <a:pt x="58" y="250"/>
                  <a:pt x="65" y="261"/>
                </a:cubicBezTo>
                <a:cubicBezTo>
                  <a:pt x="77" y="281"/>
                  <a:pt x="97" y="294"/>
                  <a:pt x="114" y="306"/>
                </a:cubicBezTo>
                <a:cubicBezTo>
                  <a:pt x="114" y="306"/>
                  <a:pt x="125" y="313"/>
                  <a:pt x="126" y="313"/>
                </a:cubicBezTo>
                <a:cubicBezTo>
                  <a:pt x="122" y="318"/>
                  <a:pt x="118" y="324"/>
                  <a:pt x="118" y="334"/>
                </a:cubicBezTo>
                <a:cubicBezTo>
                  <a:pt x="118" y="334"/>
                  <a:pt x="118" y="334"/>
                  <a:pt x="118" y="335"/>
                </a:cubicBezTo>
                <a:cubicBezTo>
                  <a:pt x="118" y="349"/>
                  <a:pt x="126" y="358"/>
                  <a:pt x="133" y="366"/>
                </a:cubicBezTo>
                <a:cubicBezTo>
                  <a:pt x="139" y="373"/>
                  <a:pt x="142" y="377"/>
                  <a:pt x="142" y="384"/>
                </a:cubicBezTo>
                <a:cubicBezTo>
                  <a:pt x="142" y="385"/>
                  <a:pt x="142" y="385"/>
                  <a:pt x="142" y="386"/>
                </a:cubicBezTo>
                <a:cubicBezTo>
                  <a:pt x="142" y="397"/>
                  <a:pt x="134" y="408"/>
                  <a:pt x="127" y="416"/>
                </a:cubicBezTo>
                <a:cubicBezTo>
                  <a:pt x="70" y="377"/>
                  <a:pt x="36" y="313"/>
                  <a:pt x="36" y="245"/>
                </a:cubicBezTo>
                <a:cubicBezTo>
                  <a:pt x="36" y="237"/>
                  <a:pt x="36" y="228"/>
                  <a:pt x="37" y="220"/>
                </a:cubicBezTo>
                <a:cubicBezTo>
                  <a:pt x="52" y="108"/>
                  <a:pt x="154" y="28"/>
                  <a:pt x="266" y="42"/>
                </a:cubicBezTo>
                <a:cubicBezTo>
                  <a:pt x="294" y="46"/>
                  <a:pt x="321" y="55"/>
                  <a:pt x="345" y="70"/>
                </a:cubicBezTo>
                <a:cubicBezTo>
                  <a:pt x="335" y="72"/>
                  <a:pt x="327" y="73"/>
                  <a:pt x="327" y="73"/>
                </a:cubicBezTo>
                <a:cubicBezTo>
                  <a:pt x="320" y="74"/>
                  <a:pt x="316" y="80"/>
                  <a:pt x="316" y="86"/>
                </a:cubicBezTo>
                <a:cubicBezTo>
                  <a:pt x="316" y="87"/>
                  <a:pt x="316" y="88"/>
                  <a:pt x="316" y="89"/>
                </a:cubicBezTo>
                <a:cubicBezTo>
                  <a:pt x="317" y="96"/>
                  <a:pt x="324" y="101"/>
                  <a:pt x="332" y="99"/>
                </a:cubicBezTo>
                <a:cubicBezTo>
                  <a:pt x="383" y="90"/>
                  <a:pt x="383" y="90"/>
                  <a:pt x="383" y="90"/>
                </a:cubicBezTo>
                <a:cubicBezTo>
                  <a:pt x="386" y="89"/>
                  <a:pt x="389" y="87"/>
                  <a:pt x="391" y="84"/>
                </a:cubicBezTo>
                <a:cubicBezTo>
                  <a:pt x="393" y="81"/>
                  <a:pt x="394" y="78"/>
                  <a:pt x="394" y="74"/>
                </a:cubicBezTo>
                <a:cubicBezTo>
                  <a:pt x="384" y="24"/>
                  <a:pt x="384" y="24"/>
                  <a:pt x="384" y="24"/>
                </a:cubicBezTo>
                <a:cubicBezTo>
                  <a:pt x="383" y="16"/>
                  <a:pt x="376" y="12"/>
                  <a:pt x="368" y="13"/>
                </a:cubicBezTo>
                <a:cubicBezTo>
                  <a:pt x="362" y="14"/>
                  <a:pt x="357" y="20"/>
                  <a:pt x="357" y="26"/>
                </a:cubicBezTo>
                <a:cubicBezTo>
                  <a:pt x="357" y="27"/>
                  <a:pt x="358" y="28"/>
                  <a:pt x="358" y="29"/>
                </a:cubicBezTo>
                <a:cubicBezTo>
                  <a:pt x="358" y="29"/>
                  <a:pt x="360" y="38"/>
                  <a:pt x="362" y="48"/>
                </a:cubicBezTo>
                <a:cubicBezTo>
                  <a:pt x="361" y="48"/>
                  <a:pt x="361" y="48"/>
                  <a:pt x="361" y="48"/>
                </a:cubicBezTo>
                <a:cubicBezTo>
                  <a:pt x="333" y="31"/>
                  <a:pt x="302" y="20"/>
                  <a:pt x="269" y="16"/>
                </a:cubicBezTo>
                <a:cubicBezTo>
                  <a:pt x="143" y="0"/>
                  <a:pt x="27" y="90"/>
                  <a:pt x="11" y="216"/>
                </a:cubicBezTo>
                <a:cubicBezTo>
                  <a:pt x="0" y="307"/>
                  <a:pt x="43" y="397"/>
                  <a:pt x="122" y="444"/>
                </a:cubicBezTo>
                <a:cubicBezTo>
                  <a:pt x="127" y="447"/>
                  <a:pt x="133" y="447"/>
                  <a:pt x="138" y="443"/>
                </a:cubicBezTo>
                <a:cubicBezTo>
                  <a:pt x="141" y="440"/>
                  <a:pt x="167" y="417"/>
                  <a:pt x="169" y="388"/>
                </a:cubicBezTo>
                <a:cubicBezTo>
                  <a:pt x="171" y="368"/>
                  <a:pt x="160" y="356"/>
                  <a:pt x="153" y="348"/>
                </a:cubicBezTo>
                <a:cubicBezTo>
                  <a:pt x="147" y="342"/>
                  <a:pt x="144" y="339"/>
                  <a:pt x="144" y="334"/>
                </a:cubicBezTo>
                <a:cubicBezTo>
                  <a:pt x="144" y="333"/>
                  <a:pt x="145" y="332"/>
                  <a:pt x="148" y="329"/>
                </a:cubicBezTo>
                <a:cubicBezTo>
                  <a:pt x="151" y="325"/>
                  <a:pt x="156" y="319"/>
                  <a:pt x="155" y="310"/>
                </a:cubicBezTo>
                <a:cubicBezTo>
                  <a:pt x="154" y="302"/>
                  <a:pt x="147" y="296"/>
                  <a:pt x="142" y="292"/>
                </a:cubicBezTo>
                <a:cubicBezTo>
                  <a:pt x="142" y="292"/>
                  <a:pt x="129" y="283"/>
                  <a:pt x="129" y="283"/>
                </a:cubicBezTo>
                <a:cubicBezTo>
                  <a:pt x="113" y="273"/>
                  <a:pt x="97" y="262"/>
                  <a:pt x="88" y="248"/>
                </a:cubicBezTo>
                <a:cubicBezTo>
                  <a:pt x="81" y="235"/>
                  <a:pt x="80" y="218"/>
                  <a:pt x="85" y="194"/>
                </a:cubicBezTo>
                <a:cubicBezTo>
                  <a:pt x="86" y="190"/>
                  <a:pt x="86" y="190"/>
                  <a:pt x="86" y="190"/>
                </a:cubicBezTo>
                <a:cubicBezTo>
                  <a:pt x="89" y="178"/>
                  <a:pt x="96" y="145"/>
                  <a:pt x="108" y="142"/>
                </a:cubicBezTo>
                <a:cubicBezTo>
                  <a:pt x="115" y="141"/>
                  <a:pt x="122" y="141"/>
                  <a:pt x="131" y="142"/>
                </a:cubicBezTo>
                <a:cubicBezTo>
                  <a:pt x="150" y="144"/>
                  <a:pt x="166" y="150"/>
                  <a:pt x="181" y="160"/>
                </a:cubicBezTo>
                <a:cubicBezTo>
                  <a:pt x="188" y="165"/>
                  <a:pt x="190" y="170"/>
                  <a:pt x="190" y="175"/>
                </a:cubicBezTo>
                <a:cubicBezTo>
                  <a:pt x="190" y="180"/>
                  <a:pt x="188" y="185"/>
                  <a:pt x="186" y="188"/>
                </a:cubicBezTo>
                <a:cubicBezTo>
                  <a:pt x="181" y="198"/>
                  <a:pt x="168" y="202"/>
                  <a:pt x="153" y="206"/>
                </a:cubicBezTo>
                <a:cubicBezTo>
                  <a:pt x="148" y="208"/>
                  <a:pt x="143" y="210"/>
                  <a:pt x="138" y="211"/>
                </a:cubicBezTo>
                <a:cubicBezTo>
                  <a:pt x="125" y="217"/>
                  <a:pt x="117" y="222"/>
                  <a:pt x="112" y="230"/>
                </a:cubicBezTo>
                <a:cubicBezTo>
                  <a:pt x="109" y="234"/>
                  <a:pt x="108" y="239"/>
                  <a:pt x="108" y="243"/>
                </a:cubicBezTo>
                <a:cubicBezTo>
                  <a:pt x="108" y="246"/>
                  <a:pt x="108" y="248"/>
                  <a:pt x="109" y="251"/>
                </a:cubicBezTo>
                <a:cubicBezTo>
                  <a:pt x="114" y="266"/>
                  <a:pt x="134" y="279"/>
                  <a:pt x="176" y="294"/>
                </a:cubicBezTo>
                <a:cubicBezTo>
                  <a:pt x="176" y="294"/>
                  <a:pt x="179" y="295"/>
                  <a:pt x="179" y="295"/>
                </a:cubicBezTo>
                <a:cubicBezTo>
                  <a:pt x="181" y="296"/>
                  <a:pt x="191" y="301"/>
                  <a:pt x="191" y="301"/>
                </a:cubicBezTo>
                <a:cubicBezTo>
                  <a:pt x="208" y="309"/>
                  <a:pt x="238" y="322"/>
                  <a:pt x="239" y="334"/>
                </a:cubicBezTo>
                <a:cubicBezTo>
                  <a:pt x="239" y="334"/>
                  <a:pt x="239" y="335"/>
                  <a:pt x="239" y="335"/>
                </a:cubicBezTo>
                <a:cubicBezTo>
                  <a:pt x="239" y="339"/>
                  <a:pt x="235" y="345"/>
                  <a:pt x="228" y="352"/>
                </a:cubicBezTo>
                <a:cubicBezTo>
                  <a:pt x="211" y="367"/>
                  <a:pt x="196" y="381"/>
                  <a:pt x="184" y="393"/>
                </a:cubicBezTo>
                <a:cubicBezTo>
                  <a:pt x="157" y="422"/>
                  <a:pt x="151" y="435"/>
                  <a:pt x="151" y="444"/>
                </a:cubicBezTo>
                <a:cubicBezTo>
                  <a:pt x="151" y="446"/>
                  <a:pt x="151" y="447"/>
                  <a:pt x="151" y="448"/>
                </a:cubicBezTo>
                <a:cubicBezTo>
                  <a:pt x="152" y="455"/>
                  <a:pt x="157" y="461"/>
                  <a:pt x="164" y="463"/>
                </a:cubicBezTo>
                <a:cubicBezTo>
                  <a:pt x="165" y="464"/>
                  <a:pt x="189" y="472"/>
                  <a:pt x="212" y="475"/>
                </a:cubicBezTo>
                <a:cubicBezTo>
                  <a:pt x="273" y="481"/>
                  <a:pt x="334" y="464"/>
                  <a:pt x="382" y="427"/>
                </a:cubicBezTo>
                <a:cubicBezTo>
                  <a:pt x="431" y="389"/>
                  <a:pt x="462" y="335"/>
                  <a:pt x="470" y="274"/>
                </a:cubicBezTo>
                <a:cubicBezTo>
                  <a:pt x="471" y="261"/>
                  <a:pt x="472" y="248"/>
                  <a:pt x="471" y="23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5" name="Freeform 373"/>
          <p:cNvSpPr>
            <a:spLocks/>
          </p:cNvSpPr>
          <p:nvPr userDrawn="1"/>
        </p:nvSpPr>
        <p:spPr bwMode="auto">
          <a:xfrm>
            <a:off x="5751824" y="2381467"/>
            <a:ext cx="371475" cy="520700"/>
          </a:xfrm>
          <a:custGeom>
            <a:avLst/>
            <a:gdLst/>
            <a:ahLst/>
            <a:cxnLst>
              <a:cxn ang="0">
                <a:pos x="162" y="17"/>
              </a:cxn>
              <a:cxn ang="0">
                <a:pos x="162" y="19"/>
              </a:cxn>
              <a:cxn ang="0">
                <a:pos x="150" y="136"/>
              </a:cxn>
              <a:cxn ang="0">
                <a:pos x="47" y="205"/>
              </a:cxn>
              <a:cxn ang="0">
                <a:pos x="45" y="207"/>
              </a:cxn>
              <a:cxn ang="0">
                <a:pos x="38" y="223"/>
              </a:cxn>
              <a:cxn ang="0">
                <a:pos x="41" y="234"/>
              </a:cxn>
              <a:cxn ang="0">
                <a:pos x="67" y="244"/>
              </a:cxn>
              <a:cxn ang="0">
                <a:pos x="68" y="243"/>
              </a:cxn>
              <a:cxn ang="0">
                <a:pos x="152" y="210"/>
              </a:cxn>
              <a:cxn ang="0">
                <a:pos x="142" y="391"/>
              </a:cxn>
              <a:cxn ang="0">
                <a:pos x="142" y="392"/>
              </a:cxn>
              <a:cxn ang="0">
                <a:pos x="155" y="405"/>
              </a:cxn>
              <a:cxn ang="0">
                <a:pos x="169" y="393"/>
              </a:cxn>
              <a:cxn ang="0">
                <a:pos x="179" y="190"/>
              </a:cxn>
              <a:cxn ang="0">
                <a:pos x="174" y="179"/>
              </a:cxn>
              <a:cxn ang="0">
                <a:pos x="161" y="177"/>
              </a:cxn>
              <a:cxn ang="0">
                <a:pos x="99" y="202"/>
              </a:cxn>
              <a:cxn ang="0">
                <a:pos x="170" y="154"/>
              </a:cxn>
              <a:cxn ang="0">
                <a:pos x="176" y="145"/>
              </a:cxn>
              <a:cxn ang="0">
                <a:pos x="183" y="68"/>
              </a:cxn>
              <a:cxn ang="0">
                <a:pos x="191" y="144"/>
              </a:cxn>
              <a:cxn ang="0">
                <a:pos x="197" y="154"/>
              </a:cxn>
              <a:cxn ang="0">
                <a:pos x="268" y="203"/>
              </a:cxn>
              <a:cxn ang="0">
                <a:pos x="207" y="178"/>
              </a:cxn>
              <a:cxn ang="0">
                <a:pos x="194" y="179"/>
              </a:cxn>
              <a:cxn ang="0">
                <a:pos x="189" y="190"/>
              </a:cxn>
              <a:cxn ang="0">
                <a:pos x="189" y="191"/>
              </a:cxn>
              <a:cxn ang="0">
                <a:pos x="204" y="418"/>
              </a:cxn>
              <a:cxn ang="0">
                <a:pos x="42" y="418"/>
              </a:cxn>
              <a:cxn ang="0">
                <a:pos x="36" y="420"/>
              </a:cxn>
              <a:cxn ang="0">
                <a:pos x="7" y="434"/>
              </a:cxn>
              <a:cxn ang="0">
                <a:pos x="0" y="446"/>
              </a:cxn>
              <a:cxn ang="0">
                <a:pos x="1" y="451"/>
              </a:cxn>
              <a:cxn ang="0">
                <a:pos x="19" y="457"/>
              </a:cxn>
              <a:cxn ang="0">
                <a:pos x="45" y="445"/>
              </a:cxn>
              <a:cxn ang="0">
                <a:pos x="219" y="445"/>
              </a:cxn>
              <a:cxn ang="0">
                <a:pos x="228" y="440"/>
              </a:cxn>
              <a:cxn ang="0">
                <a:pos x="232" y="431"/>
              </a:cxn>
              <a:cxn ang="0">
                <a:pos x="232" y="430"/>
              </a:cxn>
              <a:cxn ang="0">
                <a:pos x="217" y="211"/>
              </a:cxn>
              <a:cxn ang="0">
                <a:pos x="299" y="245"/>
              </a:cxn>
              <a:cxn ang="0">
                <a:pos x="300" y="245"/>
              </a:cxn>
              <a:cxn ang="0">
                <a:pos x="326" y="235"/>
              </a:cxn>
              <a:cxn ang="0">
                <a:pos x="329" y="224"/>
              </a:cxn>
              <a:cxn ang="0">
                <a:pos x="322" y="208"/>
              </a:cxn>
              <a:cxn ang="0">
                <a:pos x="320" y="207"/>
              </a:cxn>
              <a:cxn ang="0">
                <a:pos x="217" y="135"/>
              </a:cxn>
              <a:cxn ang="0">
                <a:pos x="205" y="19"/>
              </a:cxn>
              <a:cxn ang="0">
                <a:pos x="205" y="17"/>
              </a:cxn>
              <a:cxn ang="0">
                <a:pos x="183" y="0"/>
              </a:cxn>
              <a:cxn ang="0">
                <a:pos x="162" y="17"/>
              </a:cxn>
            </a:cxnLst>
            <a:rect l="0" t="0" r="r" b="b"/>
            <a:pathLst>
              <a:path w="329" h="461">
                <a:moveTo>
                  <a:pt x="162" y="17"/>
                </a:moveTo>
                <a:cubicBezTo>
                  <a:pt x="162" y="18"/>
                  <a:pt x="162" y="18"/>
                  <a:pt x="162" y="19"/>
                </a:cubicBezTo>
                <a:cubicBezTo>
                  <a:pt x="162" y="19"/>
                  <a:pt x="151" y="124"/>
                  <a:pt x="150" y="136"/>
                </a:cubicBezTo>
                <a:cubicBezTo>
                  <a:pt x="140" y="142"/>
                  <a:pt x="47" y="205"/>
                  <a:pt x="47" y="205"/>
                </a:cubicBezTo>
                <a:cubicBezTo>
                  <a:pt x="46" y="206"/>
                  <a:pt x="46" y="206"/>
                  <a:pt x="45" y="207"/>
                </a:cubicBezTo>
                <a:cubicBezTo>
                  <a:pt x="41" y="210"/>
                  <a:pt x="38" y="216"/>
                  <a:pt x="38" y="223"/>
                </a:cubicBezTo>
                <a:cubicBezTo>
                  <a:pt x="38" y="226"/>
                  <a:pt x="39" y="230"/>
                  <a:pt x="41" y="234"/>
                </a:cubicBezTo>
                <a:cubicBezTo>
                  <a:pt x="47" y="244"/>
                  <a:pt x="59" y="246"/>
                  <a:pt x="67" y="244"/>
                </a:cubicBezTo>
                <a:cubicBezTo>
                  <a:pt x="67" y="243"/>
                  <a:pt x="68" y="243"/>
                  <a:pt x="68" y="243"/>
                </a:cubicBezTo>
                <a:cubicBezTo>
                  <a:pt x="68" y="243"/>
                  <a:pt x="126" y="220"/>
                  <a:pt x="152" y="210"/>
                </a:cubicBezTo>
                <a:cubicBezTo>
                  <a:pt x="150" y="243"/>
                  <a:pt x="142" y="391"/>
                  <a:pt x="142" y="391"/>
                </a:cubicBezTo>
                <a:cubicBezTo>
                  <a:pt x="142" y="391"/>
                  <a:pt x="142" y="392"/>
                  <a:pt x="142" y="392"/>
                </a:cubicBezTo>
                <a:cubicBezTo>
                  <a:pt x="142" y="399"/>
                  <a:pt x="148" y="405"/>
                  <a:pt x="155" y="405"/>
                </a:cubicBezTo>
                <a:cubicBezTo>
                  <a:pt x="162" y="406"/>
                  <a:pt x="168" y="400"/>
                  <a:pt x="169" y="393"/>
                </a:cubicBezTo>
                <a:cubicBezTo>
                  <a:pt x="179" y="190"/>
                  <a:pt x="179" y="190"/>
                  <a:pt x="179" y="190"/>
                </a:cubicBezTo>
                <a:cubicBezTo>
                  <a:pt x="180" y="186"/>
                  <a:pt x="178" y="181"/>
                  <a:pt x="174" y="179"/>
                </a:cubicBezTo>
                <a:cubicBezTo>
                  <a:pt x="170" y="176"/>
                  <a:pt x="165" y="176"/>
                  <a:pt x="161" y="177"/>
                </a:cubicBezTo>
                <a:cubicBezTo>
                  <a:pt x="161" y="177"/>
                  <a:pt x="129" y="190"/>
                  <a:pt x="99" y="202"/>
                </a:cubicBezTo>
                <a:cubicBezTo>
                  <a:pt x="131" y="181"/>
                  <a:pt x="170" y="154"/>
                  <a:pt x="170" y="154"/>
                </a:cubicBezTo>
                <a:cubicBezTo>
                  <a:pt x="173" y="152"/>
                  <a:pt x="175" y="148"/>
                  <a:pt x="176" y="145"/>
                </a:cubicBezTo>
                <a:cubicBezTo>
                  <a:pt x="176" y="145"/>
                  <a:pt x="180" y="104"/>
                  <a:pt x="183" y="68"/>
                </a:cubicBezTo>
                <a:cubicBezTo>
                  <a:pt x="187" y="104"/>
                  <a:pt x="191" y="144"/>
                  <a:pt x="191" y="144"/>
                </a:cubicBezTo>
                <a:cubicBezTo>
                  <a:pt x="192" y="148"/>
                  <a:pt x="194" y="152"/>
                  <a:pt x="197" y="154"/>
                </a:cubicBezTo>
                <a:cubicBezTo>
                  <a:pt x="197" y="154"/>
                  <a:pt x="236" y="181"/>
                  <a:pt x="268" y="203"/>
                </a:cubicBezTo>
                <a:cubicBezTo>
                  <a:pt x="239" y="191"/>
                  <a:pt x="207" y="178"/>
                  <a:pt x="207" y="178"/>
                </a:cubicBezTo>
                <a:cubicBezTo>
                  <a:pt x="203" y="176"/>
                  <a:pt x="198" y="177"/>
                  <a:pt x="194" y="179"/>
                </a:cubicBezTo>
                <a:cubicBezTo>
                  <a:pt x="191" y="182"/>
                  <a:pt x="189" y="186"/>
                  <a:pt x="189" y="190"/>
                </a:cubicBezTo>
                <a:cubicBezTo>
                  <a:pt x="189" y="191"/>
                  <a:pt x="189" y="191"/>
                  <a:pt x="189" y="191"/>
                </a:cubicBezTo>
                <a:cubicBezTo>
                  <a:pt x="189" y="191"/>
                  <a:pt x="203" y="393"/>
                  <a:pt x="204" y="418"/>
                </a:cubicBezTo>
                <a:cubicBezTo>
                  <a:pt x="180" y="418"/>
                  <a:pt x="42" y="418"/>
                  <a:pt x="42" y="418"/>
                </a:cubicBezTo>
                <a:cubicBezTo>
                  <a:pt x="40" y="418"/>
                  <a:pt x="38" y="419"/>
                  <a:pt x="36" y="420"/>
                </a:cubicBezTo>
                <a:cubicBezTo>
                  <a:pt x="7" y="434"/>
                  <a:pt x="7" y="434"/>
                  <a:pt x="7" y="434"/>
                </a:cubicBezTo>
                <a:cubicBezTo>
                  <a:pt x="3" y="436"/>
                  <a:pt x="0" y="441"/>
                  <a:pt x="0" y="446"/>
                </a:cubicBezTo>
                <a:cubicBezTo>
                  <a:pt x="0" y="447"/>
                  <a:pt x="0" y="449"/>
                  <a:pt x="1" y="451"/>
                </a:cubicBezTo>
                <a:cubicBezTo>
                  <a:pt x="4" y="458"/>
                  <a:pt x="12" y="461"/>
                  <a:pt x="19" y="457"/>
                </a:cubicBezTo>
                <a:cubicBezTo>
                  <a:pt x="19" y="457"/>
                  <a:pt x="40" y="447"/>
                  <a:pt x="45" y="445"/>
                </a:cubicBezTo>
                <a:cubicBezTo>
                  <a:pt x="51" y="445"/>
                  <a:pt x="219" y="445"/>
                  <a:pt x="219" y="445"/>
                </a:cubicBezTo>
                <a:cubicBezTo>
                  <a:pt x="222" y="445"/>
                  <a:pt x="226" y="443"/>
                  <a:pt x="228" y="440"/>
                </a:cubicBezTo>
                <a:cubicBezTo>
                  <a:pt x="231" y="438"/>
                  <a:pt x="232" y="435"/>
                  <a:pt x="232" y="431"/>
                </a:cubicBezTo>
                <a:cubicBezTo>
                  <a:pt x="232" y="431"/>
                  <a:pt x="232" y="431"/>
                  <a:pt x="232" y="430"/>
                </a:cubicBezTo>
                <a:cubicBezTo>
                  <a:pt x="232" y="430"/>
                  <a:pt x="219" y="246"/>
                  <a:pt x="217" y="211"/>
                </a:cubicBezTo>
                <a:cubicBezTo>
                  <a:pt x="243" y="221"/>
                  <a:pt x="299" y="245"/>
                  <a:pt x="299" y="245"/>
                </a:cubicBezTo>
                <a:cubicBezTo>
                  <a:pt x="299" y="245"/>
                  <a:pt x="300" y="245"/>
                  <a:pt x="300" y="245"/>
                </a:cubicBezTo>
                <a:cubicBezTo>
                  <a:pt x="308" y="248"/>
                  <a:pt x="320" y="246"/>
                  <a:pt x="326" y="235"/>
                </a:cubicBezTo>
                <a:cubicBezTo>
                  <a:pt x="328" y="232"/>
                  <a:pt x="329" y="228"/>
                  <a:pt x="329" y="224"/>
                </a:cubicBezTo>
                <a:cubicBezTo>
                  <a:pt x="329" y="218"/>
                  <a:pt x="326" y="212"/>
                  <a:pt x="322" y="208"/>
                </a:cubicBezTo>
                <a:cubicBezTo>
                  <a:pt x="321" y="208"/>
                  <a:pt x="321" y="207"/>
                  <a:pt x="320" y="207"/>
                </a:cubicBezTo>
                <a:cubicBezTo>
                  <a:pt x="320" y="207"/>
                  <a:pt x="226" y="142"/>
                  <a:pt x="217" y="135"/>
                </a:cubicBezTo>
                <a:cubicBezTo>
                  <a:pt x="216" y="124"/>
                  <a:pt x="205" y="19"/>
                  <a:pt x="205" y="19"/>
                </a:cubicBezTo>
                <a:cubicBezTo>
                  <a:pt x="205" y="18"/>
                  <a:pt x="205" y="17"/>
                  <a:pt x="205" y="17"/>
                </a:cubicBezTo>
                <a:cubicBezTo>
                  <a:pt x="203" y="9"/>
                  <a:pt x="195" y="0"/>
                  <a:pt x="183" y="0"/>
                </a:cubicBezTo>
                <a:cubicBezTo>
                  <a:pt x="171" y="0"/>
                  <a:pt x="164" y="9"/>
                  <a:pt x="162" y="1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6" name="Freeform 429"/>
          <p:cNvSpPr>
            <a:spLocks/>
          </p:cNvSpPr>
          <p:nvPr userDrawn="1"/>
        </p:nvSpPr>
        <p:spPr bwMode="auto">
          <a:xfrm>
            <a:off x="5722456" y="3090980"/>
            <a:ext cx="430213" cy="314325"/>
          </a:xfrm>
          <a:custGeom>
            <a:avLst/>
            <a:gdLst/>
            <a:ahLst/>
            <a:cxnLst>
              <a:cxn ang="0">
                <a:pos x="72" y="39"/>
              </a:cxn>
              <a:cxn ang="0">
                <a:pos x="3" y="134"/>
              </a:cxn>
              <a:cxn ang="0">
                <a:pos x="47" y="230"/>
              </a:cxn>
              <a:cxn ang="0">
                <a:pos x="172" y="276"/>
              </a:cxn>
              <a:cxn ang="0">
                <a:pos x="307" y="247"/>
              </a:cxn>
              <a:cxn ang="0">
                <a:pos x="365" y="188"/>
              </a:cxn>
              <a:cxn ang="0">
                <a:pos x="371" y="115"/>
              </a:cxn>
              <a:cxn ang="0">
                <a:pos x="356" y="106"/>
              </a:cxn>
              <a:cxn ang="0">
                <a:pos x="347" y="122"/>
              </a:cxn>
              <a:cxn ang="0">
                <a:pos x="294" y="225"/>
              </a:cxn>
              <a:cxn ang="0">
                <a:pos x="64" y="211"/>
              </a:cxn>
              <a:cxn ang="0">
                <a:pos x="28" y="137"/>
              </a:cxn>
              <a:cxn ang="0">
                <a:pos x="84" y="61"/>
              </a:cxn>
              <a:cxn ang="0">
                <a:pos x="297" y="63"/>
              </a:cxn>
              <a:cxn ang="0">
                <a:pos x="297" y="63"/>
              </a:cxn>
              <a:cxn ang="0">
                <a:pos x="311" y="64"/>
              </a:cxn>
              <a:cxn ang="0">
                <a:pos x="334" y="51"/>
              </a:cxn>
              <a:cxn ang="0">
                <a:pos x="346" y="61"/>
              </a:cxn>
              <a:cxn ang="0">
                <a:pos x="237" y="124"/>
              </a:cxn>
              <a:cxn ang="0">
                <a:pos x="230" y="135"/>
              </a:cxn>
              <a:cxn ang="0">
                <a:pos x="231" y="139"/>
              </a:cxn>
              <a:cxn ang="0">
                <a:pos x="232" y="143"/>
              </a:cxn>
              <a:cxn ang="0">
                <a:pos x="218" y="162"/>
              </a:cxn>
              <a:cxn ang="0">
                <a:pos x="171" y="166"/>
              </a:cxn>
              <a:cxn ang="0">
                <a:pos x="162" y="168"/>
              </a:cxn>
              <a:cxn ang="0">
                <a:pos x="154" y="172"/>
              </a:cxn>
              <a:cxn ang="0">
                <a:pos x="142" y="161"/>
              </a:cxn>
              <a:cxn ang="0">
                <a:pos x="148" y="151"/>
              </a:cxn>
              <a:cxn ang="0">
                <a:pos x="147" y="147"/>
              </a:cxn>
              <a:cxn ang="0">
                <a:pos x="147" y="143"/>
              </a:cxn>
              <a:cxn ang="0">
                <a:pos x="160" y="124"/>
              </a:cxn>
              <a:cxn ang="0">
                <a:pos x="206" y="120"/>
              </a:cxn>
              <a:cxn ang="0">
                <a:pos x="216" y="119"/>
              </a:cxn>
              <a:cxn ang="0">
                <a:pos x="241" y="104"/>
              </a:cxn>
              <a:cxn ang="0">
                <a:pos x="246" y="87"/>
              </a:cxn>
              <a:cxn ang="0">
                <a:pos x="228" y="82"/>
              </a:cxn>
              <a:cxn ang="0">
                <a:pos x="208" y="94"/>
              </a:cxn>
              <a:cxn ang="0">
                <a:pos x="148" y="103"/>
              </a:cxn>
              <a:cxn ang="0">
                <a:pos x="121" y="143"/>
              </a:cxn>
              <a:cxn ang="0">
                <a:pos x="121" y="144"/>
              </a:cxn>
              <a:cxn ang="0">
                <a:pos x="114" y="149"/>
              </a:cxn>
              <a:cxn ang="0">
                <a:pos x="107" y="158"/>
              </a:cxn>
              <a:cxn ang="0">
                <a:pos x="107" y="159"/>
              </a:cxn>
              <a:cxn ang="0">
                <a:pos x="112" y="169"/>
              </a:cxn>
              <a:cxn ang="0">
                <a:pos x="145" y="197"/>
              </a:cxn>
              <a:cxn ang="0">
                <a:pos x="159" y="198"/>
              </a:cxn>
              <a:cxn ang="0">
                <a:pos x="170" y="192"/>
              </a:cxn>
              <a:cxn ang="0">
                <a:pos x="231" y="184"/>
              </a:cxn>
              <a:cxn ang="0">
                <a:pos x="257" y="143"/>
              </a:cxn>
              <a:cxn ang="0">
                <a:pos x="257" y="142"/>
              </a:cxn>
              <a:cxn ang="0">
                <a:pos x="375" y="74"/>
              </a:cxn>
              <a:cxn ang="0">
                <a:pos x="381" y="64"/>
              </a:cxn>
              <a:cxn ang="0">
                <a:pos x="381" y="63"/>
              </a:cxn>
              <a:cxn ang="0">
                <a:pos x="376" y="53"/>
              </a:cxn>
              <a:cxn ang="0">
                <a:pos x="344" y="25"/>
              </a:cxn>
              <a:cxn ang="0">
                <a:pos x="329" y="24"/>
              </a:cxn>
              <a:cxn ang="0">
                <a:pos x="305" y="38"/>
              </a:cxn>
              <a:cxn ang="0">
                <a:pos x="72" y="39"/>
              </a:cxn>
            </a:cxnLst>
            <a:rect l="0" t="0" r="r" b="b"/>
            <a:pathLst>
              <a:path w="381" h="279">
                <a:moveTo>
                  <a:pt x="72" y="39"/>
                </a:moveTo>
                <a:cubicBezTo>
                  <a:pt x="31" y="62"/>
                  <a:pt x="6" y="97"/>
                  <a:pt x="3" y="134"/>
                </a:cubicBezTo>
                <a:cubicBezTo>
                  <a:pt x="0" y="169"/>
                  <a:pt x="16" y="203"/>
                  <a:pt x="47" y="230"/>
                </a:cubicBezTo>
                <a:cubicBezTo>
                  <a:pt x="79" y="257"/>
                  <a:pt x="123" y="273"/>
                  <a:pt x="172" y="276"/>
                </a:cubicBezTo>
                <a:cubicBezTo>
                  <a:pt x="221" y="279"/>
                  <a:pt x="269" y="269"/>
                  <a:pt x="307" y="247"/>
                </a:cubicBezTo>
                <a:cubicBezTo>
                  <a:pt x="334" y="232"/>
                  <a:pt x="354" y="211"/>
                  <a:pt x="365" y="188"/>
                </a:cubicBezTo>
                <a:cubicBezTo>
                  <a:pt x="377" y="164"/>
                  <a:pt x="379" y="139"/>
                  <a:pt x="371" y="115"/>
                </a:cubicBezTo>
                <a:cubicBezTo>
                  <a:pt x="369" y="108"/>
                  <a:pt x="362" y="104"/>
                  <a:pt x="356" y="106"/>
                </a:cubicBezTo>
                <a:cubicBezTo>
                  <a:pt x="349" y="108"/>
                  <a:pt x="345" y="115"/>
                  <a:pt x="347" y="122"/>
                </a:cubicBezTo>
                <a:cubicBezTo>
                  <a:pt x="359" y="160"/>
                  <a:pt x="338" y="200"/>
                  <a:pt x="294" y="225"/>
                </a:cubicBezTo>
                <a:cubicBezTo>
                  <a:pt x="224" y="266"/>
                  <a:pt x="121" y="259"/>
                  <a:pt x="64" y="211"/>
                </a:cubicBezTo>
                <a:cubicBezTo>
                  <a:pt x="38" y="190"/>
                  <a:pt x="26" y="163"/>
                  <a:pt x="28" y="137"/>
                </a:cubicBezTo>
                <a:cubicBezTo>
                  <a:pt x="31" y="107"/>
                  <a:pt x="51" y="80"/>
                  <a:pt x="84" y="61"/>
                </a:cubicBezTo>
                <a:cubicBezTo>
                  <a:pt x="146" y="25"/>
                  <a:pt x="237" y="26"/>
                  <a:pt x="297" y="63"/>
                </a:cubicBezTo>
                <a:cubicBezTo>
                  <a:pt x="297" y="63"/>
                  <a:pt x="297" y="63"/>
                  <a:pt x="297" y="63"/>
                </a:cubicBezTo>
                <a:cubicBezTo>
                  <a:pt x="301" y="66"/>
                  <a:pt x="307" y="66"/>
                  <a:pt x="311" y="64"/>
                </a:cubicBezTo>
                <a:cubicBezTo>
                  <a:pt x="311" y="64"/>
                  <a:pt x="325" y="56"/>
                  <a:pt x="334" y="51"/>
                </a:cubicBezTo>
                <a:cubicBezTo>
                  <a:pt x="338" y="54"/>
                  <a:pt x="340" y="56"/>
                  <a:pt x="346" y="61"/>
                </a:cubicBezTo>
                <a:cubicBezTo>
                  <a:pt x="322" y="75"/>
                  <a:pt x="237" y="124"/>
                  <a:pt x="237" y="124"/>
                </a:cubicBezTo>
                <a:cubicBezTo>
                  <a:pt x="233" y="126"/>
                  <a:pt x="230" y="131"/>
                  <a:pt x="230" y="135"/>
                </a:cubicBezTo>
                <a:cubicBezTo>
                  <a:pt x="230" y="136"/>
                  <a:pt x="231" y="138"/>
                  <a:pt x="231" y="139"/>
                </a:cubicBezTo>
                <a:cubicBezTo>
                  <a:pt x="231" y="140"/>
                  <a:pt x="232" y="142"/>
                  <a:pt x="232" y="143"/>
                </a:cubicBezTo>
                <a:cubicBezTo>
                  <a:pt x="232" y="150"/>
                  <a:pt x="227" y="157"/>
                  <a:pt x="218" y="162"/>
                </a:cubicBezTo>
                <a:cubicBezTo>
                  <a:pt x="205" y="169"/>
                  <a:pt x="187" y="171"/>
                  <a:pt x="171" y="166"/>
                </a:cubicBezTo>
                <a:cubicBezTo>
                  <a:pt x="168" y="165"/>
                  <a:pt x="165" y="166"/>
                  <a:pt x="162" y="168"/>
                </a:cubicBezTo>
                <a:cubicBezTo>
                  <a:pt x="162" y="168"/>
                  <a:pt x="158" y="170"/>
                  <a:pt x="154" y="172"/>
                </a:cubicBezTo>
                <a:cubicBezTo>
                  <a:pt x="150" y="168"/>
                  <a:pt x="148" y="166"/>
                  <a:pt x="142" y="161"/>
                </a:cubicBezTo>
                <a:cubicBezTo>
                  <a:pt x="146" y="159"/>
                  <a:pt x="148" y="155"/>
                  <a:pt x="148" y="151"/>
                </a:cubicBezTo>
                <a:cubicBezTo>
                  <a:pt x="148" y="150"/>
                  <a:pt x="148" y="148"/>
                  <a:pt x="147" y="147"/>
                </a:cubicBezTo>
                <a:cubicBezTo>
                  <a:pt x="147" y="146"/>
                  <a:pt x="147" y="144"/>
                  <a:pt x="147" y="143"/>
                </a:cubicBezTo>
                <a:cubicBezTo>
                  <a:pt x="147" y="136"/>
                  <a:pt x="152" y="130"/>
                  <a:pt x="160" y="124"/>
                </a:cubicBezTo>
                <a:cubicBezTo>
                  <a:pt x="173" y="117"/>
                  <a:pt x="191" y="115"/>
                  <a:pt x="206" y="120"/>
                </a:cubicBezTo>
                <a:cubicBezTo>
                  <a:pt x="210" y="121"/>
                  <a:pt x="213" y="120"/>
                  <a:pt x="216" y="119"/>
                </a:cubicBezTo>
                <a:cubicBezTo>
                  <a:pt x="241" y="104"/>
                  <a:pt x="241" y="104"/>
                  <a:pt x="241" y="104"/>
                </a:cubicBezTo>
                <a:cubicBezTo>
                  <a:pt x="247" y="101"/>
                  <a:pt x="249" y="93"/>
                  <a:pt x="246" y="87"/>
                </a:cubicBezTo>
                <a:cubicBezTo>
                  <a:pt x="242" y="81"/>
                  <a:pt x="234" y="79"/>
                  <a:pt x="228" y="82"/>
                </a:cubicBezTo>
                <a:cubicBezTo>
                  <a:pt x="228" y="82"/>
                  <a:pt x="214" y="91"/>
                  <a:pt x="208" y="94"/>
                </a:cubicBezTo>
                <a:cubicBezTo>
                  <a:pt x="187" y="90"/>
                  <a:pt x="165" y="93"/>
                  <a:pt x="148" y="103"/>
                </a:cubicBezTo>
                <a:cubicBezTo>
                  <a:pt x="131" y="112"/>
                  <a:pt x="121" y="127"/>
                  <a:pt x="121" y="143"/>
                </a:cubicBezTo>
                <a:cubicBezTo>
                  <a:pt x="121" y="143"/>
                  <a:pt x="121" y="144"/>
                  <a:pt x="121" y="144"/>
                </a:cubicBezTo>
                <a:cubicBezTo>
                  <a:pt x="118" y="146"/>
                  <a:pt x="114" y="149"/>
                  <a:pt x="114" y="149"/>
                </a:cubicBezTo>
                <a:cubicBezTo>
                  <a:pt x="110" y="151"/>
                  <a:pt x="108" y="154"/>
                  <a:pt x="107" y="158"/>
                </a:cubicBezTo>
                <a:cubicBezTo>
                  <a:pt x="107" y="159"/>
                  <a:pt x="107" y="159"/>
                  <a:pt x="107" y="159"/>
                </a:cubicBezTo>
                <a:cubicBezTo>
                  <a:pt x="107" y="163"/>
                  <a:pt x="109" y="167"/>
                  <a:pt x="112" y="169"/>
                </a:cubicBezTo>
                <a:cubicBezTo>
                  <a:pt x="145" y="197"/>
                  <a:pt x="145" y="197"/>
                  <a:pt x="145" y="197"/>
                </a:cubicBezTo>
                <a:cubicBezTo>
                  <a:pt x="149" y="200"/>
                  <a:pt x="155" y="201"/>
                  <a:pt x="159" y="198"/>
                </a:cubicBezTo>
                <a:cubicBezTo>
                  <a:pt x="159" y="198"/>
                  <a:pt x="165" y="195"/>
                  <a:pt x="170" y="192"/>
                </a:cubicBezTo>
                <a:cubicBezTo>
                  <a:pt x="191" y="197"/>
                  <a:pt x="214" y="194"/>
                  <a:pt x="231" y="184"/>
                </a:cubicBezTo>
                <a:cubicBezTo>
                  <a:pt x="247" y="174"/>
                  <a:pt x="257" y="159"/>
                  <a:pt x="257" y="143"/>
                </a:cubicBezTo>
                <a:cubicBezTo>
                  <a:pt x="257" y="143"/>
                  <a:pt x="257" y="142"/>
                  <a:pt x="257" y="142"/>
                </a:cubicBezTo>
                <a:cubicBezTo>
                  <a:pt x="270" y="134"/>
                  <a:pt x="375" y="74"/>
                  <a:pt x="375" y="74"/>
                </a:cubicBezTo>
                <a:cubicBezTo>
                  <a:pt x="378" y="72"/>
                  <a:pt x="381" y="68"/>
                  <a:pt x="381" y="64"/>
                </a:cubicBezTo>
                <a:cubicBezTo>
                  <a:pt x="381" y="63"/>
                  <a:pt x="381" y="63"/>
                  <a:pt x="381" y="63"/>
                </a:cubicBezTo>
                <a:cubicBezTo>
                  <a:pt x="381" y="59"/>
                  <a:pt x="379" y="55"/>
                  <a:pt x="376" y="53"/>
                </a:cubicBezTo>
                <a:cubicBezTo>
                  <a:pt x="344" y="25"/>
                  <a:pt x="344" y="25"/>
                  <a:pt x="344" y="25"/>
                </a:cubicBezTo>
                <a:cubicBezTo>
                  <a:pt x="339" y="22"/>
                  <a:pt x="334" y="21"/>
                  <a:pt x="329" y="24"/>
                </a:cubicBezTo>
                <a:cubicBezTo>
                  <a:pt x="329" y="24"/>
                  <a:pt x="313" y="34"/>
                  <a:pt x="305" y="38"/>
                </a:cubicBezTo>
                <a:cubicBezTo>
                  <a:pt x="237" y="0"/>
                  <a:pt x="140" y="0"/>
                  <a:pt x="72" y="39"/>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7" name="Freeform 445"/>
          <p:cNvSpPr>
            <a:spLocks noEditPoints="1"/>
          </p:cNvSpPr>
          <p:nvPr userDrawn="1"/>
        </p:nvSpPr>
        <p:spPr bwMode="auto">
          <a:xfrm>
            <a:off x="5685938" y="1744570"/>
            <a:ext cx="503238" cy="519113"/>
          </a:xfrm>
          <a:custGeom>
            <a:avLst/>
            <a:gdLst/>
            <a:ahLst/>
            <a:cxnLst>
              <a:cxn ang="0">
                <a:pos x="388" y="238"/>
              </a:cxn>
              <a:cxn ang="0">
                <a:pos x="429" y="217"/>
              </a:cxn>
              <a:cxn ang="0">
                <a:pos x="406" y="201"/>
              </a:cxn>
              <a:cxn ang="0">
                <a:pos x="388" y="161"/>
              </a:cxn>
              <a:cxn ang="0">
                <a:pos x="388" y="154"/>
              </a:cxn>
              <a:cxn ang="0">
                <a:pos x="366" y="147"/>
              </a:cxn>
              <a:cxn ang="0">
                <a:pos x="205" y="148"/>
              </a:cxn>
              <a:cxn ang="0">
                <a:pos x="283" y="139"/>
              </a:cxn>
              <a:cxn ang="0">
                <a:pos x="446" y="69"/>
              </a:cxn>
              <a:cxn ang="0">
                <a:pos x="283" y="0"/>
              </a:cxn>
              <a:cxn ang="0">
                <a:pos x="120" y="69"/>
              </a:cxn>
              <a:cxn ang="0">
                <a:pos x="178" y="123"/>
              </a:cxn>
              <a:cxn ang="0">
                <a:pos x="178" y="158"/>
              </a:cxn>
              <a:cxn ang="0">
                <a:pos x="178" y="243"/>
              </a:cxn>
              <a:cxn ang="0">
                <a:pos x="0" y="348"/>
              </a:cxn>
              <a:cxn ang="0">
                <a:pos x="157" y="449"/>
              </a:cxn>
              <a:cxn ang="0">
                <a:pos x="150" y="432"/>
              </a:cxn>
              <a:cxn ang="0">
                <a:pos x="27" y="347"/>
              </a:cxn>
              <a:cxn ang="0">
                <a:pos x="178" y="271"/>
              </a:cxn>
              <a:cxn ang="0">
                <a:pos x="120" y="331"/>
              </a:cxn>
              <a:cxn ang="0">
                <a:pos x="283" y="400"/>
              </a:cxn>
              <a:cxn ang="0">
                <a:pos x="446" y="331"/>
              </a:cxn>
              <a:cxn ang="0">
                <a:pos x="147" y="69"/>
              </a:cxn>
              <a:cxn ang="0">
                <a:pos x="283" y="27"/>
              </a:cxn>
              <a:cxn ang="0">
                <a:pos x="420" y="69"/>
              </a:cxn>
              <a:cxn ang="0">
                <a:pos x="283" y="112"/>
              </a:cxn>
              <a:cxn ang="0">
                <a:pos x="147" y="69"/>
              </a:cxn>
              <a:cxn ang="0">
                <a:pos x="361" y="175"/>
              </a:cxn>
              <a:cxn ang="0">
                <a:pos x="251" y="182"/>
              </a:cxn>
              <a:cxn ang="0">
                <a:pos x="221" y="198"/>
              </a:cxn>
              <a:cxn ang="0">
                <a:pos x="292" y="225"/>
              </a:cxn>
              <a:cxn ang="0">
                <a:pos x="205" y="189"/>
              </a:cxn>
              <a:cxn ang="0">
                <a:pos x="384" y="358"/>
              </a:cxn>
              <a:cxn ang="0">
                <a:pos x="182" y="358"/>
              </a:cxn>
              <a:cxn ang="0">
                <a:pos x="195" y="299"/>
              </a:cxn>
              <a:cxn ang="0">
                <a:pos x="205" y="265"/>
              </a:cxn>
              <a:cxn ang="0">
                <a:pos x="361" y="242"/>
              </a:cxn>
              <a:cxn ang="0">
                <a:pos x="371" y="299"/>
              </a:cxn>
              <a:cxn ang="0">
                <a:pos x="384" y="358"/>
              </a:cxn>
            </a:cxnLst>
            <a:rect l="0" t="0" r="r" b="b"/>
            <a:pathLst>
              <a:path w="446" h="459">
                <a:moveTo>
                  <a:pt x="388" y="277"/>
                </a:moveTo>
                <a:cubicBezTo>
                  <a:pt x="388" y="238"/>
                  <a:pt x="388" y="238"/>
                  <a:pt x="388" y="238"/>
                </a:cubicBezTo>
                <a:cubicBezTo>
                  <a:pt x="396" y="236"/>
                  <a:pt x="403" y="235"/>
                  <a:pt x="408" y="234"/>
                </a:cubicBezTo>
                <a:cubicBezTo>
                  <a:pt x="415" y="232"/>
                  <a:pt x="429" y="229"/>
                  <a:pt x="429" y="217"/>
                </a:cubicBezTo>
                <a:cubicBezTo>
                  <a:pt x="429" y="217"/>
                  <a:pt x="429" y="216"/>
                  <a:pt x="429" y="216"/>
                </a:cubicBezTo>
                <a:cubicBezTo>
                  <a:pt x="428" y="203"/>
                  <a:pt x="413" y="202"/>
                  <a:pt x="406" y="201"/>
                </a:cubicBezTo>
                <a:cubicBezTo>
                  <a:pt x="402" y="201"/>
                  <a:pt x="396" y="201"/>
                  <a:pt x="388" y="201"/>
                </a:cubicBezTo>
                <a:cubicBezTo>
                  <a:pt x="388" y="161"/>
                  <a:pt x="388" y="161"/>
                  <a:pt x="388" y="161"/>
                </a:cubicBezTo>
                <a:cubicBezTo>
                  <a:pt x="388" y="159"/>
                  <a:pt x="388" y="157"/>
                  <a:pt x="388" y="154"/>
                </a:cubicBezTo>
                <a:cubicBezTo>
                  <a:pt x="388" y="154"/>
                  <a:pt x="388" y="154"/>
                  <a:pt x="388" y="154"/>
                </a:cubicBezTo>
                <a:cubicBezTo>
                  <a:pt x="386" y="148"/>
                  <a:pt x="381" y="143"/>
                  <a:pt x="375" y="143"/>
                </a:cubicBezTo>
                <a:cubicBezTo>
                  <a:pt x="371" y="143"/>
                  <a:pt x="368" y="145"/>
                  <a:pt x="366" y="147"/>
                </a:cubicBezTo>
                <a:cubicBezTo>
                  <a:pt x="342" y="153"/>
                  <a:pt x="313" y="156"/>
                  <a:pt x="283" y="156"/>
                </a:cubicBezTo>
                <a:cubicBezTo>
                  <a:pt x="255" y="156"/>
                  <a:pt x="228" y="154"/>
                  <a:pt x="205" y="148"/>
                </a:cubicBezTo>
                <a:cubicBezTo>
                  <a:pt x="205" y="131"/>
                  <a:pt x="205" y="131"/>
                  <a:pt x="205" y="131"/>
                </a:cubicBezTo>
                <a:cubicBezTo>
                  <a:pt x="229" y="136"/>
                  <a:pt x="255" y="139"/>
                  <a:pt x="283" y="139"/>
                </a:cubicBezTo>
                <a:cubicBezTo>
                  <a:pt x="325" y="139"/>
                  <a:pt x="364" y="133"/>
                  <a:pt x="394" y="121"/>
                </a:cubicBezTo>
                <a:cubicBezTo>
                  <a:pt x="418" y="112"/>
                  <a:pt x="446" y="96"/>
                  <a:pt x="446" y="69"/>
                </a:cubicBezTo>
                <a:cubicBezTo>
                  <a:pt x="446" y="54"/>
                  <a:pt x="437" y="33"/>
                  <a:pt x="394" y="17"/>
                </a:cubicBezTo>
                <a:cubicBezTo>
                  <a:pt x="364" y="6"/>
                  <a:pt x="325" y="0"/>
                  <a:pt x="283" y="0"/>
                </a:cubicBezTo>
                <a:cubicBezTo>
                  <a:pt x="242" y="0"/>
                  <a:pt x="202" y="6"/>
                  <a:pt x="172" y="17"/>
                </a:cubicBezTo>
                <a:cubicBezTo>
                  <a:pt x="148" y="26"/>
                  <a:pt x="120" y="42"/>
                  <a:pt x="120" y="69"/>
                </a:cubicBezTo>
                <a:cubicBezTo>
                  <a:pt x="120" y="84"/>
                  <a:pt x="129" y="105"/>
                  <a:pt x="172" y="121"/>
                </a:cubicBezTo>
                <a:cubicBezTo>
                  <a:pt x="174" y="122"/>
                  <a:pt x="176" y="123"/>
                  <a:pt x="178" y="123"/>
                </a:cubicBezTo>
                <a:cubicBezTo>
                  <a:pt x="178" y="156"/>
                  <a:pt x="178" y="156"/>
                  <a:pt x="178" y="156"/>
                </a:cubicBezTo>
                <a:cubicBezTo>
                  <a:pt x="178" y="157"/>
                  <a:pt x="178" y="157"/>
                  <a:pt x="178" y="158"/>
                </a:cubicBezTo>
                <a:cubicBezTo>
                  <a:pt x="178" y="159"/>
                  <a:pt x="178" y="160"/>
                  <a:pt x="178" y="160"/>
                </a:cubicBezTo>
                <a:cubicBezTo>
                  <a:pt x="178" y="243"/>
                  <a:pt x="178" y="243"/>
                  <a:pt x="178" y="243"/>
                </a:cubicBezTo>
                <a:cubicBezTo>
                  <a:pt x="97" y="263"/>
                  <a:pt x="4" y="293"/>
                  <a:pt x="0" y="345"/>
                </a:cubicBezTo>
                <a:cubicBezTo>
                  <a:pt x="0" y="346"/>
                  <a:pt x="0" y="347"/>
                  <a:pt x="0" y="348"/>
                </a:cubicBezTo>
                <a:cubicBezTo>
                  <a:pt x="0" y="385"/>
                  <a:pt x="45" y="420"/>
                  <a:pt x="140" y="457"/>
                </a:cubicBezTo>
                <a:cubicBezTo>
                  <a:pt x="147" y="459"/>
                  <a:pt x="155" y="456"/>
                  <a:pt x="157" y="449"/>
                </a:cubicBezTo>
                <a:cubicBezTo>
                  <a:pt x="158" y="447"/>
                  <a:pt x="158" y="446"/>
                  <a:pt x="158" y="444"/>
                </a:cubicBezTo>
                <a:cubicBezTo>
                  <a:pt x="158" y="439"/>
                  <a:pt x="155" y="434"/>
                  <a:pt x="150" y="432"/>
                </a:cubicBezTo>
                <a:cubicBezTo>
                  <a:pt x="40" y="389"/>
                  <a:pt x="27" y="360"/>
                  <a:pt x="27" y="348"/>
                </a:cubicBezTo>
                <a:cubicBezTo>
                  <a:pt x="27" y="347"/>
                  <a:pt x="27" y="347"/>
                  <a:pt x="27" y="347"/>
                </a:cubicBezTo>
                <a:cubicBezTo>
                  <a:pt x="28" y="331"/>
                  <a:pt x="50" y="314"/>
                  <a:pt x="89" y="298"/>
                </a:cubicBezTo>
                <a:cubicBezTo>
                  <a:pt x="121" y="285"/>
                  <a:pt x="156" y="276"/>
                  <a:pt x="178" y="271"/>
                </a:cubicBezTo>
                <a:cubicBezTo>
                  <a:pt x="178" y="277"/>
                  <a:pt x="178" y="277"/>
                  <a:pt x="178" y="277"/>
                </a:cubicBezTo>
                <a:cubicBezTo>
                  <a:pt x="141" y="289"/>
                  <a:pt x="120" y="308"/>
                  <a:pt x="120" y="331"/>
                </a:cubicBezTo>
                <a:cubicBezTo>
                  <a:pt x="120" y="346"/>
                  <a:pt x="129" y="367"/>
                  <a:pt x="172" y="383"/>
                </a:cubicBezTo>
                <a:cubicBezTo>
                  <a:pt x="202" y="394"/>
                  <a:pt x="242" y="400"/>
                  <a:pt x="283" y="400"/>
                </a:cubicBezTo>
                <a:cubicBezTo>
                  <a:pt x="325" y="400"/>
                  <a:pt x="364" y="394"/>
                  <a:pt x="394" y="383"/>
                </a:cubicBezTo>
                <a:cubicBezTo>
                  <a:pt x="418" y="374"/>
                  <a:pt x="446" y="358"/>
                  <a:pt x="446" y="331"/>
                </a:cubicBezTo>
                <a:cubicBezTo>
                  <a:pt x="446" y="308"/>
                  <a:pt x="426" y="289"/>
                  <a:pt x="388" y="277"/>
                </a:cubicBezTo>
                <a:close/>
                <a:moveTo>
                  <a:pt x="147" y="69"/>
                </a:moveTo>
                <a:cubicBezTo>
                  <a:pt x="147" y="63"/>
                  <a:pt x="156" y="52"/>
                  <a:pt x="182" y="42"/>
                </a:cubicBezTo>
                <a:cubicBezTo>
                  <a:pt x="209" y="32"/>
                  <a:pt x="245" y="27"/>
                  <a:pt x="283" y="27"/>
                </a:cubicBezTo>
                <a:cubicBezTo>
                  <a:pt x="322" y="27"/>
                  <a:pt x="358" y="32"/>
                  <a:pt x="384" y="42"/>
                </a:cubicBezTo>
                <a:cubicBezTo>
                  <a:pt x="410" y="52"/>
                  <a:pt x="420" y="63"/>
                  <a:pt x="420" y="69"/>
                </a:cubicBezTo>
                <a:cubicBezTo>
                  <a:pt x="420" y="76"/>
                  <a:pt x="410" y="87"/>
                  <a:pt x="384" y="96"/>
                </a:cubicBezTo>
                <a:cubicBezTo>
                  <a:pt x="358" y="106"/>
                  <a:pt x="322" y="112"/>
                  <a:pt x="283" y="112"/>
                </a:cubicBezTo>
                <a:cubicBezTo>
                  <a:pt x="245" y="112"/>
                  <a:pt x="209" y="106"/>
                  <a:pt x="182" y="96"/>
                </a:cubicBezTo>
                <a:cubicBezTo>
                  <a:pt x="156" y="87"/>
                  <a:pt x="147" y="76"/>
                  <a:pt x="147" y="69"/>
                </a:cubicBezTo>
                <a:close/>
                <a:moveTo>
                  <a:pt x="283" y="183"/>
                </a:moveTo>
                <a:cubicBezTo>
                  <a:pt x="311" y="183"/>
                  <a:pt x="338" y="180"/>
                  <a:pt x="361" y="175"/>
                </a:cubicBezTo>
                <a:cubicBezTo>
                  <a:pt x="361" y="200"/>
                  <a:pt x="361" y="200"/>
                  <a:pt x="361" y="200"/>
                </a:cubicBezTo>
                <a:cubicBezTo>
                  <a:pt x="310" y="199"/>
                  <a:pt x="275" y="191"/>
                  <a:pt x="251" y="182"/>
                </a:cubicBezTo>
                <a:cubicBezTo>
                  <a:pt x="261" y="183"/>
                  <a:pt x="272" y="183"/>
                  <a:pt x="283" y="183"/>
                </a:cubicBezTo>
                <a:close/>
                <a:moveTo>
                  <a:pt x="221" y="198"/>
                </a:moveTo>
                <a:cubicBezTo>
                  <a:pt x="244" y="210"/>
                  <a:pt x="273" y="218"/>
                  <a:pt x="306" y="223"/>
                </a:cubicBezTo>
                <a:cubicBezTo>
                  <a:pt x="302" y="224"/>
                  <a:pt x="297" y="224"/>
                  <a:pt x="292" y="225"/>
                </a:cubicBezTo>
                <a:cubicBezTo>
                  <a:pt x="258" y="230"/>
                  <a:pt x="226" y="234"/>
                  <a:pt x="205" y="238"/>
                </a:cubicBezTo>
                <a:cubicBezTo>
                  <a:pt x="205" y="189"/>
                  <a:pt x="205" y="189"/>
                  <a:pt x="205" y="189"/>
                </a:cubicBezTo>
                <a:cubicBezTo>
                  <a:pt x="209" y="192"/>
                  <a:pt x="215" y="195"/>
                  <a:pt x="221" y="198"/>
                </a:cubicBezTo>
                <a:close/>
                <a:moveTo>
                  <a:pt x="384" y="358"/>
                </a:moveTo>
                <a:cubicBezTo>
                  <a:pt x="358" y="368"/>
                  <a:pt x="322" y="373"/>
                  <a:pt x="283" y="373"/>
                </a:cubicBezTo>
                <a:cubicBezTo>
                  <a:pt x="245" y="373"/>
                  <a:pt x="209" y="368"/>
                  <a:pt x="182" y="358"/>
                </a:cubicBezTo>
                <a:cubicBezTo>
                  <a:pt x="156" y="348"/>
                  <a:pt x="147" y="337"/>
                  <a:pt x="147" y="331"/>
                </a:cubicBezTo>
                <a:cubicBezTo>
                  <a:pt x="147" y="322"/>
                  <a:pt x="162" y="309"/>
                  <a:pt x="195" y="299"/>
                </a:cubicBezTo>
                <a:cubicBezTo>
                  <a:pt x="201" y="298"/>
                  <a:pt x="205" y="292"/>
                  <a:pt x="205" y="286"/>
                </a:cubicBezTo>
                <a:cubicBezTo>
                  <a:pt x="205" y="265"/>
                  <a:pt x="205" y="265"/>
                  <a:pt x="205" y="265"/>
                </a:cubicBezTo>
                <a:cubicBezTo>
                  <a:pt x="225" y="261"/>
                  <a:pt x="261" y="256"/>
                  <a:pt x="296" y="251"/>
                </a:cubicBezTo>
                <a:cubicBezTo>
                  <a:pt x="318" y="248"/>
                  <a:pt x="341" y="245"/>
                  <a:pt x="361" y="242"/>
                </a:cubicBezTo>
                <a:cubicBezTo>
                  <a:pt x="361" y="286"/>
                  <a:pt x="361" y="286"/>
                  <a:pt x="361" y="286"/>
                </a:cubicBezTo>
                <a:cubicBezTo>
                  <a:pt x="361" y="292"/>
                  <a:pt x="365" y="298"/>
                  <a:pt x="371" y="299"/>
                </a:cubicBezTo>
                <a:cubicBezTo>
                  <a:pt x="404" y="309"/>
                  <a:pt x="420" y="322"/>
                  <a:pt x="420" y="331"/>
                </a:cubicBezTo>
                <a:cubicBezTo>
                  <a:pt x="420" y="337"/>
                  <a:pt x="410" y="348"/>
                  <a:pt x="384" y="35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8" name="Freeform 485"/>
          <p:cNvSpPr>
            <a:spLocks/>
          </p:cNvSpPr>
          <p:nvPr userDrawn="1"/>
        </p:nvSpPr>
        <p:spPr bwMode="auto">
          <a:xfrm>
            <a:off x="5680382" y="3815216"/>
            <a:ext cx="514350" cy="242888"/>
          </a:xfrm>
          <a:custGeom>
            <a:avLst/>
            <a:gdLst/>
            <a:ahLst/>
            <a:cxnLst>
              <a:cxn ang="0">
                <a:pos x="109" y="12"/>
              </a:cxn>
              <a:cxn ang="0">
                <a:pos x="51" y="53"/>
              </a:cxn>
              <a:cxn ang="0">
                <a:pos x="109" y="93"/>
              </a:cxn>
              <a:cxn ang="0">
                <a:pos x="227" y="105"/>
              </a:cxn>
              <a:cxn ang="0">
                <a:pos x="227" y="105"/>
              </a:cxn>
              <a:cxn ang="0">
                <a:pos x="346" y="93"/>
              </a:cxn>
              <a:cxn ang="0">
                <a:pos x="388" y="77"/>
              </a:cxn>
              <a:cxn ang="0">
                <a:pos x="427" y="152"/>
              </a:cxn>
              <a:cxn ang="0">
                <a:pos x="227" y="188"/>
              </a:cxn>
              <a:cxn ang="0">
                <a:pos x="28" y="152"/>
              </a:cxn>
              <a:cxn ang="0">
                <a:pos x="56" y="94"/>
              </a:cxn>
              <a:cxn ang="0">
                <a:pos x="58" y="88"/>
              </a:cxn>
              <a:cxn ang="0">
                <a:pos x="50" y="76"/>
              </a:cxn>
              <a:cxn ang="0">
                <a:pos x="32" y="82"/>
              </a:cxn>
              <a:cxn ang="0">
                <a:pos x="1" y="146"/>
              </a:cxn>
              <a:cxn ang="0">
                <a:pos x="0" y="152"/>
              </a:cxn>
              <a:cxn ang="0">
                <a:pos x="34" y="189"/>
              </a:cxn>
              <a:cxn ang="0">
                <a:pos x="227" y="215"/>
              </a:cxn>
              <a:cxn ang="0">
                <a:pos x="420" y="189"/>
              </a:cxn>
              <a:cxn ang="0">
                <a:pos x="455" y="152"/>
              </a:cxn>
              <a:cxn ang="0">
                <a:pos x="454" y="146"/>
              </a:cxn>
              <a:cxn ang="0">
                <a:pos x="402" y="46"/>
              </a:cxn>
              <a:cxn ang="0">
                <a:pos x="387" y="40"/>
              </a:cxn>
              <a:cxn ang="0">
                <a:pos x="377" y="52"/>
              </a:cxn>
              <a:cxn ang="0">
                <a:pos x="333" y="69"/>
              </a:cxn>
              <a:cxn ang="0">
                <a:pos x="227" y="79"/>
              </a:cxn>
              <a:cxn ang="0">
                <a:pos x="122" y="69"/>
              </a:cxn>
              <a:cxn ang="0">
                <a:pos x="79" y="53"/>
              </a:cxn>
              <a:cxn ang="0">
                <a:pos x="122" y="36"/>
              </a:cxn>
              <a:cxn ang="0">
                <a:pos x="227" y="27"/>
              </a:cxn>
              <a:cxn ang="0">
                <a:pos x="241" y="13"/>
              </a:cxn>
              <a:cxn ang="0">
                <a:pos x="227" y="0"/>
              </a:cxn>
              <a:cxn ang="0">
                <a:pos x="109" y="12"/>
              </a:cxn>
            </a:cxnLst>
            <a:rect l="0" t="0" r="r" b="b"/>
            <a:pathLst>
              <a:path w="455" h="215">
                <a:moveTo>
                  <a:pt x="109" y="12"/>
                </a:moveTo>
                <a:cubicBezTo>
                  <a:pt x="70" y="21"/>
                  <a:pt x="51" y="35"/>
                  <a:pt x="51" y="53"/>
                </a:cubicBezTo>
                <a:cubicBezTo>
                  <a:pt x="51" y="71"/>
                  <a:pt x="70" y="84"/>
                  <a:pt x="109" y="93"/>
                </a:cubicBezTo>
                <a:cubicBezTo>
                  <a:pt x="141" y="101"/>
                  <a:pt x="183" y="105"/>
                  <a:pt x="227" y="105"/>
                </a:cubicBezTo>
                <a:cubicBezTo>
                  <a:pt x="227" y="105"/>
                  <a:pt x="227" y="105"/>
                  <a:pt x="227" y="105"/>
                </a:cubicBezTo>
                <a:cubicBezTo>
                  <a:pt x="272" y="105"/>
                  <a:pt x="314" y="101"/>
                  <a:pt x="346" y="93"/>
                </a:cubicBezTo>
                <a:cubicBezTo>
                  <a:pt x="365" y="89"/>
                  <a:pt x="379" y="83"/>
                  <a:pt x="388" y="77"/>
                </a:cubicBezTo>
                <a:cubicBezTo>
                  <a:pt x="400" y="99"/>
                  <a:pt x="419" y="135"/>
                  <a:pt x="427" y="152"/>
                </a:cubicBezTo>
                <a:cubicBezTo>
                  <a:pt x="421" y="160"/>
                  <a:pt x="388" y="188"/>
                  <a:pt x="227" y="188"/>
                </a:cubicBezTo>
                <a:cubicBezTo>
                  <a:pt x="67" y="188"/>
                  <a:pt x="34" y="160"/>
                  <a:pt x="28" y="152"/>
                </a:cubicBezTo>
                <a:cubicBezTo>
                  <a:pt x="37" y="131"/>
                  <a:pt x="56" y="95"/>
                  <a:pt x="56" y="94"/>
                </a:cubicBezTo>
                <a:cubicBezTo>
                  <a:pt x="57" y="92"/>
                  <a:pt x="58" y="90"/>
                  <a:pt x="58" y="88"/>
                </a:cubicBezTo>
                <a:cubicBezTo>
                  <a:pt x="58" y="83"/>
                  <a:pt x="55" y="79"/>
                  <a:pt x="50" y="76"/>
                </a:cubicBezTo>
                <a:cubicBezTo>
                  <a:pt x="44" y="73"/>
                  <a:pt x="36" y="75"/>
                  <a:pt x="32" y="82"/>
                </a:cubicBezTo>
                <a:cubicBezTo>
                  <a:pt x="32" y="84"/>
                  <a:pt x="9" y="127"/>
                  <a:pt x="1" y="146"/>
                </a:cubicBezTo>
                <a:cubicBezTo>
                  <a:pt x="0" y="148"/>
                  <a:pt x="0" y="150"/>
                  <a:pt x="0" y="152"/>
                </a:cubicBezTo>
                <a:cubicBezTo>
                  <a:pt x="0" y="157"/>
                  <a:pt x="2" y="174"/>
                  <a:pt x="34" y="189"/>
                </a:cubicBezTo>
                <a:cubicBezTo>
                  <a:pt x="72" y="206"/>
                  <a:pt x="137" y="215"/>
                  <a:pt x="227" y="215"/>
                </a:cubicBezTo>
                <a:cubicBezTo>
                  <a:pt x="318" y="215"/>
                  <a:pt x="383" y="206"/>
                  <a:pt x="420" y="189"/>
                </a:cubicBezTo>
                <a:cubicBezTo>
                  <a:pt x="452" y="174"/>
                  <a:pt x="455" y="157"/>
                  <a:pt x="455" y="152"/>
                </a:cubicBezTo>
                <a:cubicBezTo>
                  <a:pt x="455" y="150"/>
                  <a:pt x="455" y="148"/>
                  <a:pt x="454" y="146"/>
                </a:cubicBezTo>
                <a:cubicBezTo>
                  <a:pt x="445" y="127"/>
                  <a:pt x="404" y="50"/>
                  <a:pt x="402" y="46"/>
                </a:cubicBezTo>
                <a:cubicBezTo>
                  <a:pt x="399" y="41"/>
                  <a:pt x="393" y="38"/>
                  <a:pt x="387" y="40"/>
                </a:cubicBezTo>
                <a:cubicBezTo>
                  <a:pt x="381" y="41"/>
                  <a:pt x="378" y="46"/>
                  <a:pt x="377" y="52"/>
                </a:cubicBezTo>
                <a:cubicBezTo>
                  <a:pt x="375" y="54"/>
                  <a:pt x="365" y="62"/>
                  <a:pt x="333" y="69"/>
                </a:cubicBezTo>
                <a:cubicBezTo>
                  <a:pt x="304" y="75"/>
                  <a:pt x="266" y="79"/>
                  <a:pt x="227" y="79"/>
                </a:cubicBezTo>
                <a:cubicBezTo>
                  <a:pt x="188" y="79"/>
                  <a:pt x="151" y="75"/>
                  <a:pt x="122" y="69"/>
                </a:cubicBezTo>
                <a:cubicBezTo>
                  <a:pt x="94" y="63"/>
                  <a:pt x="82" y="56"/>
                  <a:pt x="79" y="53"/>
                </a:cubicBezTo>
                <a:cubicBezTo>
                  <a:pt x="82" y="49"/>
                  <a:pt x="94" y="42"/>
                  <a:pt x="122" y="36"/>
                </a:cubicBezTo>
                <a:cubicBezTo>
                  <a:pt x="151" y="30"/>
                  <a:pt x="188" y="27"/>
                  <a:pt x="227" y="27"/>
                </a:cubicBezTo>
                <a:cubicBezTo>
                  <a:pt x="235" y="27"/>
                  <a:pt x="241" y="21"/>
                  <a:pt x="241" y="13"/>
                </a:cubicBezTo>
                <a:cubicBezTo>
                  <a:pt x="241" y="6"/>
                  <a:pt x="235" y="0"/>
                  <a:pt x="227" y="0"/>
                </a:cubicBezTo>
                <a:cubicBezTo>
                  <a:pt x="183" y="0"/>
                  <a:pt x="141" y="4"/>
                  <a:pt x="109" y="1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69" name="Freeform 505"/>
          <p:cNvSpPr>
            <a:spLocks/>
          </p:cNvSpPr>
          <p:nvPr userDrawn="1"/>
        </p:nvSpPr>
        <p:spPr bwMode="auto">
          <a:xfrm>
            <a:off x="5688320" y="5100047"/>
            <a:ext cx="498474" cy="446088"/>
          </a:xfrm>
          <a:custGeom>
            <a:avLst/>
            <a:gdLst/>
            <a:ahLst/>
            <a:cxnLst>
              <a:cxn ang="0">
                <a:pos x="273" y="396"/>
              </a:cxn>
              <a:cxn ang="0">
                <a:pos x="15" y="396"/>
              </a:cxn>
              <a:cxn ang="0">
                <a:pos x="5" y="374"/>
              </a:cxn>
              <a:cxn ang="0">
                <a:pos x="91" y="278"/>
              </a:cxn>
              <a:cxn ang="0">
                <a:pos x="224" y="283"/>
              </a:cxn>
              <a:cxn ang="0">
                <a:pos x="341" y="240"/>
              </a:cxn>
              <a:cxn ang="0">
                <a:pos x="248" y="270"/>
              </a:cxn>
              <a:cxn ang="0">
                <a:pos x="109" y="274"/>
              </a:cxn>
              <a:cxn ang="0">
                <a:pos x="99" y="252"/>
              </a:cxn>
              <a:cxn ang="0">
                <a:pos x="182" y="167"/>
              </a:cxn>
              <a:cxn ang="0">
                <a:pos x="282" y="181"/>
              </a:cxn>
              <a:cxn ang="0">
                <a:pos x="188" y="194"/>
              </a:cxn>
              <a:cxn ang="0">
                <a:pos x="233" y="248"/>
              </a:cxn>
              <a:cxn ang="0">
                <a:pos x="306" y="172"/>
              </a:cxn>
              <a:cxn ang="0">
                <a:pos x="369" y="231"/>
              </a:cxn>
              <a:cxn ang="0">
                <a:pos x="272" y="352"/>
              </a:cxn>
              <a:cxn ang="0">
                <a:pos x="262" y="356"/>
              </a:cxn>
              <a:cxn ang="0">
                <a:pos x="209" y="305"/>
              </a:cxn>
              <a:cxn ang="0">
                <a:pos x="43" y="369"/>
              </a:cxn>
              <a:cxn ang="0">
                <a:pos x="361" y="337"/>
              </a:cxn>
              <a:cxn ang="0">
                <a:pos x="412" y="66"/>
              </a:cxn>
              <a:cxn ang="0">
                <a:pos x="343" y="51"/>
              </a:cxn>
              <a:cxn ang="0">
                <a:pos x="262" y="51"/>
              </a:cxn>
              <a:cxn ang="0">
                <a:pos x="181" y="51"/>
              </a:cxn>
              <a:cxn ang="0">
                <a:pos x="101" y="51"/>
              </a:cxn>
              <a:cxn ang="0">
                <a:pos x="6" y="17"/>
              </a:cxn>
              <a:cxn ang="0">
                <a:pos x="32" y="12"/>
              </a:cxn>
              <a:cxn ang="0">
                <a:pos x="87" y="13"/>
              </a:cxn>
              <a:cxn ang="0">
                <a:pos x="113" y="11"/>
              </a:cxn>
              <a:cxn ang="0">
                <a:pos x="168" y="12"/>
              </a:cxn>
              <a:cxn ang="0">
                <a:pos x="194" y="11"/>
              </a:cxn>
              <a:cxn ang="0">
                <a:pos x="249" y="12"/>
              </a:cxn>
              <a:cxn ang="0">
                <a:pos x="262" y="1"/>
              </a:cxn>
              <a:cxn ang="0">
                <a:pos x="303" y="51"/>
              </a:cxn>
              <a:cxn ang="0">
                <a:pos x="343" y="1"/>
              </a:cxn>
              <a:cxn ang="0">
                <a:pos x="356" y="11"/>
              </a:cxn>
              <a:cxn ang="0">
                <a:pos x="411" y="12"/>
              </a:cxn>
              <a:cxn ang="0">
                <a:pos x="437" y="14"/>
              </a:cxn>
              <a:cxn ang="0">
                <a:pos x="379" y="357"/>
              </a:cxn>
              <a:cxn ang="0">
                <a:pos x="290" y="396"/>
              </a:cxn>
            </a:cxnLst>
            <a:rect l="0" t="0" r="r" b="b"/>
            <a:pathLst>
              <a:path w="441" h="396">
                <a:moveTo>
                  <a:pt x="279" y="396"/>
                </a:moveTo>
                <a:cubicBezTo>
                  <a:pt x="275" y="396"/>
                  <a:pt x="273" y="396"/>
                  <a:pt x="273" y="396"/>
                </a:cubicBezTo>
                <a:cubicBezTo>
                  <a:pt x="272" y="396"/>
                  <a:pt x="271" y="396"/>
                  <a:pt x="271" y="396"/>
                </a:cubicBezTo>
                <a:cubicBezTo>
                  <a:pt x="15" y="396"/>
                  <a:pt x="15" y="396"/>
                  <a:pt x="15" y="396"/>
                </a:cubicBezTo>
                <a:cubicBezTo>
                  <a:pt x="10" y="396"/>
                  <a:pt x="5" y="393"/>
                  <a:pt x="3" y="388"/>
                </a:cubicBezTo>
                <a:cubicBezTo>
                  <a:pt x="0" y="383"/>
                  <a:pt x="1" y="378"/>
                  <a:pt x="5" y="374"/>
                </a:cubicBezTo>
                <a:cubicBezTo>
                  <a:pt x="81" y="283"/>
                  <a:pt x="81" y="283"/>
                  <a:pt x="81" y="283"/>
                </a:cubicBezTo>
                <a:cubicBezTo>
                  <a:pt x="83" y="280"/>
                  <a:pt x="87" y="278"/>
                  <a:pt x="91" y="278"/>
                </a:cubicBezTo>
                <a:cubicBezTo>
                  <a:pt x="214" y="278"/>
                  <a:pt x="214" y="278"/>
                  <a:pt x="214" y="278"/>
                </a:cubicBezTo>
                <a:cubicBezTo>
                  <a:pt x="218" y="278"/>
                  <a:pt x="222" y="280"/>
                  <a:pt x="224" y="283"/>
                </a:cubicBezTo>
                <a:cubicBezTo>
                  <a:pt x="263" y="323"/>
                  <a:pt x="263" y="323"/>
                  <a:pt x="263" y="323"/>
                </a:cubicBezTo>
                <a:cubicBezTo>
                  <a:pt x="341" y="240"/>
                  <a:pt x="341" y="240"/>
                  <a:pt x="341" y="240"/>
                </a:cubicBezTo>
                <a:cubicBezTo>
                  <a:pt x="307" y="205"/>
                  <a:pt x="307" y="205"/>
                  <a:pt x="307" y="205"/>
                </a:cubicBezTo>
                <a:cubicBezTo>
                  <a:pt x="248" y="270"/>
                  <a:pt x="248" y="270"/>
                  <a:pt x="248" y="270"/>
                </a:cubicBezTo>
                <a:cubicBezTo>
                  <a:pt x="246" y="273"/>
                  <a:pt x="242" y="274"/>
                  <a:pt x="238" y="274"/>
                </a:cubicBezTo>
                <a:cubicBezTo>
                  <a:pt x="109" y="274"/>
                  <a:pt x="109" y="274"/>
                  <a:pt x="109" y="274"/>
                </a:cubicBezTo>
                <a:cubicBezTo>
                  <a:pt x="104" y="274"/>
                  <a:pt x="99" y="271"/>
                  <a:pt x="97" y="266"/>
                </a:cubicBezTo>
                <a:cubicBezTo>
                  <a:pt x="95" y="262"/>
                  <a:pt x="96" y="256"/>
                  <a:pt x="99" y="252"/>
                </a:cubicBezTo>
                <a:cubicBezTo>
                  <a:pt x="172" y="172"/>
                  <a:pt x="172" y="172"/>
                  <a:pt x="172" y="172"/>
                </a:cubicBezTo>
                <a:cubicBezTo>
                  <a:pt x="175" y="169"/>
                  <a:pt x="178" y="167"/>
                  <a:pt x="182" y="167"/>
                </a:cubicBezTo>
                <a:cubicBezTo>
                  <a:pt x="268" y="167"/>
                  <a:pt x="268" y="167"/>
                  <a:pt x="268" y="167"/>
                </a:cubicBezTo>
                <a:cubicBezTo>
                  <a:pt x="276" y="167"/>
                  <a:pt x="282" y="173"/>
                  <a:pt x="282" y="181"/>
                </a:cubicBezTo>
                <a:cubicBezTo>
                  <a:pt x="282" y="188"/>
                  <a:pt x="276" y="194"/>
                  <a:pt x="268" y="194"/>
                </a:cubicBezTo>
                <a:cubicBezTo>
                  <a:pt x="188" y="194"/>
                  <a:pt x="188" y="194"/>
                  <a:pt x="188" y="194"/>
                </a:cubicBezTo>
                <a:cubicBezTo>
                  <a:pt x="139" y="248"/>
                  <a:pt x="139" y="248"/>
                  <a:pt x="139" y="248"/>
                </a:cubicBezTo>
                <a:cubicBezTo>
                  <a:pt x="233" y="248"/>
                  <a:pt x="233" y="248"/>
                  <a:pt x="233" y="248"/>
                </a:cubicBezTo>
                <a:cubicBezTo>
                  <a:pt x="297" y="176"/>
                  <a:pt x="297" y="176"/>
                  <a:pt x="297" y="176"/>
                </a:cubicBezTo>
                <a:cubicBezTo>
                  <a:pt x="299" y="174"/>
                  <a:pt x="302" y="172"/>
                  <a:pt x="306" y="172"/>
                </a:cubicBezTo>
                <a:cubicBezTo>
                  <a:pt x="310" y="172"/>
                  <a:pt x="313" y="173"/>
                  <a:pt x="316" y="176"/>
                </a:cubicBezTo>
                <a:cubicBezTo>
                  <a:pt x="369" y="231"/>
                  <a:pt x="369" y="231"/>
                  <a:pt x="369" y="231"/>
                </a:cubicBezTo>
                <a:cubicBezTo>
                  <a:pt x="374" y="236"/>
                  <a:pt x="374" y="244"/>
                  <a:pt x="369" y="250"/>
                </a:cubicBezTo>
                <a:cubicBezTo>
                  <a:pt x="272" y="352"/>
                  <a:pt x="272" y="352"/>
                  <a:pt x="272" y="352"/>
                </a:cubicBezTo>
                <a:cubicBezTo>
                  <a:pt x="270" y="355"/>
                  <a:pt x="266" y="356"/>
                  <a:pt x="262" y="356"/>
                </a:cubicBezTo>
                <a:cubicBezTo>
                  <a:pt x="262" y="356"/>
                  <a:pt x="262" y="356"/>
                  <a:pt x="262" y="356"/>
                </a:cubicBezTo>
                <a:cubicBezTo>
                  <a:pt x="259" y="356"/>
                  <a:pt x="255" y="355"/>
                  <a:pt x="253" y="352"/>
                </a:cubicBezTo>
                <a:cubicBezTo>
                  <a:pt x="209" y="305"/>
                  <a:pt x="209" y="305"/>
                  <a:pt x="209" y="305"/>
                </a:cubicBezTo>
                <a:cubicBezTo>
                  <a:pt x="97" y="305"/>
                  <a:pt x="97" y="305"/>
                  <a:pt x="97" y="305"/>
                </a:cubicBezTo>
                <a:cubicBezTo>
                  <a:pt x="43" y="369"/>
                  <a:pt x="43" y="369"/>
                  <a:pt x="43" y="369"/>
                </a:cubicBezTo>
                <a:cubicBezTo>
                  <a:pt x="288" y="369"/>
                  <a:pt x="288" y="369"/>
                  <a:pt x="288" y="369"/>
                </a:cubicBezTo>
                <a:cubicBezTo>
                  <a:pt x="305" y="368"/>
                  <a:pt x="335" y="361"/>
                  <a:pt x="361" y="337"/>
                </a:cubicBezTo>
                <a:cubicBezTo>
                  <a:pt x="396" y="306"/>
                  <a:pt x="413" y="253"/>
                  <a:pt x="414" y="181"/>
                </a:cubicBezTo>
                <a:cubicBezTo>
                  <a:pt x="414" y="141"/>
                  <a:pt x="413" y="98"/>
                  <a:pt x="412" y="66"/>
                </a:cubicBezTo>
                <a:cubicBezTo>
                  <a:pt x="405" y="73"/>
                  <a:pt x="395" y="78"/>
                  <a:pt x="384" y="78"/>
                </a:cubicBezTo>
                <a:cubicBezTo>
                  <a:pt x="366" y="78"/>
                  <a:pt x="352" y="65"/>
                  <a:pt x="343" y="51"/>
                </a:cubicBezTo>
                <a:cubicBezTo>
                  <a:pt x="335" y="65"/>
                  <a:pt x="321" y="78"/>
                  <a:pt x="303" y="78"/>
                </a:cubicBezTo>
                <a:cubicBezTo>
                  <a:pt x="285" y="78"/>
                  <a:pt x="271" y="65"/>
                  <a:pt x="262" y="51"/>
                </a:cubicBezTo>
                <a:cubicBezTo>
                  <a:pt x="254" y="65"/>
                  <a:pt x="240" y="78"/>
                  <a:pt x="222" y="78"/>
                </a:cubicBezTo>
                <a:cubicBezTo>
                  <a:pt x="204" y="78"/>
                  <a:pt x="190" y="65"/>
                  <a:pt x="181" y="51"/>
                </a:cubicBezTo>
                <a:cubicBezTo>
                  <a:pt x="173" y="65"/>
                  <a:pt x="160" y="78"/>
                  <a:pt x="141" y="78"/>
                </a:cubicBezTo>
                <a:cubicBezTo>
                  <a:pt x="123" y="78"/>
                  <a:pt x="110" y="65"/>
                  <a:pt x="101" y="51"/>
                </a:cubicBezTo>
                <a:cubicBezTo>
                  <a:pt x="92" y="66"/>
                  <a:pt x="79" y="78"/>
                  <a:pt x="60" y="78"/>
                </a:cubicBezTo>
                <a:cubicBezTo>
                  <a:pt x="28" y="78"/>
                  <a:pt x="11" y="40"/>
                  <a:pt x="6" y="17"/>
                </a:cubicBezTo>
                <a:cubicBezTo>
                  <a:pt x="5" y="10"/>
                  <a:pt x="9" y="3"/>
                  <a:pt x="16" y="2"/>
                </a:cubicBezTo>
                <a:cubicBezTo>
                  <a:pt x="24" y="0"/>
                  <a:pt x="31" y="5"/>
                  <a:pt x="32" y="12"/>
                </a:cubicBezTo>
                <a:cubicBezTo>
                  <a:pt x="35" y="25"/>
                  <a:pt x="46" y="51"/>
                  <a:pt x="60" y="51"/>
                </a:cubicBezTo>
                <a:cubicBezTo>
                  <a:pt x="76" y="51"/>
                  <a:pt x="85" y="22"/>
                  <a:pt x="87" y="13"/>
                </a:cubicBezTo>
                <a:cubicBezTo>
                  <a:pt x="88" y="7"/>
                  <a:pt x="92" y="2"/>
                  <a:pt x="99" y="1"/>
                </a:cubicBezTo>
                <a:cubicBezTo>
                  <a:pt x="105" y="0"/>
                  <a:pt x="112" y="5"/>
                  <a:pt x="113" y="11"/>
                </a:cubicBezTo>
                <a:cubicBezTo>
                  <a:pt x="116" y="24"/>
                  <a:pt x="127" y="51"/>
                  <a:pt x="141" y="51"/>
                </a:cubicBezTo>
                <a:cubicBezTo>
                  <a:pt x="157" y="51"/>
                  <a:pt x="166" y="20"/>
                  <a:pt x="168" y="12"/>
                </a:cubicBezTo>
                <a:cubicBezTo>
                  <a:pt x="169" y="6"/>
                  <a:pt x="175" y="1"/>
                  <a:pt x="181" y="1"/>
                </a:cubicBezTo>
                <a:cubicBezTo>
                  <a:pt x="187" y="1"/>
                  <a:pt x="193" y="5"/>
                  <a:pt x="194" y="11"/>
                </a:cubicBezTo>
                <a:cubicBezTo>
                  <a:pt x="197" y="24"/>
                  <a:pt x="208" y="51"/>
                  <a:pt x="222" y="51"/>
                </a:cubicBezTo>
                <a:cubicBezTo>
                  <a:pt x="238" y="51"/>
                  <a:pt x="247" y="20"/>
                  <a:pt x="249" y="12"/>
                </a:cubicBezTo>
                <a:cubicBezTo>
                  <a:pt x="250" y="6"/>
                  <a:pt x="255" y="1"/>
                  <a:pt x="262" y="1"/>
                </a:cubicBezTo>
                <a:cubicBezTo>
                  <a:pt x="262" y="1"/>
                  <a:pt x="262" y="1"/>
                  <a:pt x="262" y="1"/>
                </a:cubicBezTo>
                <a:cubicBezTo>
                  <a:pt x="268" y="1"/>
                  <a:pt x="274" y="5"/>
                  <a:pt x="275" y="11"/>
                </a:cubicBezTo>
                <a:cubicBezTo>
                  <a:pt x="278" y="24"/>
                  <a:pt x="289" y="51"/>
                  <a:pt x="303" y="51"/>
                </a:cubicBezTo>
                <a:cubicBezTo>
                  <a:pt x="319" y="51"/>
                  <a:pt x="328" y="20"/>
                  <a:pt x="330" y="12"/>
                </a:cubicBezTo>
                <a:cubicBezTo>
                  <a:pt x="331" y="6"/>
                  <a:pt x="336" y="1"/>
                  <a:pt x="343" y="1"/>
                </a:cubicBezTo>
                <a:cubicBezTo>
                  <a:pt x="343" y="1"/>
                  <a:pt x="343" y="1"/>
                  <a:pt x="343" y="1"/>
                </a:cubicBezTo>
                <a:cubicBezTo>
                  <a:pt x="349" y="1"/>
                  <a:pt x="355" y="5"/>
                  <a:pt x="356" y="11"/>
                </a:cubicBezTo>
                <a:cubicBezTo>
                  <a:pt x="359" y="24"/>
                  <a:pt x="369" y="51"/>
                  <a:pt x="384" y="51"/>
                </a:cubicBezTo>
                <a:cubicBezTo>
                  <a:pt x="400" y="51"/>
                  <a:pt x="409" y="20"/>
                  <a:pt x="411" y="12"/>
                </a:cubicBezTo>
                <a:cubicBezTo>
                  <a:pt x="412" y="5"/>
                  <a:pt x="418" y="1"/>
                  <a:pt x="425" y="1"/>
                </a:cubicBezTo>
                <a:cubicBezTo>
                  <a:pt x="432" y="2"/>
                  <a:pt x="437" y="7"/>
                  <a:pt x="437" y="14"/>
                </a:cubicBezTo>
                <a:cubicBezTo>
                  <a:pt x="437" y="15"/>
                  <a:pt x="441" y="103"/>
                  <a:pt x="441" y="181"/>
                </a:cubicBezTo>
                <a:cubicBezTo>
                  <a:pt x="440" y="261"/>
                  <a:pt x="419" y="320"/>
                  <a:pt x="379" y="357"/>
                </a:cubicBezTo>
                <a:cubicBezTo>
                  <a:pt x="348" y="386"/>
                  <a:pt x="313" y="394"/>
                  <a:pt x="292" y="396"/>
                </a:cubicBezTo>
                <a:cubicBezTo>
                  <a:pt x="291" y="396"/>
                  <a:pt x="291" y="396"/>
                  <a:pt x="290" y="396"/>
                </a:cubicBezTo>
                <a:cubicBezTo>
                  <a:pt x="285" y="396"/>
                  <a:pt x="282" y="396"/>
                  <a:pt x="279" y="39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0" name="Freeform 167"/>
          <p:cNvSpPr>
            <a:spLocks/>
          </p:cNvSpPr>
          <p:nvPr userDrawn="1"/>
        </p:nvSpPr>
        <p:spPr bwMode="auto">
          <a:xfrm>
            <a:off x="6303433" y="1163252"/>
            <a:ext cx="490538" cy="517525"/>
          </a:xfrm>
          <a:custGeom>
            <a:avLst/>
            <a:gdLst/>
            <a:ahLst/>
            <a:cxnLst>
              <a:cxn ang="0">
                <a:pos x="114" y="13"/>
              </a:cxn>
              <a:cxn ang="0">
                <a:pos x="128" y="71"/>
              </a:cxn>
              <a:cxn ang="0">
                <a:pos x="150" y="112"/>
              </a:cxn>
              <a:cxn ang="0">
                <a:pos x="153" y="123"/>
              </a:cxn>
              <a:cxn ang="0">
                <a:pos x="160" y="137"/>
              </a:cxn>
              <a:cxn ang="0">
                <a:pos x="141" y="181"/>
              </a:cxn>
              <a:cxn ang="0">
                <a:pos x="145" y="193"/>
              </a:cxn>
              <a:cxn ang="0">
                <a:pos x="146" y="217"/>
              </a:cxn>
              <a:cxn ang="0">
                <a:pos x="118" y="299"/>
              </a:cxn>
              <a:cxn ang="0">
                <a:pos x="129" y="314"/>
              </a:cxn>
              <a:cxn ang="0">
                <a:pos x="157" y="244"/>
              </a:cxn>
              <a:cxn ang="0">
                <a:pos x="220" y="236"/>
              </a:cxn>
              <a:cxn ang="0">
                <a:pos x="216" y="221"/>
              </a:cxn>
              <a:cxn ang="0">
                <a:pos x="171" y="163"/>
              </a:cxn>
              <a:cxn ang="0">
                <a:pos x="209" y="156"/>
              </a:cxn>
              <a:cxn ang="0">
                <a:pos x="206" y="141"/>
              </a:cxn>
              <a:cxn ang="0">
                <a:pos x="186" y="60"/>
              </a:cxn>
              <a:cxn ang="0">
                <a:pos x="183" y="49"/>
              </a:cxn>
              <a:cxn ang="0">
                <a:pos x="141" y="44"/>
              </a:cxn>
              <a:cxn ang="0">
                <a:pos x="244" y="26"/>
              </a:cxn>
              <a:cxn ang="0">
                <a:pos x="214" y="44"/>
              </a:cxn>
              <a:cxn ang="0">
                <a:pos x="201" y="57"/>
              </a:cxn>
              <a:cxn ang="0">
                <a:pos x="246" y="321"/>
              </a:cxn>
              <a:cxn ang="0">
                <a:pos x="0" y="334"/>
              </a:cxn>
              <a:cxn ang="0">
                <a:pos x="13" y="411"/>
              </a:cxn>
              <a:cxn ang="0">
                <a:pos x="145" y="445"/>
              </a:cxn>
              <a:cxn ang="0">
                <a:pos x="213" y="459"/>
              </a:cxn>
              <a:cxn ang="0">
                <a:pos x="254" y="423"/>
              </a:cxn>
              <a:cxn ang="0">
                <a:pos x="295" y="459"/>
              </a:cxn>
              <a:cxn ang="0">
                <a:pos x="337" y="423"/>
              </a:cxn>
              <a:cxn ang="0">
                <a:pos x="378" y="459"/>
              </a:cxn>
              <a:cxn ang="0">
                <a:pos x="432" y="397"/>
              </a:cxn>
              <a:cxn ang="0">
                <a:pos x="407" y="388"/>
              </a:cxn>
              <a:cxn ang="0">
                <a:pos x="349" y="388"/>
              </a:cxn>
              <a:cxn ang="0">
                <a:pos x="324" y="388"/>
              </a:cxn>
              <a:cxn ang="0">
                <a:pos x="267" y="387"/>
              </a:cxn>
              <a:cxn ang="0">
                <a:pos x="242" y="387"/>
              </a:cxn>
              <a:cxn ang="0">
                <a:pos x="172" y="432"/>
              </a:cxn>
              <a:cxn ang="0">
                <a:pos x="158" y="384"/>
              </a:cxn>
              <a:cxn ang="0">
                <a:pos x="26" y="347"/>
              </a:cxn>
              <a:cxn ang="0">
                <a:pos x="272" y="343"/>
              </a:cxn>
              <a:cxn ang="0">
                <a:pos x="275" y="332"/>
              </a:cxn>
              <a:cxn ang="0">
                <a:pos x="258" y="71"/>
              </a:cxn>
              <a:cxn ang="0">
                <a:pos x="271" y="13"/>
              </a:cxn>
              <a:cxn ang="0">
                <a:pos x="128" y="0"/>
              </a:cxn>
            </a:cxnLst>
            <a:rect l="0" t="0" r="r" b="b"/>
            <a:pathLst>
              <a:path w="435" h="459">
                <a:moveTo>
                  <a:pt x="128" y="0"/>
                </a:moveTo>
                <a:cubicBezTo>
                  <a:pt x="120" y="0"/>
                  <a:pt x="114" y="6"/>
                  <a:pt x="114" y="13"/>
                </a:cubicBezTo>
                <a:cubicBezTo>
                  <a:pt x="114" y="57"/>
                  <a:pt x="114" y="57"/>
                  <a:pt x="114" y="57"/>
                </a:cubicBezTo>
                <a:cubicBezTo>
                  <a:pt x="114" y="65"/>
                  <a:pt x="120" y="71"/>
                  <a:pt x="128" y="71"/>
                </a:cubicBezTo>
                <a:cubicBezTo>
                  <a:pt x="128" y="71"/>
                  <a:pt x="144" y="71"/>
                  <a:pt x="157" y="71"/>
                </a:cubicBezTo>
                <a:cubicBezTo>
                  <a:pt x="154" y="87"/>
                  <a:pt x="150" y="112"/>
                  <a:pt x="150" y="112"/>
                </a:cubicBezTo>
                <a:cubicBezTo>
                  <a:pt x="150" y="113"/>
                  <a:pt x="150" y="113"/>
                  <a:pt x="150" y="114"/>
                </a:cubicBezTo>
                <a:cubicBezTo>
                  <a:pt x="150" y="117"/>
                  <a:pt x="151" y="121"/>
                  <a:pt x="153" y="123"/>
                </a:cubicBezTo>
                <a:cubicBezTo>
                  <a:pt x="153" y="123"/>
                  <a:pt x="160" y="130"/>
                  <a:pt x="166" y="137"/>
                </a:cubicBezTo>
                <a:cubicBezTo>
                  <a:pt x="164" y="137"/>
                  <a:pt x="160" y="137"/>
                  <a:pt x="160" y="137"/>
                </a:cubicBezTo>
                <a:cubicBezTo>
                  <a:pt x="153" y="137"/>
                  <a:pt x="147" y="141"/>
                  <a:pt x="146" y="148"/>
                </a:cubicBezTo>
                <a:cubicBezTo>
                  <a:pt x="141" y="181"/>
                  <a:pt x="141" y="181"/>
                  <a:pt x="141" y="181"/>
                </a:cubicBezTo>
                <a:cubicBezTo>
                  <a:pt x="141" y="181"/>
                  <a:pt x="141" y="182"/>
                  <a:pt x="141" y="183"/>
                </a:cubicBezTo>
                <a:cubicBezTo>
                  <a:pt x="141" y="186"/>
                  <a:pt x="142" y="190"/>
                  <a:pt x="145" y="193"/>
                </a:cubicBezTo>
                <a:cubicBezTo>
                  <a:pt x="145" y="193"/>
                  <a:pt x="159" y="205"/>
                  <a:pt x="173" y="217"/>
                </a:cubicBezTo>
                <a:cubicBezTo>
                  <a:pt x="160" y="217"/>
                  <a:pt x="146" y="217"/>
                  <a:pt x="146" y="217"/>
                </a:cubicBezTo>
                <a:cubicBezTo>
                  <a:pt x="140" y="217"/>
                  <a:pt x="134" y="222"/>
                  <a:pt x="133" y="228"/>
                </a:cubicBezTo>
                <a:cubicBezTo>
                  <a:pt x="118" y="299"/>
                  <a:pt x="118" y="299"/>
                  <a:pt x="118" y="299"/>
                </a:cubicBezTo>
                <a:cubicBezTo>
                  <a:pt x="118" y="300"/>
                  <a:pt x="118" y="300"/>
                  <a:pt x="118" y="301"/>
                </a:cubicBezTo>
                <a:cubicBezTo>
                  <a:pt x="118" y="308"/>
                  <a:pt x="122" y="313"/>
                  <a:pt x="129" y="314"/>
                </a:cubicBezTo>
                <a:cubicBezTo>
                  <a:pt x="136" y="316"/>
                  <a:pt x="143" y="311"/>
                  <a:pt x="145" y="304"/>
                </a:cubicBezTo>
                <a:cubicBezTo>
                  <a:pt x="145" y="304"/>
                  <a:pt x="154" y="260"/>
                  <a:pt x="157" y="244"/>
                </a:cubicBezTo>
                <a:cubicBezTo>
                  <a:pt x="171" y="244"/>
                  <a:pt x="207" y="244"/>
                  <a:pt x="207" y="244"/>
                </a:cubicBezTo>
                <a:cubicBezTo>
                  <a:pt x="213" y="244"/>
                  <a:pt x="218" y="241"/>
                  <a:pt x="220" y="236"/>
                </a:cubicBezTo>
                <a:cubicBezTo>
                  <a:pt x="221" y="234"/>
                  <a:pt x="221" y="232"/>
                  <a:pt x="221" y="231"/>
                </a:cubicBezTo>
                <a:cubicBezTo>
                  <a:pt x="221" y="227"/>
                  <a:pt x="219" y="224"/>
                  <a:pt x="216" y="221"/>
                </a:cubicBezTo>
                <a:cubicBezTo>
                  <a:pt x="216" y="221"/>
                  <a:pt x="177" y="186"/>
                  <a:pt x="168" y="178"/>
                </a:cubicBezTo>
                <a:cubicBezTo>
                  <a:pt x="169" y="173"/>
                  <a:pt x="170" y="170"/>
                  <a:pt x="171" y="163"/>
                </a:cubicBezTo>
                <a:cubicBezTo>
                  <a:pt x="182" y="163"/>
                  <a:pt x="197" y="163"/>
                  <a:pt x="197" y="163"/>
                </a:cubicBezTo>
                <a:cubicBezTo>
                  <a:pt x="202" y="164"/>
                  <a:pt x="207" y="160"/>
                  <a:pt x="209" y="156"/>
                </a:cubicBezTo>
                <a:cubicBezTo>
                  <a:pt x="210" y="154"/>
                  <a:pt x="210" y="152"/>
                  <a:pt x="210" y="150"/>
                </a:cubicBezTo>
                <a:cubicBezTo>
                  <a:pt x="210" y="147"/>
                  <a:pt x="209" y="144"/>
                  <a:pt x="206" y="141"/>
                </a:cubicBezTo>
                <a:cubicBezTo>
                  <a:pt x="206" y="141"/>
                  <a:pt x="184" y="117"/>
                  <a:pt x="177" y="110"/>
                </a:cubicBezTo>
                <a:cubicBezTo>
                  <a:pt x="179" y="100"/>
                  <a:pt x="186" y="60"/>
                  <a:pt x="186" y="60"/>
                </a:cubicBezTo>
                <a:cubicBezTo>
                  <a:pt x="186" y="59"/>
                  <a:pt x="186" y="58"/>
                  <a:pt x="186" y="57"/>
                </a:cubicBezTo>
                <a:cubicBezTo>
                  <a:pt x="186" y="54"/>
                  <a:pt x="185" y="51"/>
                  <a:pt x="183" y="49"/>
                </a:cubicBezTo>
                <a:cubicBezTo>
                  <a:pt x="181" y="46"/>
                  <a:pt x="177" y="44"/>
                  <a:pt x="173" y="44"/>
                </a:cubicBezTo>
                <a:cubicBezTo>
                  <a:pt x="173" y="44"/>
                  <a:pt x="154" y="44"/>
                  <a:pt x="141" y="44"/>
                </a:cubicBezTo>
                <a:cubicBezTo>
                  <a:pt x="141" y="37"/>
                  <a:pt x="141" y="34"/>
                  <a:pt x="141" y="26"/>
                </a:cubicBezTo>
                <a:cubicBezTo>
                  <a:pt x="160" y="26"/>
                  <a:pt x="225" y="26"/>
                  <a:pt x="244" y="26"/>
                </a:cubicBezTo>
                <a:cubicBezTo>
                  <a:pt x="244" y="34"/>
                  <a:pt x="244" y="37"/>
                  <a:pt x="244" y="44"/>
                </a:cubicBezTo>
                <a:cubicBezTo>
                  <a:pt x="232" y="44"/>
                  <a:pt x="214" y="44"/>
                  <a:pt x="214" y="44"/>
                </a:cubicBezTo>
                <a:cubicBezTo>
                  <a:pt x="210" y="44"/>
                  <a:pt x="207" y="46"/>
                  <a:pt x="204" y="49"/>
                </a:cubicBezTo>
                <a:cubicBezTo>
                  <a:pt x="202" y="51"/>
                  <a:pt x="201" y="54"/>
                  <a:pt x="201" y="57"/>
                </a:cubicBezTo>
                <a:cubicBezTo>
                  <a:pt x="201" y="58"/>
                  <a:pt x="201" y="59"/>
                  <a:pt x="201" y="60"/>
                </a:cubicBezTo>
                <a:cubicBezTo>
                  <a:pt x="201" y="60"/>
                  <a:pt x="241" y="293"/>
                  <a:pt x="246" y="321"/>
                </a:cubicBezTo>
                <a:cubicBezTo>
                  <a:pt x="218" y="321"/>
                  <a:pt x="13" y="321"/>
                  <a:pt x="13" y="321"/>
                </a:cubicBezTo>
                <a:cubicBezTo>
                  <a:pt x="6" y="321"/>
                  <a:pt x="0" y="327"/>
                  <a:pt x="0" y="334"/>
                </a:cubicBezTo>
                <a:cubicBezTo>
                  <a:pt x="0" y="397"/>
                  <a:pt x="0" y="397"/>
                  <a:pt x="0" y="397"/>
                </a:cubicBezTo>
                <a:cubicBezTo>
                  <a:pt x="0" y="405"/>
                  <a:pt x="6" y="411"/>
                  <a:pt x="13" y="411"/>
                </a:cubicBezTo>
                <a:cubicBezTo>
                  <a:pt x="13" y="411"/>
                  <a:pt x="123" y="411"/>
                  <a:pt x="145" y="411"/>
                </a:cubicBezTo>
                <a:cubicBezTo>
                  <a:pt x="145" y="425"/>
                  <a:pt x="145" y="445"/>
                  <a:pt x="145" y="445"/>
                </a:cubicBezTo>
                <a:cubicBezTo>
                  <a:pt x="145" y="453"/>
                  <a:pt x="151" y="459"/>
                  <a:pt x="158" y="459"/>
                </a:cubicBezTo>
                <a:cubicBezTo>
                  <a:pt x="213" y="459"/>
                  <a:pt x="213" y="459"/>
                  <a:pt x="213" y="459"/>
                </a:cubicBezTo>
                <a:cubicBezTo>
                  <a:pt x="226" y="459"/>
                  <a:pt x="240" y="448"/>
                  <a:pt x="253" y="426"/>
                </a:cubicBezTo>
                <a:cubicBezTo>
                  <a:pt x="253" y="425"/>
                  <a:pt x="254" y="424"/>
                  <a:pt x="254" y="423"/>
                </a:cubicBezTo>
                <a:cubicBezTo>
                  <a:pt x="254" y="424"/>
                  <a:pt x="255" y="425"/>
                  <a:pt x="255" y="426"/>
                </a:cubicBezTo>
                <a:cubicBezTo>
                  <a:pt x="268" y="448"/>
                  <a:pt x="281" y="459"/>
                  <a:pt x="295" y="459"/>
                </a:cubicBezTo>
                <a:cubicBezTo>
                  <a:pt x="309" y="459"/>
                  <a:pt x="322" y="448"/>
                  <a:pt x="335" y="426"/>
                </a:cubicBezTo>
                <a:cubicBezTo>
                  <a:pt x="336" y="425"/>
                  <a:pt x="336" y="424"/>
                  <a:pt x="337" y="423"/>
                </a:cubicBezTo>
                <a:cubicBezTo>
                  <a:pt x="337" y="424"/>
                  <a:pt x="338" y="425"/>
                  <a:pt x="338" y="426"/>
                </a:cubicBezTo>
                <a:cubicBezTo>
                  <a:pt x="351" y="448"/>
                  <a:pt x="364" y="459"/>
                  <a:pt x="378" y="459"/>
                </a:cubicBezTo>
                <a:cubicBezTo>
                  <a:pt x="392" y="459"/>
                  <a:pt x="405" y="448"/>
                  <a:pt x="418" y="426"/>
                </a:cubicBezTo>
                <a:cubicBezTo>
                  <a:pt x="426" y="412"/>
                  <a:pt x="432" y="398"/>
                  <a:pt x="432" y="397"/>
                </a:cubicBezTo>
                <a:cubicBezTo>
                  <a:pt x="435" y="391"/>
                  <a:pt x="431" y="383"/>
                  <a:pt x="424" y="380"/>
                </a:cubicBezTo>
                <a:cubicBezTo>
                  <a:pt x="418" y="378"/>
                  <a:pt x="410" y="381"/>
                  <a:pt x="407" y="388"/>
                </a:cubicBezTo>
                <a:cubicBezTo>
                  <a:pt x="398" y="411"/>
                  <a:pt x="384" y="431"/>
                  <a:pt x="378" y="432"/>
                </a:cubicBezTo>
                <a:cubicBezTo>
                  <a:pt x="372" y="431"/>
                  <a:pt x="358" y="411"/>
                  <a:pt x="349" y="388"/>
                </a:cubicBezTo>
                <a:cubicBezTo>
                  <a:pt x="347" y="383"/>
                  <a:pt x="342" y="379"/>
                  <a:pt x="337" y="379"/>
                </a:cubicBezTo>
                <a:cubicBezTo>
                  <a:pt x="331" y="379"/>
                  <a:pt x="326" y="382"/>
                  <a:pt x="324" y="388"/>
                </a:cubicBezTo>
                <a:cubicBezTo>
                  <a:pt x="315" y="411"/>
                  <a:pt x="301" y="431"/>
                  <a:pt x="295" y="432"/>
                </a:cubicBezTo>
                <a:cubicBezTo>
                  <a:pt x="290" y="431"/>
                  <a:pt x="276" y="411"/>
                  <a:pt x="267" y="387"/>
                </a:cubicBezTo>
                <a:cubicBezTo>
                  <a:pt x="265" y="382"/>
                  <a:pt x="260" y="379"/>
                  <a:pt x="254" y="379"/>
                </a:cubicBezTo>
                <a:cubicBezTo>
                  <a:pt x="249" y="379"/>
                  <a:pt x="244" y="382"/>
                  <a:pt x="242" y="387"/>
                </a:cubicBezTo>
                <a:cubicBezTo>
                  <a:pt x="232" y="411"/>
                  <a:pt x="218" y="431"/>
                  <a:pt x="213" y="432"/>
                </a:cubicBezTo>
                <a:cubicBezTo>
                  <a:pt x="213" y="432"/>
                  <a:pt x="187" y="432"/>
                  <a:pt x="172" y="432"/>
                </a:cubicBezTo>
                <a:cubicBezTo>
                  <a:pt x="172" y="418"/>
                  <a:pt x="172" y="397"/>
                  <a:pt x="172" y="397"/>
                </a:cubicBezTo>
                <a:cubicBezTo>
                  <a:pt x="172" y="390"/>
                  <a:pt x="166" y="384"/>
                  <a:pt x="158" y="384"/>
                </a:cubicBezTo>
                <a:cubicBezTo>
                  <a:pt x="158" y="384"/>
                  <a:pt x="48" y="384"/>
                  <a:pt x="26" y="384"/>
                </a:cubicBezTo>
                <a:cubicBezTo>
                  <a:pt x="26" y="372"/>
                  <a:pt x="26" y="359"/>
                  <a:pt x="26" y="347"/>
                </a:cubicBezTo>
                <a:cubicBezTo>
                  <a:pt x="50" y="347"/>
                  <a:pt x="261" y="347"/>
                  <a:pt x="261" y="347"/>
                </a:cubicBezTo>
                <a:cubicBezTo>
                  <a:pt x="265" y="347"/>
                  <a:pt x="269" y="346"/>
                  <a:pt x="272" y="343"/>
                </a:cubicBezTo>
                <a:cubicBezTo>
                  <a:pt x="274" y="340"/>
                  <a:pt x="275" y="337"/>
                  <a:pt x="275" y="334"/>
                </a:cubicBezTo>
                <a:cubicBezTo>
                  <a:pt x="275" y="333"/>
                  <a:pt x="275" y="332"/>
                  <a:pt x="275" y="332"/>
                </a:cubicBezTo>
                <a:cubicBezTo>
                  <a:pt x="275" y="332"/>
                  <a:pt x="235" y="99"/>
                  <a:pt x="230" y="71"/>
                </a:cubicBezTo>
                <a:cubicBezTo>
                  <a:pt x="243" y="71"/>
                  <a:pt x="258" y="71"/>
                  <a:pt x="258" y="71"/>
                </a:cubicBezTo>
                <a:cubicBezTo>
                  <a:pt x="265" y="71"/>
                  <a:pt x="271" y="65"/>
                  <a:pt x="271" y="57"/>
                </a:cubicBezTo>
                <a:cubicBezTo>
                  <a:pt x="271" y="13"/>
                  <a:pt x="271" y="13"/>
                  <a:pt x="271" y="13"/>
                </a:cubicBezTo>
                <a:cubicBezTo>
                  <a:pt x="271" y="6"/>
                  <a:pt x="265" y="0"/>
                  <a:pt x="258" y="0"/>
                </a:cubicBezTo>
                <a:lnTo>
                  <a:pt x="128" y="0"/>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1" name="Freeform 385"/>
          <p:cNvSpPr>
            <a:spLocks noEditPoints="1"/>
          </p:cNvSpPr>
          <p:nvPr userDrawn="1"/>
        </p:nvSpPr>
        <p:spPr bwMode="auto">
          <a:xfrm>
            <a:off x="6292321" y="4427029"/>
            <a:ext cx="512762" cy="468312"/>
          </a:xfrm>
          <a:custGeom>
            <a:avLst/>
            <a:gdLst/>
            <a:ahLst/>
            <a:cxnLst>
              <a:cxn ang="0">
                <a:pos x="67" y="59"/>
              </a:cxn>
              <a:cxn ang="0">
                <a:pos x="67" y="61"/>
              </a:cxn>
              <a:cxn ang="0">
                <a:pos x="79" y="147"/>
              </a:cxn>
              <a:cxn ang="0">
                <a:pos x="23" y="157"/>
              </a:cxn>
              <a:cxn ang="0">
                <a:pos x="0" y="192"/>
              </a:cxn>
              <a:cxn ang="0">
                <a:pos x="0" y="202"/>
              </a:cxn>
              <a:cxn ang="0">
                <a:pos x="53" y="280"/>
              </a:cxn>
              <a:cxn ang="0">
                <a:pos x="103" y="308"/>
              </a:cxn>
              <a:cxn ang="0">
                <a:pos x="108" y="347"/>
              </a:cxn>
              <a:cxn ang="0">
                <a:pos x="157" y="398"/>
              </a:cxn>
              <a:cxn ang="0">
                <a:pos x="261" y="415"/>
              </a:cxn>
              <a:cxn ang="0">
                <a:pos x="365" y="398"/>
              </a:cxn>
              <a:cxn ang="0">
                <a:pos x="415" y="347"/>
              </a:cxn>
              <a:cxn ang="0">
                <a:pos x="455" y="64"/>
              </a:cxn>
              <a:cxn ang="0">
                <a:pos x="455" y="62"/>
              </a:cxn>
              <a:cxn ang="0">
                <a:pos x="449" y="51"/>
              </a:cxn>
              <a:cxn ang="0">
                <a:pos x="434" y="51"/>
              </a:cxn>
              <a:cxn ang="0">
                <a:pos x="261" y="92"/>
              </a:cxn>
              <a:cxn ang="0">
                <a:pos x="141" y="80"/>
              </a:cxn>
              <a:cxn ang="0">
                <a:pos x="93" y="59"/>
              </a:cxn>
              <a:cxn ang="0">
                <a:pos x="93" y="59"/>
              </a:cxn>
              <a:cxn ang="0">
                <a:pos x="141" y="39"/>
              </a:cxn>
              <a:cxn ang="0">
                <a:pos x="261" y="27"/>
              </a:cxn>
              <a:cxn ang="0">
                <a:pos x="367" y="36"/>
              </a:cxn>
              <a:cxn ang="0">
                <a:pos x="383" y="25"/>
              </a:cxn>
              <a:cxn ang="0">
                <a:pos x="372" y="9"/>
              </a:cxn>
              <a:cxn ang="0">
                <a:pos x="261" y="0"/>
              </a:cxn>
              <a:cxn ang="0">
                <a:pos x="67" y="59"/>
              </a:cxn>
              <a:cxn ang="0">
                <a:pos x="425" y="86"/>
              </a:cxn>
              <a:cxn ang="0">
                <a:pos x="388" y="344"/>
              </a:cxn>
              <a:cxn ang="0">
                <a:pos x="388" y="346"/>
              </a:cxn>
              <a:cxn ang="0">
                <a:pos x="261" y="388"/>
              </a:cxn>
              <a:cxn ang="0">
                <a:pos x="134" y="346"/>
              </a:cxn>
              <a:cxn ang="0">
                <a:pos x="134" y="344"/>
              </a:cxn>
              <a:cxn ang="0">
                <a:pos x="128" y="297"/>
              </a:cxn>
              <a:cxn ang="0">
                <a:pos x="120" y="287"/>
              </a:cxn>
              <a:cxn ang="0">
                <a:pos x="27" y="196"/>
              </a:cxn>
              <a:cxn ang="0">
                <a:pos x="37" y="179"/>
              </a:cxn>
              <a:cxn ang="0">
                <a:pos x="91" y="176"/>
              </a:cxn>
              <a:cxn ang="0">
                <a:pos x="104" y="173"/>
              </a:cxn>
              <a:cxn ang="0">
                <a:pos x="108" y="163"/>
              </a:cxn>
              <a:cxn ang="0">
                <a:pos x="108" y="161"/>
              </a:cxn>
              <a:cxn ang="0">
                <a:pos x="98" y="94"/>
              </a:cxn>
              <a:cxn ang="0">
                <a:pos x="261" y="119"/>
              </a:cxn>
              <a:cxn ang="0">
                <a:pos x="425" y="86"/>
              </a:cxn>
            </a:cxnLst>
            <a:rect l="0" t="0" r="r" b="b"/>
            <a:pathLst>
              <a:path w="455" h="415">
                <a:moveTo>
                  <a:pt x="67" y="59"/>
                </a:moveTo>
                <a:cubicBezTo>
                  <a:pt x="67" y="60"/>
                  <a:pt x="67" y="61"/>
                  <a:pt x="67" y="61"/>
                </a:cubicBezTo>
                <a:cubicBezTo>
                  <a:pt x="67" y="61"/>
                  <a:pt x="75" y="122"/>
                  <a:pt x="79" y="147"/>
                </a:cubicBezTo>
                <a:cubicBezTo>
                  <a:pt x="63" y="145"/>
                  <a:pt x="40" y="146"/>
                  <a:pt x="23" y="157"/>
                </a:cubicBezTo>
                <a:cubicBezTo>
                  <a:pt x="11" y="165"/>
                  <a:pt x="3" y="177"/>
                  <a:pt x="0" y="192"/>
                </a:cubicBezTo>
                <a:cubicBezTo>
                  <a:pt x="0" y="195"/>
                  <a:pt x="0" y="198"/>
                  <a:pt x="0" y="202"/>
                </a:cubicBezTo>
                <a:cubicBezTo>
                  <a:pt x="0" y="222"/>
                  <a:pt x="10" y="250"/>
                  <a:pt x="53" y="280"/>
                </a:cubicBezTo>
                <a:cubicBezTo>
                  <a:pt x="72" y="294"/>
                  <a:pt x="92" y="304"/>
                  <a:pt x="103" y="308"/>
                </a:cubicBezTo>
                <a:cubicBezTo>
                  <a:pt x="104" y="319"/>
                  <a:pt x="108" y="347"/>
                  <a:pt x="108" y="347"/>
                </a:cubicBezTo>
                <a:cubicBezTo>
                  <a:pt x="108" y="367"/>
                  <a:pt x="126" y="385"/>
                  <a:pt x="157" y="398"/>
                </a:cubicBezTo>
                <a:cubicBezTo>
                  <a:pt x="185" y="409"/>
                  <a:pt x="222" y="415"/>
                  <a:pt x="261" y="415"/>
                </a:cubicBezTo>
                <a:cubicBezTo>
                  <a:pt x="300" y="415"/>
                  <a:pt x="337" y="409"/>
                  <a:pt x="365" y="398"/>
                </a:cubicBezTo>
                <a:cubicBezTo>
                  <a:pt x="396" y="385"/>
                  <a:pt x="414" y="367"/>
                  <a:pt x="415" y="347"/>
                </a:cubicBezTo>
                <a:cubicBezTo>
                  <a:pt x="415" y="347"/>
                  <a:pt x="455" y="64"/>
                  <a:pt x="455" y="64"/>
                </a:cubicBezTo>
                <a:cubicBezTo>
                  <a:pt x="455" y="64"/>
                  <a:pt x="455" y="63"/>
                  <a:pt x="455" y="62"/>
                </a:cubicBezTo>
                <a:cubicBezTo>
                  <a:pt x="455" y="58"/>
                  <a:pt x="453" y="53"/>
                  <a:pt x="449" y="51"/>
                </a:cubicBezTo>
                <a:cubicBezTo>
                  <a:pt x="445" y="48"/>
                  <a:pt x="439" y="48"/>
                  <a:pt x="434" y="51"/>
                </a:cubicBezTo>
                <a:cubicBezTo>
                  <a:pt x="434" y="52"/>
                  <a:pt x="372" y="92"/>
                  <a:pt x="261" y="92"/>
                </a:cubicBezTo>
                <a:cubicBezTo>
                  <a:pt x="216" y="92"/>
                  <a:pt x="173" y="88"/>
                  <a:pt x="141" y="80"/>
                </a:cubicBezTo>
                <a:cubicBezTo>
                  <a:pt x="106" y="72"/>
                  <a:pt x="95" y="62"/>
                  <a:pt x="93" y="59"/>
                </a:cubicBezTo>
                <a:cubicBezTo>
                  <a:pt x="93" y="59"/>
                  <a:pt x="93" y="59"/>
                  <a:pt x="93" y="59"/>
                </a:cubicBezTo>
                <a:cubicBezTo>
                  <a:pt x="95" y="56"/>
                  <a:pt x="106" y="47"/>
                  <a:pt x="141" y="39"/>
                </a:cubicBezTo>
                <a:cubicBezTo>
                  <a:pt x="173" y="31"/>
                  <a:pt x="216" y="27"/>
                  <a:pt x="261" y="27"/>
                </a:cubicBezTo>
                <a:cubicBezTo>
                  <a:pt x="300" y="27"/>
                  <a:pt x="337" y="30"/>
                  <a:pt x="367" y="36"/>
                </a:cubicBezTo>
                <a:cubicBezTo>
                  <a:pt x="375" y="37"/>
                  <a:pt x="382" y="32"/>
                  <a:pt x="383" y="25"/>
                </a:cubicBezTo>
                <a:cubicBezTo>
                  <a:pt x="384" y="18"/>
                  <a:pt x="380" y="11"/>
                  <a:pt x="372" y="9"/>
                </a:cubicBezTo>
                <a:cubicBezTo>
                  <a:pt x="340" y="3"/>
                  <a:pt x="302" y="0"/>
                  <a:pt x="261" y="0"/>
                </a:cubicBezTo>
                <a:cubicBezTo>
                  <a:pt x="189" y="0"/>
                  <a:pt x="67" y="12"/>
                  <a:pt x="67" y="59"/>
                </a:cubicBezTo>
                <a:close/>
                <a:moveTo>
                  <a:pt x="425" y="86"/>
                </a:moveTo>
                <a:cubicBezTo>
                  <a:pt x="419" y="129"/>
                  <a:pt x="388" y="344"/>
                  <a:pt x="388" y="344"/>
                </a:cubicBezTo>
                <a:cubicBezTo>
                  <a:pt x="388" y="345"/>
                  <a:pt x="388" y="345"/>
                  <a:pt x="388" y="346"/>
                </a:cubicBezTo>
                <a:cubicBezTo>
                  <a:pt x="388" y="363"/>
                  <a:pt x="339" y="388"/>
                  <a:pt x="261" y="388"/>
                </a:cubicBezTo>
                <a:cubicBezTo>
                  <a:pt x="184" y="388"/>
                  <a:pt x="134" y="363"/>
                  <a:pt x="134" y="346"/>
                </a:cubicBezTo>
                <a:cubicBezTo>
                  <a:pt x="134" y="345"/>
                  <a:pt x="134" y="345"/>
                  <a:pt x="134" y="344"/>
                </a:cubicBezTo>
                <a:cubicBezTo>
                  <a:pt x="128" y="297"/>
                  <a:pt x="128" y="297"/>
                  <a:pt x="128" y="297"/>
                </a:cubicBezTo>
                <a:cubicBezTo>
                  <a:pt x="128" y="293"/>
                  <a:pt x="125" y="289"/>
                  <a:pt x="120" y="287"/>
                </a:cubicBezTo>
                <a:cubicBezTo>
                  <a:pt x="92" y="275"/>
                  <a:pt x="20" y="236"/>
                  <a:pt x="27" y="196"/>
                </a:cubicBezTo>
                <a:cubicBezTo>
                  <a:pt x="28" y="189"/>
                  <a:pt x="31" y="183"/>
                  <a:pt x="37" y="179"/>
                </a:cubicBezTo>
                <a:cubicBezTo>
                  <a:pt x="53" y="169"/>
                  <a:pt x="82" y="173"/>
                  <a:pt x="91" y="176"/>
                </a:cubicBezTo>
                <a:cubicBezTo>
                  <a:pt x="96" y="177"/>
                  <a:pt x="100" y="175"/>
                  <a:pt x="104" y="173"/>
                </a:cubicBezTo>
                <a:cubicBezTo>
                  <a:pt x="106" y="170"/>
                  <a:pt x="108" y="166"/>
                  <a:pt x="108" y="163"/>
                </a:cubicBezTo>
                <a:cubicBezTo>
                  <a:pt x="108" y="162"/>
                  <a:pt x="108" y="161"/>
                  <a:pt x="108" y="161"/>
                </a:cubicBezTo>
                <a:cubicBezTo>
                  <a:pt x="108" y="161"/>
                  <a:pt x="103" y="124"/>
                  <a:pt x="98" y="94"/>
                </a:cubicBezTo>
                <a:cubicBezTo>
                  <a:pt x="140" y="113"/>
                  <a:pt x="213" y="119"/>
                  <a:pt x="261" y="119"/>
                </a:cubicBezTo>
                <a:cubicBezTo>
                  <a:pt x="340" y="119"/>
                  <a:pt x="395" y="100"/>
                  <a:pt x="425" y="8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2" name="Freeform 437"/>
          <p:cNvSpPr>
            <a:spLocks/>
          </p:cNvSpPr>
          <p:nvPr userDrawn="1"/>
        </p:nvSpPr>
        <p:spPr bwMode="auto">
          <a:xfrm>
            <a:off x="6341535" y="2391797"/>
            <a:ext cx="414337" cy="500063"/>
          </a:xfrm>
          <a:custGeom>
            <a:avLst/>
            <a:gdLst/>
            <a:ahLst/>
            <a:cxnLst>
              <a:cxn ang="0">
                <a:pos x="0" y="183"/>
              </a:cxn>
              <a:cxn ang="0">
                <a:pos x="0" y="183"/>
              </a:cxn>
              <a:cxn ang="0">
                <a:pos x="0" y="199"/>
              </a:cxn>
              <a:cxn ang="0">
                <a:pos x="14" y="212"/>
              </a:cxn>
              <a:cxn ang="0">
                <a:pos x="27" y="199"/>
              </a:cxn>
              <a:cxn ang="0">
                <a:pos x="55" y="170"/>
              </a:cxn>
              <a:cxn ang="0">
                <a:pos x="84" y="199"/>
              </a:cxn>
              <a:cxn ang="0">
                <a:pos x="97" y="212"/>
              </a:cxn>
              <a:cxn ang="0">
                <a:pos x="110" y="199"/>
              </a:cxn>
              <a:cxn ang="0">
                <a:pos x="55" y="144"/>
              </a:cxn>
              <a:cxn ang="0">
                <a:pos x="30" y="150"/>
              </a:cxn>
              <a:cxn ang="0">
                <a:pos x="183" y="26"/>
              </a:cxn>
              <a:cxn ang="0">
                <a:pos x="335" y="149"/>
              </a:cxn>
              <a:cxn ang="0">
                <a:pos x="312" y="144"/>
              </a:cxn>
              <a:cxn ang="0">
                <a:pos x="271" y="163"/>
              </a:cxn>
              <a:cxn ang="0">
                <a:pos x="229" y="144"/>
              </a:cxn>
              <a:cxn ang="0">
                <a:pos x="174" y="199"/>
              </a:cxn>
              <a:cxn ang="0">
                <a:pos x="174" y="388"/>
              </a:cxn>
              <a:cxn ang="0">
                <a:pos x="146" y="416"/>
              </a:cxn>
              <a:cxn ang="0">
                <a:pos x="132" y="430"/>
              </a:cxn>
              <a:cxn ang="0">
                <a:pos x="146" y="443"/>
              </a:cxn>
              <a:cxn ang="0">
                <a:pos x="201" y="388"/>
              </a:cxn>
              <a:cxn ang="0">
                <a:pos x="201" y="199"/>
              </a:cxn>
              <a:cxn ang="0">
                <a:pos x="229" y="170"/>
              </a:cxn>
              <a:cxn ang="0">
                <a:pos x="257" y="199"/>
              </a:cxn>
              <a:cxn ang="0">
                <a:pos x="271" y="212"/>
              </a:cxn>
              <a:cxn ang="0">
                <a:pos x="284" y="199"/>
              </a:cxn>
              <a:cxn ang="0">
                <a:pos x="312" y="170"/>
              </a:cxn>
              <a:cxn ang="0">
                <a:pos x="340" y="198"/>
              </a:cxn>
              <a:cxn ang="0">
                <a:pos x="340" y="199"/>
              </a:cxn>
              <a:cxn ang="0">
                <a:pos x="354" y="212"/>
              </a:cxn>
              <a:cxn ang="0">
                <a:pos x="367" y="199"/>
              </a:cxn>
              <a:cxn ang="0">
                <a:pos x="367" y="197"/>
              </a:cxn>
              <a:cxn ang="0">
                <a:pos x="367" y="198"/>
              </a:cxn>
              <a:cxn ang="0">
                <a:pos x="367" y="197"/>
              </a:cxn>
              <a:cxn ang="0">
                <a:pos x="367" y="192"/>
              </a:cxn>
              <a:cxn ang="0">
                <a:pos x="366" y="182"/>
              </a:cxn>
              <a:cxn ang="0">
                <a:pos x="183" y="0"/>
              </a:cxn>
              <a:cxn ang="0">
                <a:pos x="0" y="183"/>
              </a:cxn>
            </a:cxnLst>
            <a:rect l="0" t="0" r="r" b="b"/>
            <a:pathLst>
              <a:path w="367" h="443">
                <a:moveTo>
                  <a:pt x="0" y="183"/>
                </a:moveTo>
                <a:cubicBezTo>
                  <a:pt x="0" y="183"/>
                  <a:pt x="0" y="183"/>
                  <a:pt x="0" y="183"/>
                </a:cubicBezTo>
                <a:cubicBezTo>
                  <a:pt x="0" y="199"/>
                  <a:pt x="0" y="199"/>
                  <a:pt x="0" y="199"/>
                </a:cubicBezTo>
                <a:cubicBezTo>
                  <a:pt x="1" y="206"/>
                  <a:pt x="7" y="212"/>
                  <a:pt x="14" y="212"/>
                </a:cubicBezTo>
                <a:cubicBezTo>
                  <a:pt x="21" y="212"/>
                  <a:pt x="27" y="206"/>
                  <a:pt x="27" y="199"/>
                </a:cubicBezTo>
                <a:cubicBezTo>
                  <a:pt x="27" y="183"/>
                  <a:pt x="40" y="170"/>
                  <a:pt x="55" y="170"/>
                </a:cubicBezTo>
                <a:cubicBezTo>
                  <a:pt x="71" y="170"/>
                  <a:pt x="84" y="183"/>
                  <a:pt x="84" y="199"/>
                </a:cubicBezTo>
                <a:cubicBezTo>
                  <a:pt x="84" y="206"/>
                  <a:pt x="90" y="212"/>
                  <a:pt x="97" y="212"/>
                </a:cubicBezTo>
                <a:cubicBezTo>
                  <a:pt x="104" y="212"/>
                  <a:pt x="110" y="206"/>
                  <a:pt x="110" y="199"/>
                </a:cubicBezTo>
                <a:cubicBezTo>
                  <a:pt x="110" y="168"/>
                  <a:pt x="86" y="144"/>
                  <a:pt x="55" y="144"/>
                </a:cubicBezTo>
                <a:cubicBezTo>
                  <a:pt x="46" y="144"/>
                  <a:pt x="38" y="146"/>
                  <a:pt x="30" y="150"/>
                </a:cubicBezTo>
                <a:cubicBezTo>
                  <a:pt x="45" y="79"/>
                  <a:pt x="108" y="26"/>
                  <a:pt x="183" y="26"/>
                </a:cubicBezTo>
                <a:cubicBezTo>
                  <a:pt x="257" y="26"/>
                  <a:pt x="320" y="79"/>
                  <a:pt x="335" y="149"/>
                </a:cubicBezTo>
                <a:cubicBezTo>
                  <a:pt x="328" y="145"/>
                  <a:pt x="320" y="144"/>
                  <a:pt x="312" y="144"/>
                </a:cubicBezTo>
                <a:cubicBezTo>
                  <a:pt x="295" y="144"/>
                  <a:pt x="281" y="151"/>
                  <a:pt x="271" y="163"/>
                </a:cubicBezTo>
                <a:cubicBezTo>
                  <a:pt x="261" y="151"/>
                  <a:pt x="246" y="144"/>
                  <a:pt x="229" y="144"/>
                </a:cubicBezTo>
                <a:cubicBezTo>
                  <a:pt x="199" y="144"/>
                  <a:pt x="174" y="168"/>
                  <a:pt x="174" y="199"/>
                </a:cubicBezTo>
                <a:cubicBezTo>
                  <a:pt x="174" y="388"/>
                  <a:pt x="174" y="388"/>
                  <a:pt x="174" y="388"/>
                </a:cubicBezTo>
                <a:cubicBezTo>
                  <a:pt x="174" y="404"/>
                  <a:pt x="161" y="416"/>
                  <a:pt x="146" y="416"/>
                </a:cubicBezTo>
                <a:cubicBezTo>
                  <a:pt x="138" y="416"/>
                  <a:pt x="132" y="422"/>
                  <a:pt x="132" y="430"/>
                </a:cubicBezTo>
                <a:cubicBezTo>
                  <a:pt x="132" y="437"/>
                  <a:pt x="138" y="443"/>
                  <a:pt x="146" y="443"/>
                </a:cubicBezTo>
                <a:cubicBezTo>
                  <a:pt x="176" y="443"/>
                  <a:pt x="201" y="418"/>
                  <a:pt x="201" y="388"/>
                </a:cubicBezTo>
                <a:cubicBezTo>
                  <a:pt x="201" y="199"/>
                  <a:pt x="201" y="199"/>
                  <a:pt x="201" y="199"/>
                </a:cubicBezTo>
                <a:cubicBezTo>
                  <a:pt x="201" y="183"/>
                  <a:pt x="213" y="170"/>
                  <a:pt x="229" y="170"/>
                </a:cubicBezTo>
                <a:cubicBezTo>
                  <a:pt x="245" y="170"/>
                  <a:pt x="257" y="183"/>
                  <a:pt x="257" y="199"/>
                </a:cubicBezTo>
                <a:cubicBezTo>
                  <a:pt x="257" y="206"/>
                  <a:pt x="263" y="212"/>
                  <a:pt x="271" y="212"/>
                </a:cubicBezTo>
                <a:cubicBezTo>
                  <a:pt x="278" y="212"/>
                  <a:pt x="284" y="206"/>
                  <a:pt x="284" y="199"/>
                </a:cubicBezTo>
                <a:cubicBezTo>
                  <a:pt x="284" y="183"/>
                  <a:pt x="296" y="170"/>
                  <a:pt x="312" y="170"/>
                </a:cubicBezTo>
                <a:cubicBezTo>
                  <a:pt x="327" y="170"/>
                  <a:pt x="340" y="182"/>
                  <a:pt x="340" y="198"/>
                </a:cubicBezTo>
                <a:cubicBezTo>
                  <a:pt x="340" y="198"/>
                  <a:pt x="340" y="199"/>
                  <a:pt x="340" y="199"/>
                </a:cubicBezTo>
                <a:cubicBezTo>
                  <a:pt x="341" y="207"/>
                  <a:pt x="347" y="212"/>
                  <a:pt x="354" y="212"/>
                </a:cubicBezTo>
                <a:cubicBezTo>
                  <a:pt x="361" y="212"/>
                  <a:pt x="367" y="206"/>
                  <a:pt x="367" y="199"/>
                </a:cubicBezTo>
                <a:cubicBezTo>
                  <a:pt x="367" y="198"/>
                  <a:pt x="367" y="198"/>
                  <a:pt x="367" y="197"/>
                </a:cubicBezTo>
                <a:cubicBezTo>
                  <a:pt x="367" y="198"/>
                  <a:pt x="367" y="198"/>
                  <a:pt x="367" y="198"/>
                </a:cubicBezTo>
                <a:cubicBezTo>
                  <a:pt x="367" y="198"/>
                  <a:pt x="367" y="197"/>
                  <a:pt x="367" y="197"/>
                </a:cubicBezTo>
                <a:cubicBezTo>
                  <a:pt x="367" y="195"/>
                  <a:pt x="367" y="194"/>
                  <a:pt x="367" y="192"/>
                </a:cubicBezTo>
                <a:cubicBezTo>
                  <a:pt x="366" y="188"/>
                  <a:pt x="366" y="182"/>
                  <a:pt x="366" y="182"/>
                </a:cubicBezTo>
                <a:cubicBezTo>
                  <a:pt x="365" y="81"/>
                  <a:pt x="284" y="0"/>
                  <a:pt x="183" y="0"/>
                </a:cubicBezTo>
                <a:cubicBezTo>
                  <a:pt x="82" y="0"/>
                  <a:pt x="0" y="82"/>
                  <a:pt x="0" y="18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3" name="Freeform 453"/>
          <p:cNvSpPr>
            <a:spLocks/>
          </p:cNvSpPr>
          <p:nvPr userDrawn="1"/>
        </p:nvSpPr>
        <p:spPr bwMode="auto">
          <a:xfrm>
            <a:off x="6289940" y="1835058"/>
            <a:ext cx="517527" cy="338137"/>
          </a:xfrm>
          <a:custGeom>
            <a:avLst/>
            <a:gdLst/>
            <a:ahLst/>
            <a:cxnLst>
              <a:cxn ang="0">
                <a:pos x="10" y="68"/>
              </a:cxn>
              <a:cxn ang="0">
                <a:pos x="0" y="165"/>
              </a:cxn>
              <a:cxn ang="0">
                <a:pos x="48" y="198"/>
              </a:cxn>
              <a:cxn ang="0">
                <a:pos x="68" y="186"/>
              </a:cxn>
              <a:cxn ang="0">
                <a:pos x="73" y="136"/>
              </a:cxn>
              <a:cxn ang="0">
                <a:pos x="79" y="215"/>
              </a:cxn>
              <a:cxn ang="0">
                <a:pos x="125" y="234"/>
              </a:cxn>
              <a:cxn ang="0">
                <a:pos x="132" y="168"/>
              </a:cxn>
              <a:cxn ang="0">
                <a:pos x="137" y="240"/>
              </a:cxn>
              <a:cxn ang="0">
                <a:pos x="226" y="297"/>
              </a:cxn>
              <a:cxn ang="0">
                <a:pos x="375" y="219"/>
              </a:cxn>
              <a:cxn ang="0">
                <a:pos x="382" y="196"/>
              </a:cxn>
              <a:cxn ang="0">
                <a:pos x="404" y="144"/>
              </a:cxn>
              <a:cxn ang="0">
                <a:pos x="331" y="145"/>
              </a:cxn>
              <a:cxn ang="0">
                <a:pos x="346" y="171"/>
              </a:cxn>
              <a:cxn ang="0">
                <a:pos x="358" y="147"/>
              </a:cxn>
              <a:cxn ang="0">
                <a:pos x="377" y="144"/>
              </a:cxn>
              <a:cxn ang="0">
                <a:pos x="366" y="174"/>
              </a:cxn>
              <a:cxn ang="0">
                <a:pos x="355" y="200"/>
              </a:cxn>
              <a:cxn ang="0">
                <a:pos x="164" y="232"/>
              </a:cxn>
              <a:cxn ang="0">
                <a:pos x="157" y="151"/>
              </a:cxn>
              <a:cxn ang="0">
                <a:pos x="112" y="135"/>
              </a:cxn>
              <a:cxn ang="0">
                <a:pos x="105" y="199"/>
              </a:cxn>
              <a:cxn ang="0">
                <a:pos x="99" y="128"/>
              </a:cxn>
              <a:cxn ang="0">
                <a:pos x="60" y="100"/>
              </a:cxn>
              <a:cxn ang="0">
                <a:pos x="41" y="112"/>
              </a:cxn>
              <a:cxn ang="0">
                <a:pos x="27" y="157"/>
              </a:cxn>
              <a:cxn ang="0">
                <a:pos x="242" y="27"/>
              </a:cxn>
              <a:cxn ang="0">
                <a:pos x="432" y="163"/>
              </a:cxn>
              <a:cxn ang="0">
                <a:pos x="459" y="163"/>
              </a:cxn>
              <a:cxn ang="0">
                <a:pos x="449" y="61"/>
              </a:cxn>
              <a:cxn ang="0">
                <a:pos x="238" y="0"/>
              </a:cxn>
            </a:cxnLst>
            <a:rect l="0" t="0" r="r" b="b"/>
            <a:pathLst>
              <a:path w="459" h="299">
                <a:moveTo>
                  <a:pt x="238" y="0"/>
                </a:moveTo>
                <a:cubicBezTo>
                  <a:pt x="10" y="68"/>
                  <a:pt x="10" y="68"/>
                  <a:pt x="10" y="68"/>
                </a:cubicBezTo>
                <a:cubicBezTo>
                  <a:pt x="4" y="70"/>
                  <a:pt x="0" y="75"/>
                  <a:pt x="0" y="81"/>
                </a:cubicBezTo>
                <a:cubicBezTo>
                  <a:pt x="0" y="165"/>
                  <a:pt x="0" y="165"/>
                  <a:pt x="0" y="165"/>
                </a:cubicBezTo>
                <a:cubicBezTo>
                  <a:pt x="0" y="170"/>
                  <a:pt x="3" y="175"/>
                  <a:pt x="7" y="177"/>
                </a:cubicBezTo>
                <a:cubicBezTo>
                  <a:pt x="48" y="198"/>
                  <a:pt x="48" y="198"/>
                  <a:pt x="48" y="198"/>
                </a:cubicBezTo>
                <a:cubicBezTo>
                  <a:pt x="52" y="200"/>
                  <a:pt x="57" y="200"/>
                  <a:pt x="61" y="198"/>
                </a:cubicBezTo>
                <a:cubicBezTo>
                  <a:pt x="65" y="195"/>
                  <a:pt x="68" y="191"/>
                  <a:pt x="68" y="186"/>
                </a:cubicBezTo>
                <a:cubicBezTo>
                  <a:pt x="68" y="186"/>
                  <a:pt x="68" y="155"/>
                  <a:pt x="68" y="133"/>
                </a:cubicBezTo>
                <a:cubicBezTo>
                  <a:pt x="70" y="135"/>
                  <a:pt x="71" y="135"/>
                  <a:pt x="73" y="136"/>
                </a:cubicBezTo>
                <a:cubicBezTo>
                  <a:pt x="73" y="149"/>
                  <a:pt x="73" y="203"/>
                  <a:pt x="73" y="203"/>
                </a:cubicBezTo>
                <a:cubicBezTo>
                  <a:pt x="73" y="208"/>
                  <a:pt x="75" y="212"/>
                  <a:pt x="79" y="215"/>
                </a:cubicBezTo>
                <a:cubicBezTo>
                  <a:pt x="112" y="234"/>
                  <a:pt x="112" y="234"/>
                  <a:pt x="112" y="234"/>
                </a:cubicBezTo>
                <a:cubicBezTo>
                  <a:pt x="116" y="236"/>
                  <a:pt x="121" y="236"/>
                  <a:pt x="125" y="234"/>
                </a:cubicBezTo>
                <a:cubicBezTo>
                  <a:pt x="129" y="231"/>
                  <a:pt x="132" y="227"/>
                  <a:pt x="132" y="222"/>
                </a:cubicBezTo>
                <a:cubicBezTo>
                  <a:pt x="132" y="222"/>
                  <a:pt x="132" y="190"/>
                  <a:pt x="132" y="168"/>
                </a:cubicBezTo>
                <a:cubicBezTo>
                  <a:pt x="134" y="170"/>
                  <a:pt x="135" y="170"/>
                  <a:pt x="137" y="171"/>
                </a:cubicBezTo>
                <a:cubicBezTo>
                  <a:pt x="137" y="184"/>
                  <a:pt x="137" y="240"/>
                  <a:pt x="137" y="240"/>
                </a:cubicBezTo>
                <a:cubicBezTo>
                  <a:pt x="137" y="245"/>
                  <a:pt x="140" y="249"/>
                  <a:pt x="144" y="252"/>
                </a:cubicBezTo>
                <a:cubicBezTo>
                  <a:pt x="226" y="297"/>
                  <a:pt x="226" y="297"/>
                  <a:pt x="226" y="297"/>
                </a:cubicBezTo>
                <a:cubicBezTo>
                  <a:pt x="230" y="299"/>
                  <a:pt x="235" y="299"/>
                  <a:pt x="239" y="297"/>
                </a:cubicBezTo>
                <a:cubicBezTo>
                  <a:pt x="375" y="219"/>
                  <a:pt x="375" y="219"/>
                  <a:pt x="375" y="219"/>
                </a:cubicBezTo>
                <a:cubicBezTo>
                  <a:pt x="380" y="217"/>
                  <a:pt x="382" y="213"/>
                  <a:pt x="382" y="208"/>
                </a:cubicBezTo>
                <a:cubicBezTo>
                  <a:pt x="382" y="208"/>
                  <a:pt x="382" y="202"/>
                  <a:pt x="382" y="196"/>
                </a:cubicBezTo>
                <a:cubicBezTo>
                  <a:pt x="394" y="187"/>
                  <a:pt x="402" y="171"/>
                  <a:pt x="404" y="150"/>
                </a:cubicBezTo>
                <a:cubicBezTo>
                  <a:pt x="404" y="148"/>
                  <a:pt x="404" y="146"/>
                  <a:pt x="404" y="144"/>
                </a:cubicBezTo>
                <a:cubicBezTo>
                  <a:pt x="404" y="117"/>
                  <a:pt x="390" y="96"/>
                  <a:pt x="371" y="94"/>
                </a:cubicBezTo>
                <a:cubicBezTo>
                  <a:pt x="350" y="93"/>
                  <a:pt x="333" y="115"/>
                  <a:pt x="331" y="145"/>
                </a:cubicBezTo>
                <a:cubicBezTo>
                  <a:pt x="331" y="150"/>
                  <a:pt x="331" y="155"/>
                  <a:pt x="331" y="159"/>
                </a:cubicBezTo>
                <a:cubicBezTo>
                  <a:pt x="332" y="166"/>
                  <a:pt x="338" y="172"/>
                  <a:pt x="346" y="171"/>
                </a:cubicBezTo>
                <a:cubicBezTo>
                  <a:pt x="353" y="170"/>
                  <a:pt x="358" y="164"/>
                  <a:pt x="358" y="156"/>
                </a:cubicBezTo>
                <a:cubicBezTo>
                  <a:pt x="357" y="153"/>
                  <a:pt x="357" y="150"/>
                  <a:pt x="358" y="147"/>
                </a:cubicBezTo>
                <a:cubicBezTo>
                  <a:pt x="359" y="129"/>
                  <a:pt x="367" y="121"/>
                  <a:pt x="369" y="121"/>
                </a:cubicBezTo>
                <a:cubicBezTo>
                  <a:pt x="371" y="121"/>
                  <a:pt x="377" y="129"/>
                  <a:pt x="377" y="144"/>
                </a:cubicBezTo>
                <a:cubicBezTo>
                  <a:pt x="377" y="146"/>
                  <a:pt x="377" y="147"/>
                  <a:pt x="377" y="148"/>
                </a:cubicBezTo>
                <a:cubicBezTo>
                  <a:pt x="376" y="164"/>
                  <a:pt x="369" y="174"/>
                  <a:pt x="366" y="174"/>
                </a:cubicBezTo>
                <a:cubicBezTo>
                  <a:pt x="360" y="176"/>
                  <a:pt x="355" y="181"/>
                  <a:pt x="355" y="187"/>
                </a:cubicBezTo>
                <a:cubicBezTo>
                  <a:pt x="355" y="187"/>
                  <a:pt x="355" y="194"/>
                  <a:pt x="355" y="200"/>
                </a:cubicBezTo>
                <a:cubicBezTo>
                  <a:pt x="344" y="207"/>
                  <a:pt x="243" y="264"/>
                  <a:pt x="232" y="270"/>
                </a:cubicBezTo>
                <a:cubicBezTo>
                  <a:pt x="222" y="265"/>
                  <a:pt x="175" y="238"/>
                  <a:pt x="164" y="232"/>
                </a:cubicBezTo>
                <a:cubicBezTo>
                  <a:pt x="164" y="220"/>
                  <a:pt x="164" y="163"/>
                  <a:pt x="164" y="163"/>
                </a:cubicBezTo>
                <a:cubicBezTo>
                  <a:pt x="164" y="158"/>
                  <a:pt x="161" y="154"/>
                  <a:pt x="157" y="151"/>
                </a:cubicBezTo>
                <a:cubicBezTo>
                  <a:pt x="125" y="134"/>
                  <a:pt x="125" y="134"/>
                  <a:pt x="125" y="134"/>
                </a:cubicBezTo>
                <a:cubicBezTo>
                  <a:pt x="121" y="132"/>
                  <a:pt x="116" y="132"/>
                  <a:pt x="112" y="135"/>
                </a:cubicBezTo>
                <a:cubicBezTo>
                  <a:pt x="108" y="137"/>
                  <a:pt x="105" y="142"/>
                  <a:pt x="105" y="146"/>
                </a:cubicBezTo>
                <a:cubicBezTo>
                  <a:pt x="105" y="146"/>
                  <a:pt x="105" y="177"/>
                  <a:pt x="105" y="199"/>
                </a:cubicBezTo>
                <a:cubicBezTo>
                  <a:pt x="102" y="197"/>
                  <a:pt x="101" y="197"/>
                  <a:pt x="99" y="196"/>
                </a:cubicBezTo>
                <a:cubicBezTo>
                  <a:pt x="99" y="183"/>
                  <a:pt x="99" y="128"/>
                  <a:pt x="99" y="128"/>
                </a:cubicBezTo>
                <a:cubicBezTo>
                  <a:pt x="99" y="123"/>
                  <a:pt x="96" y="118"/>
                  <a:pt x="92" y="116"/>
                </a:cubicBezTo>
                <a:cubicBezTo>
                  <a:pt x="60" y="100"/>
                  <a:pt x="60" y="100"/>
                  <a:pt x="60" y="100"/>
                </a:cubicBezTo>
                <a:cubicBezTo>
                  <a:pt x="56" y="98"/>
                  <a:pt x="51" y="98"/>
                  <a:pt x="47" y="101"/>
                </a:cubicBezTo>
                <a:cubicBezTo>
                  <a:pt x="44" y="103"/>
                  <a:pt x="41" y="107"/>
                  <a:pt x="41" y="112"/>
                </a:cubicBezTo>
                <a:cubicBezTo>
                  <a:pt x="41" y="112"/>
                  <a:pt x="41" y="143"/>
                  <a:pt x="41" y="164"/>
                </a:cubicBezTo>
                <a:cubicBezTo>
                  <a:pt x="34" y="161"/>
                  <a:pt x="31" y="159"/>
                  <a:pt x="27" y="157"/>
                </a:cubicBezTo>
                <a:cubicBezTo>
                  <a:pt x="27" y="145"/>
                  <a:pt x="27" y="105"/>
                  <a:pt x="27" y="91"/>
                </a:cubicBezTo>
                <a:cubicBezTo>
                  <a:pt x="44" y="86"/>
                  <a:pt x="235" y="29"/>
                  <a:pt x="242" y="27"/>
                </a:cubicBezTo>
                <a:cubicBezTo>
                  <a:pt x="249" y="29"/>
                  <a:pt x="415" y="78"/>
                  <a:pt x="432" y="83"/>
                </a:cubicBezTo>
                <a:cubicBezTo>
                  <a:pt x="432" y="99"/>
                  <a:pt x="432" y="163"/>
                  <a:pt x="432" y="163"/>
                </a:cubicBezTo>
                <a:cubicBezTo>
                  <a:pt x="432" y="171"/>
                  <a:pt x="438" y="176"/>
                  <a:pt x="445" y="176"/>
                </a:cubicBezTo>
                <a:cubicBezTo>
                  <a:pt x="453" y="176"/>
                  <a:pt x="459" y="171"/>
                  <a:pt x="459" y="163"/>
                </a:cubicBezTo>
                <a:cubicBezTo>
                  <a:pt x="459" y="73"/>
                  <a:pt x="459" y="73"/>
                  <a:pt x="459" y="73"/>
                </a:cubicBezTo>
                <a:cubicBezTo>
                  <a:pt x="459" y="68"/>
                  <a:pt x="455" y="62"/>
                  <a:pt x="449" y="61"/>
                </a:cubicBezTo>
                <a:cubicBezTo>
                  <a:pt x="246" y="0"/>
                  <a:pt x="246" y="0"/>
                  <a:pt x="246" y="0"/>
                </a:cubicBezTo>
                <a:cubicBezTo>
                  <a:pt x="243" y="0"/>
                  <a:pt x="240" y="0"/>
                  <a:pt x="238" y="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4" name="Freeform 461"/>
          <p:cNvSpPr>
            <a:spLocks noEditPoints="1"/>
          </p:cNvSpPr>
          <p:nvPr userDrawn="1"/>
        </p:nvSpPr>
        <p:spPr bwMode="auto">
          <a:xfrm>
            <a:off x="6392333" y="2995732"/>
            <a:ext cx="312739" cy="504825"/>
          </a:xfrm>
          <a:custGeom>
            <a:avLst/>
            <a:gdLst/>
            <a:ahLst/>
            <a:cxnLst>
              <a:cxn ang="0">
                <a:pos x="85" y="1"/>
              </a:cxn>
              <a:cxn ang="0">
                <a:pos x="71" y="7"/>
              </a:cxn>
              <a:cxn ang="0">
                <a:pos x="64" y="24"/>
              </a:cxn>
              <a:cxn ang="0">
                <a:pos x="81" y="31"/>
              </a:cxn>
              <a:cxn ang="0">
                <a:pos x="92" y="27"/>
              </a:cxn>
              <a:cxn ang="0">
                <a:pos x="220" y="43"/>
              </a:cxn>
              <a:cxn ang="0">
                <a:pos x="180" y="63"/>
              </a:cxn>
              <a:cxn ang="0">
                <a:pos x="15" y="40"/>
              </a:cxn>
              <a:cxn ang="0">
                <a:pos x="5" y="43"/>
              </a:cxn>
              <a:cxn ang="0">
                <a:pos x="0" y="53"/>
              </a:cxn>
              <a:cxn ang="0">
                <a:pos x="0" y="385"/>
              </a:cxn>
              <a:cxn ang="0">
                <a:pos x="10" y="397"/>
              </a:cxn>
              <a:cxn ang="0">
                <a:pos x="121" y="432"/>
              </a:cxn>
              <a:cxn ang="0">
                <a:pos x="137" y="423"/>
              </a:cxn>
              <a:cxn ang="0">
                <a:pos x="138" y="419"/>
              </a:cxn>
              <a:cxn ang="0">
                <a:pos x="129" y="407"/>
              </a:cxn>
              <a:cxn ang="0">
                <a:pos x="27" y="375"/>
              </a:cxn>
              <a:cxn ang="0">
                <a:pos x="27" y="68"/>
              </a:cxn>
              <a:cxn ang="0">
                <a:pos x="169" y="88"/>
              </a:cxn>
              <a:cxn ang="0">
                <a:pos x="170" y="435"/>
              </a:cxn>
              <a:cxn ang="0">
                <a:pos x="177" y="447"/>
              </a:cxn>
              <a:cxn ang="0">
                <a:pos x="191" y="446"/>
              </a:cxn>
              <a:cxn ang="0">
                <a:pos x="273" y="391"/>
              </a:cxn>
              <a:cxn ang="0">
                <a:pos x="278" y="380"/>
              </a:cxn>
              <a:cxn ang="0">
                <a:pos x="278" y="35"/>
              </a:cxn>
              <a:cxn ang="0">
                <a:pos x="278" y="35"/>
              </a:cxn>
              <a:cxn ang="0">
                <a:pos x="278" y="33"/>
              </a:cxn>
              <a:cxn ang="0">
                <a:pos x="278" y="32"/>
              </a:cxn>
              <a:cxn ang="0">
                <a:pos x="277" y="30"/>
              </a:cxn>
              <a:cxn ang="0">
                <a:pos x="277" y="29"/>
              </a:cxn>
              <a:cxn ang="0">
                <a:pos x="276" y="28"/>
              </a:cxn>
              <a:cxn ang="0">
                <a:pos x="276" y="27"/>
              </a:cxn>
              <a:cxn ang="0">
                <a:pos x="274" y="26"/>
              </a:cxn>
              <a:cxn ang="0">
                <a:pos x="274" y="25"/>
              </a:cxn>
              <a:cxn ang="0">
                <a:pos x="274" y="25"/>
              </a:cxn>
              <a:cxn ang="0">
                <a:pos x="273" y="24"/>
              </a:cxn>
              <a:cxn ang="0">
                <a:pos x="272" y="24"/>
              </a:cxn>
              <a:cxn ang="0">
                <a:pos x="271" y="23"/>
              </a:cxn>
              <a:cxn ang="0">
                <a:pos x="270" y="23"/>
              </a:cxn>
              <a:cxn ang="0">
                <a:pos x="268" y="22"/>
              </a:cxn>
              <a:cxn ang="0">
                <a:pos x="267" y="22"/>
              </a:cxn>
              <a:cxn ang="0">
                <a:pos x="267" y="22"/>
              </a:cxn>
              <a:cxn ang="0">
                <a:pos x="91" y="0"/>
              </a:cxn>
              <a:cxn ang="0">
                <a:pos x="85" y="1"/>
              </a:cxn>
              <a:cxn ang="0">
                <a:pos x="240" y="63"/>
              </a:cxn>
              <a:cxn ang="0">
                <a:pos x="225" y="102"/>
              </a:cxn>
              <a:cxn ang="0">
                <a:pos x="204" y="80"/>
              </a:cxn>
              <a:cxn ang="0">
                <a:pos x="240" y="63"/>
              </a:cxn>
              <a:cxn ang="0">
                <a:pos x="232" y="140"/>
              </a:cxn>
              <a:cxn ang="0">
                <a:pos x="242" y="132"/>
              </a:cxn>
              <a:cxn ang="0">
                <a:pos x="252" y="106"/>
              </a:cxn>
              <a:cxn ang="0">
                <a:pos x="252" y="373"/>
              </a:cxn>
              <a:cxn ang="0">
                <a:pos x="196" y="410"/>
              </a:cxn>
              <a:cxn ang="0">
                <a:pos x="196" y="110"/>
              </a:cxn>
              <a:cxn ang="0">
                <a:pos x="219" y="136"/>
              </a:cxn>
              <a:cxn ang="0">
                <a:pos x="232" y="140"/>
              </a:cxn>
            </a:cxnLst>
            <a:rect l="0" t="0" r="r" b="b"/>
            <a:pathLst>
              <a:path w="278" h="449">
                <a:moveTo>
                  <a:pt x="85" y="1"/>
                </a:moveTo>
                <a:cubicBezTo>
                  <a:pt x="71" y="7"/>
                  <a:pt x="71" y="7"/>
                  <a:pt x="71" y="7"/>
                </a:cubicBezTo>
                <a:cubicBezTo>
                  <a:pt x="64" y="10"/>
                  <a:pt x="61" y="18"/>
                  <a:pt x="64" y="24"/>
                </a:cubicBezTo>
                <a:cubicBezTo>
                  <a:pt x="67" y="31"/>
                  <a:pt x="74" y="34"/>
                  <a:pt x="81" y="31"/>
                </a:cubicBezTo>
                <a:cubicBezTo>
                  <a:pt x="81" y="31"/>
                  <a:pt x="88" y="29"/>
                  <a:pt x="92" y="27"/>
                </a:cubicBezTo>
                <a:cubicBezTo>
                  <a:pt x="97" y="28"/>
                  <a:pt x="172" y="37"/>
                  <a:pt x="220" y="43"/>
                </a:cubicBezTo>
                <a:cubicBezTo>
                  <a:pt x="200" y="53"/>
                  <a:pt x="184" y="61"/>
                  <a:pt x="180" y="63"/>
                </a:cubicBezTo>
                <a:cubicBezTo>
                  <a:pt x="173" y="62"/>
                  <a:pt x="15" y="40"/>
                  <a:pt x="15" y="40"/>
                </a:cubicBezTo>
                <a:cubicBezTo>
                  <a:pt x="12" y="39"/>
                  <a:pt x="8" y="40"/>
                  <a:pt x="5" y="43"/>
                </a:cubicBezTo>
                <a:cubicBezTo>
                  <a:pt x="2" y="45"/>
                  <a:pt x="0" y="49"/>
                  <a:pt x="0" y="53"/>
                </a:cubicBezTo>
                <a:cubicBezTo>
                  <a:pt x="0" y="385"/>
                  <a:pt x="0" y="385"/>
                  <a:pt x="0" y="385"/>
                </a:cubicBezTo>
                <a:cubicBezTo>
                  <a:pt x="0" y="390"/>
                  <a:pt x="4" y="396"/>
                  <a:pt x="10" y="397"/>
                </a:cubicBezTo>
                <a:cubicBezTo>
                  <a:pt x="121" y="432"/>
                  <a:pt x="121" y="432"/>
                  <a:pt x="121" y="432"/>
                </a:cubicBezTo>
                <a:cubicBezTo>
                  <a:pt x="128" y="434"/>
                  <a:pt x="135" y="430"/>
                  <a:pt x="137" y="423"/>
                </a:cubicBezTo>
                <a:cubicBezTo>
                  <a:pt x="138" y="422"/>
                  <a:pt x="138" y="421"/>
                  <a:pt x="138" y="419"/>
                </a:cubicBezTo>
                <a:cubicBezTo>
                  <a:pt x="138" y="414"/>
                  <a:pt x="134" y="408"/>
                  <a:pt x="129" y="407"/>
                </a:cubicBezTo>
                <a:cubicBezTo>
                  <a:pt x="129" y="407"/>
                  <a:pt x="43" y="380"/>
                  <a:pt x="27" y="375"/>
                </a:cubicBezTo>
                <a:cubicBezTo>
                  <a:pt x="27" y="357"/>
                  <a:pt x="27" y="95"/>
                  <a:pt x="27" y="68"/>
                </a:cubicBezTo>
                <a:cubicBezTo>
                  <a:pt x="50" y="71"/>
                  <a:pt x="151" y="85"/>
                  <a:pt x="169" y="88"/>
                </a:cubicBezTo>
                <a:cubicBezTo>
                  <a:pt x="169" y="110"/>
                  <a:pt x="170" y="435"/>
                  <a:pt x="170" y="435"/>
                </a:cubicBezTo>
                <a:cubicBezTo>
                  <a:pt x="170" y="440"/>
                  <a:pt x="173" y="445"/>
                  <a:pt x="177" y="447"/>
                </a:cubicBezTo>
                <a:cubicBezTo>
                  <a:pt x="181" y="449"/>
                  <a:pt x="187" y="449"/>
                  <a:pt x="191" y="446"/>
                </a:cubicBezTo>
                <a:cubicBezTo>
                  <a:pt x="273" y="391"/>
                  <a:pt x="273" y="391"/>
                  <a:pt x="273" y="391"/>
                </a:cubicBezTo>
                <a:cubicBezTo>
                  <a:pt x="276" y="389"/>
                  <a:pt x="278" y="384"/>
                  <a:pt x="278" y="380"/>
                </a:cubicBezTo>
                <a:cubicBezTo>
                  <a:pt x="278" y="380"/>
                  <a:pt x="278" y="35"/>
                  <a:pt x="278" y="35"/>
                </a:cubicBezTo>
                <a:cubicBezTo>
                  <a:pt x="278" y="35"/>
                  <a:pt x="278" y="35"/>
                  <a:pt x="278" y="35"/>
                </a:cubicBezTo>
                <a:cubicBezTo>
                  <a:pt x="278" y="34"/>
                  <a:pt x="278" y="33"/>
                  <a:pt x="278" y="33"/>
                </a:cubicBezTo>
                <a:cubicBezTo>
                  <a:pt x="278" y="32"/>
                  <a:pt x="278" y="32"/>
                  <a:pt x="278" y="32"/>
                </a:cubicBezTo>
                <a:cubicBezTo>
                  <a:pt x="278" y="31"/>
                  <a:pt x="278" y="31"/>
                  <a:pt x="277" y="30"/>
                </a:cubicBezTo>
                <a:cubicBezTo>
                  <a:pt x="277" y="30"/>
                  <a:pt x="277" y="29"/>
                  <a:pt x="277" y="29"/>
                </a:cubicBezTo>
                <a:cubicBezTo>
                  <a:pt x="277" y="29"/>
                  <a:pt x="276" y="28"/>
                  <a:pt x="276" y="28"/>
                </a:cubicBezTo>
                <a:cubicBezTo>
                  <a:pt x="276" y="27"/>
                  <a:pt x="276" y="27"/>
                  <a:pt x="276" y="27"/>
                </a:cubicBezTo>
                <a:cubicBezTo>
                  <a:pt x="275" y="27"/>
                  <a:pt x="275" y="26"/>
                  <a:pt x="274" y="26"/>
                </a:cubicBezTo>
                <a:cubicBezTo>
                  <a:pt x="274" y="26"/>
                  <a:pt x="274" y="25"/>
                  <a:pt x="274" y="25"/>
                </a:cubicBezTo>
                <a:cubicBezTo>
                  <a:pt x="274" y="25"/>
                  <a:pt x="274" y="25"/>
                  <a:pt x="274" y="25"/>
                </a:cubicBezTo>
                <a:cubicBezTo>
                  <a:pt x="273" y="25"/>
                  <a:pt x="273" y="24"/>
                  <a:pt x="273" y="24"/>
                </a:cubicBezTo>
                <a:cubicBezTo>
                  <a:pt x="272" y="24"/>
                  <a:pt x="272" y="24"/>
                  <a:pt x="272" y="24"/>
                </a:cubicBezTo>
                <a:cubicBezTo>
                  <a:pt x="271" y="23"/>
                  <a:pt x="271" y="23"/>
                  <a:pt x="271" y="23"/>
                </a:cubicBezTo>
                <a:cubicBezTo>
                  <a:pt x="270" y="23"/>
                  <a:pt x="270" y="23"/>
                  <a:pt x="270" y="23"/>
                </a:cubicBezTo>
                <a:cubicBezTo>
                  <a:pt x="269" y="22"/>
                  <a:pt x="269" y="22"/>
                  <a:pt x="268" y="22"/>
                </a:cubicBezTo>
                <a:cubicBezTo>
                  <a:pt x="268" y="22"/>
                  <a:pt x="268" y="22"/>
                  <a:pt x="267" y="22"/>
                </a:cubicBezTo>
                <a:cubicBezTo>
                  <a:pt x="267" y="22"/>
                  <a:pt x="267" y="22"/>
                  <a:pt x="267" y="22"/>
                </a:cubicBezTo>
                <a:cubicBezTo>
                  <a:pt x="91" y="0"/>
                  <a:pt x="91" y="0"/>
                  <a:pt x="91" y="0"/>
                </a:cubicBezTo>
                <a:cubicBezTo>
                  <a:pt x="89" y="0"/>
                  <a:pt x="87" y="0"/>
                  <a:pt x="85" y="1"/>
                </a:cubicBezTo>
                <a:close/>
                <a:moveTo>
                  <a:pt x="240" y="63"/>
                </a:moveTo>
                <a:cubicBezTo>
                  <a:pt x="233" y="81"/>
                  <a:pt x="230" y="89"/>
                  <a:pt x="225" y="102"/>
                </a:cubicBezTo>
                <a:cubicBezTo>
                  <a:pt x="216" y="93"/>
                  <a:pt x="212" y="89"/>
                  <a:pt x="204" y="80"/>
                </a:cubicBezTo>
                <a:cubicBezTo>
                  <a:pt x="216" y="75"/>
                  <a:pt x="223" y="71"/>
                  <a:pt x="240" y="63"/>
                </a:cubicBezTo>
                <a:close/>
                <a:moveTo>
                  <a:pt x="232" y="140"/>
                </a:moveTo>
                <a:cubicBezTo>
                  <a:pt x="236" y="139"/>
                  <a:pt x="240" y="136"/>
                  <a:pt x="242" y="132"/>
                </a:cubicBezTo>
                <a:cubicBezTo>
                  <a:pt x="242" y="132"/>
                  <a:pt x="248" y="116"/>
                  <a:pt x="252" y="106"/>
                </a:cubicBezTo>
                <a:cubicBezTo>
                  <a:pt x="252" y="193"/>
                  <a:pt x="252" y="362"/>
                  <a:pt x="252" y="373"/>
                </a:cubicBezTo>
                <a:cubicBezTo>
                  <a:pt x="244" y="378"/>
                  <a:pt x="217" y="396"/>
                  <a:pt x="196" y="410"/>
                </a:cubicBezTo>
                <a:cubicBezTo>
                  <a:pt x="196" y="371"/>
                  <a:pt x="196" y="162"/>
                  <a:pt x="196" y="110"/>
                </a:cubicBezTo>
                <a:cubicBezTo>
                  <a:pt x="208" y="123"/>
                  <a:pt x="219" y="136"/>
                  <a:pt x="219" y="136"/>
                </a:cubicBezTo>
                <a:cubicBezTo>
                  <a:pt x="223" y="139"/>
                  <a:pt x="227" y="141"/>
                  <a:pt x="232" y="14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5" name="Freeform 489"/>
          <p:cNvSpPr>
            <a:spLocks/>
          </p:cNvSpPr>
          <p:nvPr userDrawn="1"/>
        </p:nvSpPr>
        <p:spPr bwMode="auto">
          <a:xfrm>
            <a:off x="6289940" y="3765210"/>
            <a:ext cx="517527" cy="342900"/>
          </a:xfrm>
          <a:custGeom>
            <a:avLst/>
            <a:gdLst/>
            <a:ahLst/>
            <a:cxnLst>
              <a:cxn ang="0">
                <a:pos x="223" y="2"/>
              </a:cxn>
              <a:cxn ang="0">
                <a:pos x="115" y="55"/>
              </a:cxn>
              <a:cxn ang="0">
                <a:pos x="26" y="68"/>
              </a:cxn>
              <a:cxn ang="0">
                <a:pos x="13" y="112"/>
              </a:cxn>
              <a:cxn ang="0">
                <a:pos x="13" y="139"/>
              </a:cxn>
              <a:cxn ang="0">
                <a:pos x="53" y="126"/>
              </a:cxn>
              <a:cxn ang="0">
                <a:pos x="102" y="82"/>
              </a:cxn>
              <a:cxn ang="0">
                <a:pos x="109" y="103"/>
              </a:cxn>
              <a:cxn ang="0">
                <a:pos x="234" y="26"/>
              </a:cxn>
              <a:cxn ang="0">
                <a:pos x="315" y="51"/>
              </a:cxn>
              <a:cxn ang="0">
                <a:pos x="432" y="64"/>
              </a:cxn>
              <a:cxn ang="0">
                <a:pos x="328" y="87"/>
              </a:cxn>
              <a:cxn ang="0">
                <a:pos x="315" y="101"/>
              </a:cxn>
              <a:cxn ang="0">
                <a:pos x="328" y="214"/>
              </a:cxn>
              <a:cxn ang="0">
                <a:pos x="432" y="237"/>
              </a:cxn>
              <a:cxn ang="0">
                <a:pos x="315" y="250"/>
              </a:cxn>
              <a:cxn ang="0">
                <a:pos x="234" y="278"/>
              </a:cxn>
              <a:cxn ang="0">
                <a:pos x="109" y="197"/>
              </a:cxn>
              <a:cxn ang="0">
                <a:pos x="102" y="219"/>
              </a:cxn>
              <a:cxn ang="0">
                <a:pos x="53" y="177"/>
              </a:cxn>
              <a:cxn ang="0">
                <a:pos x="39" y="164"/>
              </a:cxn>
              <a:cxn ang="0">
                <a:pos x="0" y="177"/>
              </a:cxn>
              <a:cxn ang="0">
                <a:pos x="26" y="190"/>
              </a:cxn>
              <a:cxn ang="0">
                <a:pos x="30" y="242"/>
              </a:cxn>
              <a:cxn ang="0">
                <a:pos x="115" y="246"/>
              </a:cxn>
              <a:cxn ang="0">
                <a:pos x="222" y="302"/>
              </a:cxn>
              <a:cxn ang="0">
                <a:pos x="328" y="305"/>
              </a:cxn>
              <a:cxn ang="0">
                <a:pos x="342" y="263"/>
              </a:cxn>
              <a:cxn ang="0">
                <a:pos x="459" y="250"/>
              </a:cxn>
              <a:cxn ang="0">
                <a:pos x="445" y="187"/>
              </a:cxn>
              <a:cxn ang="0">
                <a:pos x="342" y="114"/>
              </a:cxn>
              <a:cxn ang="0">
                <a:pos x="455" y="110"/>
              </a:cxn>
              <a:cxn ang="0">
                <a:pos x="459" y="51"/>
              </a:cxn>
              <a:cxn ang="0">
                <a:pos x="342" y="37"/>
              </a:cxn>
              <a:cxn ang="0">
                <a:pos x="328" y="0"/>
              </a:cxn>
            </a:cxnLst>
            <a:rect l="0" t="0" r="r" b="b"/>
            <a:pathLst>
              <a:path w="459" h="305">
                <a:moveTo>
                  <a:pt x="230" y="0"/>
                </a:moveTo>
                <a:cubicBezTo>
                  <a:pt x="227" y="0"/>
                  <a:pt x="225" y="1"/>
                  <a:pt x="223" y="2"/>
                </a:cubicBezTo>
                <a:cubicBezTo>
                  <a:pt x="223" y="2"/>
                  <a:pt x="156" y="47"/>
                  <a:pt x="128" y="66"/>
                </a:cubicBezTo>
                <a:cubicBezTo>
                  <a:pt x="127" y="60"/>
                  <a:pt x="122" y="55"/>
                  <a:pt x="115" y="55"/>
                </a:cubicBezTo>
                <a:cubicBezTo>
                  <a:pt x="39" y="55"/>
                  <a:pt x="39" y="55"/>
                  <a:pt x="39" y="55"/>
                </a:cubicBezTo>
                <a:cubicBezTo>
                  <a:pt x="32" y="55"/>
                  <a:pt x="26" y="61"/>
                  <a:pt x="26" y="68"/>
                </a:cubicBezTo>
                <a:cubicBezTo>
                  <a:pt x="26" y="68"/>
                  <a:pt x="26" y="97"/>
                  <a:pt x="26" y="112"/>
                </a:cubicBezTo>
                <a:cubicBezTo>
                  <a:pt x="20" y="112"/>
                  <a:pt x="13" y="112"/>
                  <a:pt x="13" y="112"/>
                </a:cubicBezTo>
                <a:cubicBezTo>
                  <a:pt x="6" y="112"/>
                  <a:pt x="0" y="118"/>
                  <a:pt x="0" y="126"/>
                </a:cubicBezTo>
                <a:cubicBezTo>
                  <a:pt x="0" y="133"/>
                  <a:pt x="6" y="139"/>
                  <a:pt x="13" y="139"/>
                </a:cubicBezTo>
                <a:cubicBezTo>
                  <a:pt x="39" y="139"/>
                  <a:pt x="39" y="139"/>
                  <a:pt x="39" y="139"/>
                </a:cubicBezTo>
                <a:cubicBezTo>
                  <a:pt x="47" y="139"/>
                  <a:pt x="53" y="133"/>
                  <a:pt x="53" y="126"/>
                </a:cubicBezTo>
                <a:cubicBezTo>
                  <a:pt x="53" y="126"/>
                  <a:pt x="53" y="97"/>
                  <a:pt x="53" y="82"/>
                </a:cubicBezTo>
                <a:cubicBezTo>
                  <a:pt x="67" y="82"/>
                  <a:pt x="88" y="82"/>
                  <a:pt x="102" y="82"/>
                </a:cubicBezTo>
                <a:cubicBezTo>
                  <a:pt x="102" y="86"/>
                  <a:pt x="102" y="91"/>
                  <a:pt x="102" y="91"/>
                </a:cubicBezTo>
                <a:cubicBezTo>
                  <a:pt x="102" y="96"/>
                  <a:pt x="105" y="101"/>
                  <a:pt x="109" y="103"/>
                </a:cubicBezTo>
                <a:cubicBezTo>
                  <a:pt x="113" y="105"/>
                  <a:pt x="119" y="105"/>
                  <a:pt x="123" y="102"/>
                </a:cubicBezTo>
                <a:cubicBezTo>
                  <a:pt x="123" y="102"/>
                  <a:pt x="228" y="31"/>
                  <a:pt x="234" y="26"/>
                </a:cubicBezTo>
                <a:cubicBezTo>
                  <a:pt x="241" y="26"/>
                  <a:pt x="296" y="26"/>
                  <a:pt x="315" y="26"/>
                </a:cubicBezTo>
                <a:cubicBezTo>
                  <a:pt x="315" y="38"/>
                  <a:pt x="315" y="51"/>
                  <a:pt x="315" y="51"/>
                </a:cubicBezTo>
                <a:cubicBezTo>
                  <a:pt x="315" y="58"/>
                  <a:pt x="321" y="64"/>
                  <a:pt x="328" y="64"/>
                </a:cubicBezTo>
                <a:cubicBezTo>
                  <a:pt x="328" y="64"/>
                  <a:pt x="411" y="64"/>
                  <a:pt x="432" y="64"/>
                </a:cubicBezTo>
                <a:cubicBezTo>
                  <a:pt x="432" y="73"/>
                  <a:pt x="432" y="78"/>
                  <a:pt x="432" y="87"/>
                </a:cubicBezTo>
                <a:cubicBezTo>
                  <a:pt x="411" y="87"/>
                  <a:pt x="328" y="87"/>
                  <a:pt x="328" y="87"/>
                </a:cubicBezTo>
                <a:cubicBezTo>
                  <a:pt x="325" y="87"/>
                  <a:pt x="321" y="89"/>
                  <a:pt x="319" y="91"/>
                </a:cubicBezTo>
                <a:cubicBezTo>
                  <a:pt x="316" y="94"/>
                  <a:pt x="315" y="97"/>
                  <a:pt x="315" y="101"/>
                </a:cubicBezTo>
                <a:cubicBezTo>
                  <a:pt x="315" y="200"/>
                  <a:pt x="315" y="200"/>
                  <a:pt x="315" y="200"/>
                </a:cubicBezTo>
                <a:cubicBezTo>
                  <a:pt x="315" y="208"/>
                  <a:pt x="321" y="214"/>
                  <a:pt x="328" y="214"/>
                </a:cubicBezTo>
                <a:cubicBezTo>
                  <a:pt x="328" y="214"/>
                  <a:pt x="411" y="214"/>
                  <a:pt x="432" y="214"/>
                </a:cubicBezTo>
                <a:cubicBezTo>
                  <a:pt x="432" y="223"/>
                  <a:pt x="432" y="228"/>
                  <a:pt x="432" y="237"/>
                </a:cubicBezTo>
                <a:cubicBezTo>
                  <a:pt x="411" y="237"/>
                  <a:pt x="328" y="237"/>
                  <a:pt x="328" y="237"/>
                </a:cubicBezTo>
                <a:cubicBezTo>
                  <a:pt x="321" y="237"/>
                  <a:pt x="315" y="243"/>
                  <a:pt x="315" y="250"/>
                </a:cubicBezTo>
                <a:cubicBezTo>
                  <a:pt x="315" y="250"/>
                  <a:pt x="315" y="266"/>
                  <a:pt x="315" y="278"/>
                </a:cubicBezTo>
                <a:cubicBezTo>
                  <a:pt x="296" y="278"/>
                  <a:pt x="241" y="278"/>
                  <a:pt x="234" y="278"/>
                </a:cubicBezTo>
                <a:cubicBezTo>
                  <a:pt x="228" y="274"/>
                  <a:pt x="123" y="198"/>
                  <a:pt x="123" y="198"/>
                </a:cubicBezTo>
                <a:cubicBezTo>
                  <a:pt x="119" y="195"/>
                  <a:pt x="114" y="195"/>
                  <a:pt x="109" y="197"/>
                </a:cubicBezTo>
                <a:cubicBezTo>
                  <a:pt x="105" y="200"/>
                  <a:pt x="102" y="204"/>
                  <a:pt x="102" y="209"/>
                </a:cubicBezTo>
                <a:cubicBezTo>
                  <a:pt x="102" y="209"/>
                  <a:pt x="102" y="214"/>
                  <a:pt x="102" y="219"/>
                </a:cubicBezTo>
                <a:cubicBezTo>
                  <a:pt x="88" y="219"/>
                  <a:pt x="67" y="219"/>
                  <a:pt x="53" y="219"/>
                </a:cubicBezTo>
                <a:cubicBezTo>
                  <a:pt x="53" y="204"/>
                  <a:pt x="53" y="177"/>
                  <a:pt x="53" y="177"/>
                </a:cubicBezTo>
                <a:cubicBezTo>
                  <a:pt x="53" y="174"/>
                  <a:pt x="51" y="170"/>
                  <a:pt x="49" y="168"/>
                </a:cubicBezTo>
                <a:cubicBezTo>
                  <a:pt x="46" y="165"/>
                  <a:pt x="43" y="164"/>
                  <a:pt x="39" y="164"/>
                </a:cubicBezTo>
                <a:cubicBezTo>
                  <a:pt x="13" y="164"/>
                  <a:pt x="13" y="164"/>
                  <a:pt x="13" y="164"/>
                </a:cubicBezTo>
                <a:cubicBezTo>
                  <a:pt x="6" y="164"/>
                  <a:pt x="0" y="170"/>
                  <a:pt x="0" y="177"/>
                </a:cubicBezTo>
                <a:cubicBezTo>
                  <a:pt x="0" y="185"/>
                  <a:pt x="6" y="191"/>
                  <a:pt x="13" y="190"/>
                </a:cubicBezTo>
                <a:cubicBezTo>
                  <a:pt x="13" y="190"/>
                  <a:pt x="20" y="190"/>
                  <a:pt x="26" y="190"/>
                </a:cubicBezTo>
                <a:cubicBezTo>
                  <a:pt x="26" y="206"/>
                  <a:pt x="26" y="233"/>
                  <a:pt x="26" y="233"/>
                </a:cubicBezTo>
                <a:cubicBezTo>
                  <a:pt x="26" y="236"/>
                  <a:pt x="27" y="240"/>
                  <a:pt x="30" y="242"/>
                </a:cubicBezTo>
                <a:cubicBezTo>
                  <a:pt x="32" y="245"/>
                  <a:pt x="36" y="246"/>
                  <a:pt x="39" y="246"/>
                </a:cubicBezTo>
                <a:cubicBezTo>
                  <a:pt x="115" y="246"/>
                  <a:pt x="115" y="246"/>
                  <a:pt x="115" y="246"/>
                </a:cubicBezTo>
                <a:cubicBezTo>
                  <a:pt x="122" y="246"/>
                  <a:pt x="127" y="241"/>
                  <a:pt x="128" y="235"/>
                </a:cubicBezTo>
                <a:cubicBezTo>
                  <a:pt x="156" y="255"/>
                  <a:pt x="222" y="302"/>
                  <a:pt x="222" y="302"/>
                </a:cubicBezTo>
                <a:cubicBezTo>
                  <a:pt x="225" y="304"/>
                  <a:pt x="227" y="305"/>
                  <a:pt x="230" y="305"/>
                </a:cubicBezTo>
                <a:cubicBezTo>
                  <a:pt x="328" y="305"/>
                  <a:pt x="328" y="305"/>
                  <a:pt x="328" y="305"/>
                </a:cubicBezTo>
                <a:cubicBezTo>
                  <a:pt x="336" y="305"/>
                  <a:pt x="342" y="299"/>
                  <a:pt x="342" y="292"/>
                </a:cubicBezTo>
                <a:cubicBezTo>
                  <a:pt x="342" y="292"/>
                  <a:pt x="342" y="276"/>
                  <a:pt x="342" y="263"/>
                </a:cubicBezTo>
                <a:cubicBezTo>
                  <a:pt x="363" y="263"/>
                  <a:pt x="445" y="263"/>
                  <a:pt x="445" y="263"/>
                </a:cubicBezTo>
                <a:cubicBezTo>
                  <a:pt x="453" y="263"/>
                  <a:pt x="459" y="257"/>
                  <a:pt x="459" y="250"/>
                </a:cubicBezTo>
                <a:cubicBezTo>
                  <a:pt x="459" y="200"/>
                  <a:pt x="459" y="200"/>
                  <a:pt x="459" y="200"/>
                </a:cubicBezTo>
                <a:cubicBezTo>
                  <a:pt x="459" y="193"/>
                  <a:pt x="453" y="187"/>
                  <a:pt x="445" y="187"/>
                </a:cubicBezTo>
                <a:cubicBezTo>
                  <a:pt x="445" y="187"/>
                  <a:pt x="363" y="187"/>
                  <a:pt x="342" y="187"/>
                </a:cubicBezTo>
                <a:cubicBezTo>
                  <a:pt x="342" y="170"/>
                  <a:pt x="342" y="131"/>
                  <a:pt x="342" y="114"/>
                </a:cubicBezTo>
                <a:cubicBezTo>
                  <a:pt x="363" y="114"/>
                  <a:pt x="445" y="114"/>
                  <a:pt x="445" y="114"/>
                </a:cubicBezTo>
                <a:cubicBezTo>
                  <a:pt x="449" y="114"/>
                  <a:pt x="452" y="113"/>
                  <a:pt x="455" y="110"/>
                </a:cubicBezTo>
                <a:cubicBezTo>
                  <a:pt x="457" y="108"/>
                  <a:pt x="459" y="104"/>
                  <a:pt x="459" y="101"/>
                </a:cubicBezTo>
                <a:cubicBezTo>
                  <a:pt x="459" y="51"/>
                  <a:pt x="459" y="51"/>
                  <a:pt x="459" y="51"/>
                </a:cubicBezTo>
                <a:cubicBezTo>
                  <a:pt x="459" y="43"/>
                  <a:pt x="453" y="37"/>
                  <a:pt x="445" y="37"/>
                </a:cubicBezTo>
                <a:cubicBezTo>
                  <a:pt x="445" y="37"/>
                  <a:pt x="363" y="37"/>
                  <a:pt x="342" y="37"/>
                </a:cubicBezTo>
                <a:cubicBezTo>
                  <a:pt x="342" y="26"/>
                  <a:pt x="342" y="13"/>
                  <a:pt x="342" y="13"/>
                </a:cubicBezTo>
                <a:cubicBezTo>
                  <a:pt x="342" y="6"/>
                  <a:pt x="336" y="0"/>
                  <a:pt x="328" y="0"/>
                </a:cubicBezTo>
                <a:lnTo>
                  <a:pt x="230" y="0"/>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6" name="Freeform 509"/>
          <p:cNvSpPr>
            <a:spLocks/>
          </p:cNvSpPr>
          <p:nvPr userDrawn="1"/>
        </p:nvSpPr>
        <p:spPr bwMode="auto">
          <a:xfrm>
            <a:off x="6328041" y="5200861"/>
            <a:ext cx="441325" cy="244475"/>
          </a:xfrm>
          <a:custGeom>
            <a:avLst/>
            <a:gdLst/>
            <a:ahLst/>
            <a:cxnLst>
              <a:cxn ang="0">
                <a:pos x="278" y="38"/>
              </a:cxn>
              <a:cxn ang="0">
                <a:pos x="278" y="154"/>
              </a:cxn>
              <a:cxn ang="0">
                <a:pos x="0" y="154"/>
              </a:cxn>
              <a:cxn ang="0">
                <a:pos x="0" y="0"/>
              </a:cxn>
              <a:cxn ang="0">
                <a:pos x="275" y="0"/>
              </a:cxn>
              <a:cxn ang="0">
                <a:pos x="146" y="115"/>
              </a:cxn>
              <a:cxn ang="0">
                <a:pos x="29" y="28"/>
              </a:cxn>
            </a:cxnLst>
            <a:rect l="0" t="0" r="r" b="b"/>
            <a:pathLst>
              <a:path w="278" h="154">
                <a:moveTo>
                  <a:pt x="278" y="38"/>
                </a:moveTo>
                <a:lnTo>
                  <a:pt x="278" y="154"/>
                </a:lnTo>
                <a:lnTo>
                  <a:pt x="0" y="154"/>
                </a:lnTo>
                <a:lnTo>
                  <a:pt x="0" y="0"/>
                </a:lnTo>
                <a:lnTo>
                  <a:pt x="275" y="0"/>
                </a:lnTo>
                <a:lnTo>
                  <a:pt x="146" y="115"/>
                </a:lnTo>
                <a:lnTo>
                  <a:pt x="29" y="28"/>
                </a:lnTo>
              </a:path>
            </a:pathLst>
          </a:custGeom>
          <a:noFill/>
          <a:ln w="30163"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7" name="Freeform 296"/>
          <p:cNvSpPr>
            <a:spLocks/>
          </p:cNvSpPr>
          <p:nvPr userDrawn="1"/>
        </p:nvSpPr>
        <p:spPr bwMode="auto">
          <a:xfrm>
            <a:off x="6893146" y="1160863"/>
            <a:ext cx="525463" cy="522288"/>
          </a:xfrm>
          <a:custGeom>
            <a:avLst/>
            <a:gdLst/>
            <a:ahLst/>
            <a:cxnLst>
              <a:cxn ang="0">
                <a:pos x="28" y="139"/>
              </a:cxn>
              <a:cxn ang="0">
                <a:pos x="97" y="174"/>
              </a:cxn>
              <a:cxn ang="0">
                <a:pos x="159" y="111"/>
              </a:cxn>
              <a:cxn ang="0">
                <a:pos x="181" y="104"/>
              </a:cxn>
              <a:cxn ang="0">
                <a:pos x="236" y="147"/>
              </a:cxn>
              <a:cxn ang="0">
                <a:pos x="263" y="100"/>
              </a:cxn>
              <a:cxn ang="0">
                <a:pos x="289" y="156"/>
              </a:cxn>
              <a:cxn ang="0">
                <a:pos x="303" y="239"/>
              </a:cxn>
              <a:cxn ang="0">
                <a:pos x="265" y="309"/>
              </a:cxn>
              <a:cxn ang="0">
                <a:pos x="230" y="305"/>
              </a:cxn>
              <a:cxn ang="0">
                <a:pos x="219" y="276"/>
              </a:cxn>
              <a:cxn ang="0">
                <a:pos x="119" y="263"/>
              </a:cxn>
              <a:cxn ang="0">
                <a:pos x="60" y="198"/>
              </a:cxn>
              <a:cxn ang="0">
                <a:pos x="10" y="287"/>
              </a:cxn>
              <a:cxn ang="0">
                <a:pos x="321" y="444"/>
              </a:cxn>
              <a:cxn ang="0">
                <a:pos x="164" y="379"/>
              </a:cxn>
              <a:cxn ang="0">
                <a:pos x="293" y="402"/>
              </a:cxn>
              <a:cxn ang="0">
                <a:pos x="306" y="421"/>
              </a:cxn>
              <a:cxn ang="0">
                <a:pos x="36" y="281"/>
              </a:cxn>
              <a:cxn ang="0">
                <a:pos x="37" y="212"/>
              </a:cxn>
              <a:cxn ang="0">
                <a:pos x="132" y="287"/>
              </a:cxn>
              <a:cxn ang="0">
                <a:pos x="196" y="289"/>
              </a:cxn>
              <a:cxn ang="0">
                <a:pos x="206" y="317"/>
              </a:cxn>
              <a:cxn ang="0">
                <a:pos x="250" y="332"/>
              </a:cxn>
              <a:cxn ang="0">
                <a:pos x="315" y="276"/>
              </a:cxn>
              <a:cxn ang="0">
                <a:pos x="305" y="133"/>
              </a:cxn>
              <a:cxn ang="0">
                <a:pos x="283" y="73"/>
              </a:cxn>
              <a:cxn ang="0">
                <a:pos x="221" y="118"/>
              </a:cxn>
              <a:cxn ang="0">
                <a:pos x="197" y="78"/>
              </a:cxn>
              <a:cxn ang="0">
                <a:pos x="124" y="109"/>
              </a:cxn>
              <a:cxn ang="0">
                <a:pos x="64" y="152"/>
              </a:cxn>
              <a:cxn ang="0">
                <a:pos x="177" y="45"/>
              </a:cxn>
              <a:cxn ang="0">
                <a:pos x="435" y="207"/>
              </a:cxn>
              <a:cxn ang="0">
                <a:pos x="421" y="243"/>
              </a:cxn>
              <a:cxn ang="0">
                <a:pos x="355" y="228"/>
              </a:cxn>
              <a:cxn ang="0">
                <a:pos x="334" y="277"/>
              </a:cxn>
              <a:cxn ang="0">
                <a:pos x="344" y="348"/>
              </a:cxn>
              <a:cxn ang="0">
                <a:pos x="407" y="308"/>
              </a:cxn>
              <a:cxn ang="0">
                <a:pos x="395" y="358"/>
              </a:cxn>
              <a:cxn ang="0">
                <a:pos x="353" y="416"/>
              </a:cxn>
              <a:cxn ang="0">
                <a:pos x="446" y="325"/>
              </a:cxn>
              <a:cxn ang="0">
                <a:pos x="405" y="281"/>
              </a:cxn>
              <a:cxn ang="0">
                <a:pos x="348" y="321"/>
              </a:cxn>
              <a:cxn ang="0">
                <a:pos x="368" y="282"/>
              </a:cxn>
              <a:cxn ang="0">
                <a:pos x="378" y="243"/>
              </a:cxn>
              <a:cxn ang="0">
                <a:pos x="402" y="263"/>
              </a:cxn>
              <a:cxn ang="0">
                <a:pos x="462" y="203"/>
              </a:cxn>
              <a:cxn ang="0">
                <a:pos x="168" y="19"/>
              </a:cxn>
            </a:cxnLst>
            <a:rect l="0" t="0" r="r" b="b"/>
            <a:pathLst>
              <a:path w="465" h="463">
                <a:moveTo>
                  <a:pt x="168" y="19"/>
                </a:moveTo>
                <a:cubicBezTo>
                  <a:pt x="158" y="22"/>
                  <a:pt x="75" y="46"/>
                  <a:pt x="30" y="133"/>
                </a:cubicBezTo>
                <a:cubicBezTo>
                  <a:pt x="29" y="135"/>
                  <a:pt x="28" y="137"/>
                  <a:pt x="28" y="139"/>
                </a:cubicBezTo>
                <a:cubicBezTo>
                  <a:pt x="28" y="141"/>
                  <a:pt x="29" y="157"/>
                  <a:pt x="46" y="172"/>
                </a:cubicBezTo>
                <a:cubicBezTo>
                  <a:pt x="62" y="186"/>
                  <a:pt x="84" y="181"/>
                  <a:pt x="94" y="175"/>
                </a:cubicBezTo>
                <a:cubicBezTo>
                  <a:pt x="95" y="175"/>
                  <a:pt x="96" y="174"/>
                  <a:pt x="97" y="174"/>
                </a:cubicBezTo>
                <a:cubicBezTo>
                  <a:pt x="105" y="168"/>
                  <a:pt x="110" y="160"/>
                  <a:pt x="116" y="152"/>
                </a:cubicBezTo>
                <a:cubicBezTo>
                  <a:pt x="121" y="145"/>
                  <a:pt x="127" y="136"/>
                  <a:pt x="131" y="135"/>
                </a:cubicBezTo>
                <a:cubicBezTo>
                  <a:pt x="146" y="132"/>
                  <a:pt x="153" y="120"/>
                  <a:pt x="159" y="111"/>
                </a:cubicBezTo>
                <a:cubicBezTo>
                  <a:pt x="161" y="108"/>
                  <a:pt x="163" y="104"/>
                  <a:pt x="164" y="103"/>
                </a:cubicBezTo>
                <a:cubicBezTo>
                  <a:pt x="168" y="100"/>
                  <a:pt x="175" y="100"/>
                  <a:pt x="181" y="101"/>
                </a:cubicBezTo>
                <a:cubicBezTo>
                  <a:pt x="181" y="102"/>
                  <a:pt x="181" y="103"/>
                  <a:pt x="181" y="104"/>
                </a:cubicBezTo>
                <a:cubicBezTo>
                  <a:pt x="184" y="117"/>
                  <a:pt x="188" y="134"/>
                  <a:pt x="202" y="138"/>
                </a:cubicBezTo>
                <a:cubicBezTo>
                  <a:pt x="203" y="139"/>
                  <a:pt x="206" y="141"/>
                  <a:pt x="209" y="142"/>
                </a:cubicBezTo>
                <a:cubicBezTo>
                  <a:pt x="217" y="146"/>
                  <a:pt x="227" y="151"/>
                  <a:pt x="236" y="147"/>
                </a:cubicBezTo>
                <a:cubicBezTo>
                  <a:pt x="239" y="145"/>
                  <a:pt x="244" y="141"/>
                  <a:pt x="246" y="133"/>
                </a:cubicBezTo>
                <a:cubicBezTo>
                  <a:pt x="249" y="112"/>
                  <a:pt x="255" y="93"/>
                  <a:pt x="260" y="86"/>
                </a:cubicBezTo>
                <a:cubicBezTo>
                  <a:pt x="261" y="90"/>
                  <a:pt x="262" y="96"/>
                  <a:pt x="263" y="100"/>
                </a:cubicBezTo>
                <a:cubicBezTo>
                  <a:pt x="264" y="105"/>
                  <a:pt x="265" y="110"/>
                  <a:pt x="266" y="114"/>
                </a:cubicBezTo>
                <a:cubicBezTo>
                  <a:pt x="272" y="131"/>
                  <a:pt x="277" y="142"/>
                  <a:pt x="285" y="151"/>
                </a:cubicBezTo>
                <a:cubicBezTo>
                  <a:pt x="285" y="151"/>
                  <a:pt x="289" y="156"/>
                  <a:pt x="289" y="156"/>
                </a:cubicBezTo>
                <a:cubicBezTo>
                  <a:pt x="301" y="169"/>
                  <a:pt x="311" y="180"/>
                  <a:pt x="314" y="191"/>
                </a:cubicBezTo>
                <a:cubicBezTo>
                  <a:pt x="315" y="194"/>
                  <a:pt x="315" y="197"/>
                  <a:pt x="315" y="200"/>
                </a:cubicBezTo>
                <a:cubicBezTo>
                  <a:pt x="315" y="209"/>
                  <a:pt x="312" y="220"/>
                  <a:pt x="303" y="239"/>
                </a:cubicBezTo>
                <a:cubicBezTo>
                  <a:pt x="299" y="246"/>
                  <a:pt x="295" y="255"/>
                  <a:pt x="290" y="265"/>
                </a:cubicBezTo>
                <a:cubicBezTo>
                  <a:pt x="284" y="278"/>
                  <a:pt x="274" y="301"/>
                  <a:pt x="267" y="310"/>
                </a:cubicBezTo>
                <a:cubicBezTo>
                  <a:pt x="266" y="310"/>
                  <a:pt x="266" y="310"/>
                  <a:pt x="265" y="309"/>
                </a:cubicBezTo>
                <a:cubicBezTo>
                  <a:pt x="261" y="307"/>
                  <a:pt x="257" y="305"/>
                  <a:pt x="250" y="305"/>
                </a:cubicBezTo>
                <a:cubicBezTo>
                  <a:pt x="244" y="305"/>
                  <a:pt x="244" y="305"/>
                  <a:pt x="244" y="305"/>
                </a:cubicBezTo>
                <a:cubicBezTo>
                  <a:pt x="241" y="305"/>
                  <a:pt x="234" y="306"/>
                  <a:pt x="230" y="305"/>
                </a:cubicBezTo>
                <a:cubicBezTo>
                  <a:pt x="230" y="303"/>
                  <a:pt x="229" y="301"/>
                  <a:pt x="229" y="300"/>
                </a:cubicBezTo>
                <a:cubicBezTo>
                  <a:pt x="228" y="294"/>
                  <a:pt x="227" y="288"/>
                  <a:pt x="223" y="282"/>
                </a:cubicBezTo>
                <a:cubicBezTo>
                  <a:pt x="223" y="282"/>
                  <a:pt x="219" y="276"/>
                  <a:pt x="219" y="276"/>
                </a:cubicBezTo>
                <a:cubicBezTo>
                  <a:pt x="216" y="270"/>
                  <a:pt x="213" y="265"/>
                  <a:pt x="204" y="258"/>
                </a:cubicBezTo>
                <a:cubicBezTo>
                  <a:pt x="189" y="243"/>
                  <a:pt x="167" y="246"/>
                  <a:pt x="148" y="250"/>
                </a:cubicBezTo>
                <a:cubicBezTo>
                  <a:pt x="141" y="252"/>
                  <a:pt x="132" y="256"/>
                  <a:pt x="119" y="263"/>
                </a:cubicBezTo>
                <a:cubicBezTo>
                  <a:pt x="111" y="268"/>
                  <a:pt x="94" y="277"/>
                  <a:pt x="87" y="278"/>
                </a:cubicBezTo>
                <a:cubicBezTo>
                  <a:pt x="84" y="275"/>
                  <a:pt x="77" y="264"/>
                  <a:pt x="77" y="255"/>
                </a:cubicBezTo>
                <a:cubicBezTo>
                  <a:pt x="76" y="240"/>
                  <a:pt x="74" y="218"/>
                  <a:pt x="60" y="198"/>
                </a:cubicBezTo>
                <a:cubicBezTo>
                  <a:pt x="49" y="181"/>
                  <a:pt x="36" y="180"/>
                  <a:pt x="24" y="180"/>
                </a:cubicBezTo>
                <a:cubicBezTo>
                  <a:pt x="20" y="180"/>
                  <a:pt x="16" y="182"/>
                  <a:pt x="13" y="185"/>
                </a:cubicBezTo>
                <a:cubicBezTo>
                  <a:pt x="4" y="196"/>
                  <a:pt x="0" y="240"/>
                  <a:pt x="10" y="287"/>
                </a:cubicBezTo>
                <a:cubicBezTo>
                  <a:pt x="15" y="313"/>
                  <a:pt x="29" y="343"/>
                  <a:pt x="48" y="370"/>
                </a:cubicBezTo>
                <a:cubicBezTo>
                  <a:pt x="79" y="412"/>
                  <a:pt x="145" y="463"/>
                  <a:pt x="231" y="463"/>
                </a:cubicBezTo>
                <a:cubicBezTo>
                  <a:pt x="272" y="463"/>
                  <a:pt x="302" y="456"/>
                  <a:pt x="321" y="444"/>
                </a:cubicBezTo>
                <a:cubicBezTo>
                  <a:pt x="330" y="438"/>
                  <a:pt x="334" y="429"/>
                  <a:pt x="333" y="418"/>
                </a:cubicBezTo>
                <a:cubicBezTo>
                  <a:pt x="332" y="400"/>
                  <a:pt x="315" y="383"/>
                  <a:pt x="304" y="378"/>
                </a:cubicBezTo>
                <a:cubicBezTo>
                  <a:pt x="282" y="368"/>
                  <a:pt x="211" y="353"/>
                  <a:pt x="164" y="379"/>
                </a:cubicBezTo>
                <a:cubicBezTo>
                  <a:pt x="157" y="383"/>
                  <a:pt x="155" y="391"/>
                  <a:pt x="159" y="397"/>
                </a:cubicBezTo>
                <a:cubicBezTo>
                  <a:pt x="162" y="404"/>
                  <a:pt x="171" y="406"/>
                  <a:pt x="177" y="403"/>
                </a:cubicBezTo>
                <a:cubicBezTo>
                  <a:pt x="214" y="382"/>
                  <a:pt x="276" y="394"/>
                  <a:pt x="293" y="402"/>
                </a:cubicBezTo>
                <a:cubicBezTo>
                  <a:pt x="298" y="405"/>
                  <a:pt x="306" y="416"/>
                  <a:pt x="306" y="421"/>
                </a:cubicBezTo>
                <a:cubicBezTo>
                  <a:pt x="306" y="421"/>
                  <a:pt x="306" y="421"/>
                  <a:pt x="306" y="421"/>
                </a:cubicBezTo>
                <a:cubicBezTo>
                  <a:pt x="306" y="421"/>
                  <a:pt x="306" y="421"/>
                  <a:pt x="306" y="421"/>
                </a:cubicBezTo>
                <a:cubicBezTo>
                  <a:pt x="298" y="427"/>
                  <a:pt x="278" y="436"/>
                  <a:pt x="231" y="436"/>
                </a:cubicBezTo>
                <a:cubicBezTo>
                  <a:pt x="160" y="435"/>
                  <a:pt x="99" y="394"/>
                  <a:pt x="70" y="354"/>
                </a:cubicBezTo>
                <a:cubicBezTo>
                  <a:pt x="53" y="330"/>
                  <a:pt x="41" y="304"/>
                  <a:pt x="36" y="281"/>
                </a:cubicBezTo>
                <a:cubicBezTo>
                  <a:pt x="33" y="262"/>
                  <a:pt x="31" y="246"/>
                  <a:pt x="31" y="234"/>
                </a:cubicBezTo>
                <a:cubicBezTo>
                  <a:pt x="31" y="222"/>
                  <a:pt x="32" y="214"/>
                  <a:pt x="33" y="208"/>
                </a:cubicBezTo>
                <a:cubicBezTo>
                  <a:pt x="35" y="209"/>
                  <a:pt x="36" y="210"/>
                  <a:pt x="37" y="212"/>
                </a:cubicBezTo>
                <a:cubicBezTo>
                  <a:pt x="47" y="227"/>
                  <a:pt x="49" y="244"/>
                  <a:pt x="50" y="256"/>
                </a:cubicBezTo>
                <a:cubicBezTo>
                  <a:pt x="51" y="272"/>
                  <a:pt x="63" y="303"/>
                  <a:pt x="84" y="305"/>
                </a:cubicBezTo>
                <a:cubicBezTo>
                  <a:pt x="96" y="306"/>
                  <a:pt x="110" y="299"/>
                  <a:pt x="132" y="287"/>
                </a:cubicBezTo>
                <a:cubicBezTo>
                  <a:pt x="140" y="283"/>
                  <a:pt x="150" y="277"/>
                  <a:pt x="154" y="277"/>
                </a:cubicBezTo>
                <a:cubicBezTo>
                  <a:pt x="165" y="274"/>
                  <a:pt x="180" y="272"/>
                  <a:pt x="186" y="277"/>
                </a:cubicBezTo>
                <a:cubicBezTo>
                  <a:pt x="192" y="283"/>
                  <a:pt x="193" y="285"/>
                  <a:pt x="196" y="289"/>
                </a:cubicBezTo>
                <a:cubicBezTo>
                  <a:pt x="200" y="297"/>
                  <a:pt x="200" y="297"/>
                  <a:pt x="200" y="297"/>
                </a:cubicBezTo>
                <a:cubicBezTo>
                  <a:pt x="201" y="298"/>
                  <a:pt x="202" y="302"/>
                  <a:pt x="202" y="305"/>
                </a:cubicBezTo>
                <a:cubicBezTo>
                  <a:pt x="203" y="309"/>
                  <a:pt x="204" y="313"/>
                  <a:pt x="206" y="317"/>
                </a:cubicBezTo>
                <a:cubicBezTo>
                  <a:pt x="213" y="334"/>
                  <a:pt x="234" y="333"/>
                  <a:pt x="246" y="332"/>
                </a:cubicBezTo>
                <a:cubicBezTo>
                  <a:pt x="246" y="332"/>
                  <a:pt x="249" y="332"/>
                  <a:pt x="250" y="332"/>
                </a:cubicBezTo>
                <a:cubicBezTo>
                  <a:pt x="250" y="332"/>
                  <a:pt x="250" y="332"/>
                  <a:pt x="250" y="332"/>
                </a:cubicBezTo>
                <a:cubicBezTo>
                  <a:pt x="253" y="333"/>
                  <a:pt x="256" y="336"/>
                  <a:pt x="261" y="338"/>
                </a:cubicBezTo>
                <a:cubicBezTo>
                  <a:pt x="278" y="346"/>
                  <a:pt x="290" y="325"/>
                  <a:pt x="295" y="317"/>
                </a:cubicBezTo>
                <a:cubicBezTo>
                  <a:pt x="302" y="305"/>
                  <a:pt x="308" y="290"/>
                  <a:pt x="315" y="276"/>
                </a:cubicBezTo>
                <a:cubicBezTo>
                  <a:pt x="319" y="267"/>
                  <a:pt x="323" y="258"/>
                  <a:pt x="327" y="251"/>
                </a:cubicBezTo>
                <a:cubicBezTo>
                  <a:pt x="358" y="192"/>
                  <a:pt x="336" y="168"/>
                  <a:pt x="309" y="138"/>
                </a:cubicBezTo>
                <a:cubicBezTo>
                  <a:pt x="305" y="133"/>
                  <a:pt x="305" y="133"/>
                  <a:pt x="305" y="133"/>
                </a:cubicBezTo>
                <a:cubicBezTo>
                  <a:pt x="300" y="127"/>
                  <a:pt x="296" y="119"/>
                  <a:pt x="292" y="106"/>
                </a:cubicBezTo>
                <a:cubicBezTo>
                  <a:pt x="291" y="103"/>
                  <a:pt x="291" y="99"/>
                  <a:pt x="290" y="95"/>
                </a:cubicBezTo>
                <a:cubicBezTo>
                  <a:pt x="288" y="88"/>
                  <a:pt x="287" y="80"/>
                  <a:pt x="283" y="73"/>
                </a:cubicBezTo>
                <a:cubicBezTo>
                  <a:pt x="278" y="62"/>
                  <a:pt x="268" y="57"/>
                  <a:pt x="257" y="58"/>
                </a:cubicBezTo>
                <a:cubicBezTo>
                  <a:pt x="240" y="59"/>
                  <a:pt x="232" y="79"/>
                  <a:pt x="227" y="93"/>
                </a:cubicBezTo>
                <a:cubicBezTo>
                  <a:pt x="224" y="102"/>
                  <a:pt x="222" y="111"/>
                  <a:pt x="221" y="118"/>
                </a:cubicBezTo>
                <a:cubicBezTo>
                  <a:pt x="218" y="116"/>
                  <a:pt x="215" y="115"/>
                  <a:pt x="213" y="114"/>
                </a:cubicBezTo>
                <a:cubicBezTo>
                  <a:pt x="211" y="111"/>
                  <a:pt x="209" y="102"/>
                  <a:pt x="208" y="98"/>
                </a:cubicBezTo>
                <a:cubicBezTo>
                  <a:pt x="206" y="89"/>
                  <a:pt x="204" y="82"/>
                  <a:pt x="197" y="78"/>
                </a:cubicBezTo>
                <a:cubicBezTo>
                  <a:pt x="190" y="75"/>
                  <a:pt x="164" y="68"/>
                  <a:pt x="147" y="82"/>
                </a:cubicBezTo>
                <a:cubicBezTo>
                  <a:pt x="142" y="86"/>
                  <a:pt x="139" y="92"/>
                  <a:pt x="136" y="97"/>
                </a:cubicBezTo>
                <a:cubicBezTo>
                  <a:pt x="131" y="104"/>
                  <a:pt x="128" y="108"/>
                  <a:pt x="124" y="109"/>
                </a:cubicBezTo>
                <a:cubicBezTo>
                  <a:pt x="111" y="112"/>
                  <a:pt x="102" y="124"/>
                  <a:pt x="94" y="136"/>
                </a:cubicBezTo>
                <a:cubicBezTo>
                  <a:pt x="90" y="142"/>
                  <a:pt x="85" y="148"/>
                  <a:pt x="81" y="152"/>
                </a:cubicBezTo>
                <a:cubicBezTo>
                  <a:pt x="77" y="153"/>
                  <a:pt x="68" y="155"/>
                  <a:pt x="64" y="152"/>
                </a:cubicBezTo>
                <a:cubicBezTo>
                  <a:pt x="59" y="147"/>
                  <a:pt x="57" y="144"/>
                  <a:pt x="56" y="141"/>
                </a:cubicBezTo>
                <a:cubicBezTo>
                  <a:pt x="98" y="65"/>
                  <a:pt x="175" y="46"/>
                  <a:pt x="176" y="46"/>
                </a:cubicBezTo>
                <a:cubicBezTo>
                  <a:pt x="176" y="45"/>
                  <a:pt x="177" y="45"/>
                  <a:pt x="177" y="45"/>
                </a:cubicBezTo>
                <a:cubicBezTo>
                  <a:pt x="178" y="45"/>
                  <a:pt x="223" y="28"/>
                  <a:pt x="288" y="44"/>
                </a:cubicBezTo>
                <a:cubicBezTo>
                  <a:pt x="312" y="50"/>
                  <a:pt x="371" y="71"/>
                  <a:pt x="410" y="136"/>
                </a:cubicBezTo>
                <a:cubicBezTo>
                  <a:pt x="424" y="161"/>
                  <a:pt x="433" y="190"/>
                  <a:pt x="435" y="207"/>
                </a:cubicBezTo>
                <a:cubicBezTo>
                  <a:pt x="437" y="220"/>
                  <a:pt x="437" y="231"/>
                  <a:pt x="437" y="240"/>
                </a:cubicBezTo>
                <a:cubicBezTo>
                  <a:pt x="437" y="243"/>
                  <a:pt x="437" y="245"/>
                  <a:pt x="437" y="247"/>
                </a:cubicBezTo>
                <a:cubicBezTo>
                  <a:pt x="432" y="247"/>
                  <a:pt x="425" y="245"/>
                  <a:pt x="421" y="243"/>
                </a:cubicBezTo>
                <a:cubicBezTo>
                  <a:pt x="421" y="243"/>
                  <a:pt x="421" y="242"/>
                  <a:pt x="421" y="242"/>
                </a:cubicBezTo>
                <a:cubicBezTo>
                  <a:pt x="421" y="230"/>
                  <a:pt x="414" y="219"/>
                  <a:pt x="402" y="214"/>
                </a:cubicBezTo>
                <a:cubicBezTo>
                  <a:pt x="387" y="209"/>
                  <a:pt x="365" y="212"/>
                  <a:pt x="355" y="228"/>
                </a:cubicBezTo>
                <a:cubicBezTo>
                  <a:pt x="351" y="234"/>
                  <a:pt x="350" y="240"/>
                  <a:pt x="350" y="245"/>
                </a:cubicBezTo>
                <a:cubicBezTo>
                  <a:pt x="350" y="250"/>
                  <a:pt x="351" y="255"/>
                  <a:pt x="353" y="260"/>
                </a:cubicBezTo>
                <a:cubicBezTo>
                  <a:pt x="346" y="264"/>
                  <a:pt x="339" y="271"/>
                  <a:pt x="334" y="277"/>
                </a:cubicBezTo>
                <a:cubicBezTo>
                  <a:pt x="329" y="283"/>
                  <a:pt x="316" y="301"/>
                  <a:pt x="316" y="318"/>
                </a:cubicBezTo>
                <a:cubicBezTo>
                  <a:pt x="316" y="322"/>
                  <a:pt x="316" y="326"/>
                  <a:pt x="318" y="329"/>
                </a:cubicBezTo>
                <a:cubicBezTo>
                  <a:pt x="322" y="339"/>
                  <a:pt x="332" y="346"/>
                  <a:pt x="344" y="348"/>
                </a:cubicBezTo>
                <a:cubicBezTo>
                  <a:pt x="361" y="350"/>
                  <a:pt x="378" y="343"/>
                  <a:pt x="390" y="329"/>
                </a:cubicBezTo>
                <a:cubicBezTo>
                  <a:pt x="399" y="317"/>
                  <a:pt x="399" y="317"/>
                  <a:pt x="399" y="317"/>
                </a:cubicBezTo>
                <a:cubicBezTo>
                  <a:pt x="402" y="314"/>
                  <a:pt x="405" y="310"/>
                  <a:pt x="407" y="308"/>
                </a:cubicBezTo>
                <a:cubicBezTo>
                  <a:pt x="413" y="308"/>
                  <a:pt x="420" y="309"/>
                  <a:pt x="423" y="310"/>
                </a:cubicBezTo>
                <a:cubicBezTo>
                  <a:pt x="422" y="311"/>
                  <a:pt x="422" y="312"/>
                  <a:pt x="421" y="314"/>
                </a:cubicBezTo>
                <a:cubicBezTo>
                  <a:pt x="415" y="327"/>
                  <a:pt x="405" y="346"/>
                  <a:pt x="395" y="358"/>
                </a:cubicBezTo>
                <a:cubicBezTo>
                  <a:pt x="381" y="376"/>
                  <a:pt x="361" y="392"/>
                  <a:pt x="355" y="397"/>
                </a:cubicBezTo>
                <a:cubicBezTo>
                  <a:pt x="352" y="400"/>
                  <a:pt x="350" y="404"/>
                  <a:pt x="350" y="408"/>
                </a:cubicBezTo>
                <a:cubicBezTo>
                  <a:pt x="350" y="411"/>
                  <a:pt x="351" y="413"/>
                  <a:pt x="353" y="416"/>
                </a:cubicBezTo>
                <a:cubicBezTo>
                  <a:pt x="357" y="422"/>
                  <a:pt x="366" y="423"/>
                  <a:pt x="372" y="418"/>
                </a:cubicBezTo>
                <a:cubicBezTo>
                  <a:pt x="384" y="408"/>
                  <a:pt x="402" y="393"/>
                  <a:pt x="416" y="375"/>
                </a:cubicBezTo>
                <a:cubicBezTo>
                  <a:pt x="430" y="357"/>
                  <a:pt x="442" y="332"/>
                  <a:pt x="446" y="325"/>
                </a:cubicBezTo>
                <a:cubicBezTo>
                  <a:pt x="453" y="311"/>
                  <a:pt x="450" y="301"/>
                  <a:pt x="446" y="296"/>
                </a:cubicBezTo>
                <a:cubicBezTo>
                  <a:pt x="437" y="281"/>
                  <a:pt x="417" y="281"/>
                  <a:pt x="406" y="281"/>
                </a:cubicBezTo>
                <a:cubicBezTo>
                  <a:pt x="405" y="281"/>
                  <a:pt x="405" y="281"/>
                  <a:pt x="405" y="281"/>
                </a:cubicBezTo>
                <a:cubicBezTo>
                  <a:pt x="393" y="281"/>
                  <a:pt x="387" y="290"/>
                  <a:pt x="378" y="301"/>
                </a:cubicBezTo>
                <a:cubicBezTo>
                  <a:pt x="369" y="312"/>
                  <a:pt x="369" y="312"/>
                  <a:pt x="369" y="312"/>
                </a:cubicBezTo>
                <a:cubicBezTo>
                  <a:pt x="363" y="319"/>
                  <a:pt x="354" y="322"/>
                  <a:pt x="348" y="321"/>
                </a:cubicBezTo>
                <a:cubicBezTo>
                  <a:pt x="347" y="320"/>
                  <a:pt x="344" y="320"/>
                  <a:pt x="343" y="318"/>
                </a:cubicBezTo>
                <a:cubicBezTo>
                  <a:pt x="343" y="318"/>
                  <a:pt x="343" y="318"/>
                  <a:pt x="343" y="318"/>
                </a:cubicBezTo>
                <a:cubicBezTo>
                  <a:pt x="343" y="309"/>
                  <a:pt x="360" y="285"/>
                  <a:pt x="368" y="282"/>
                </a:cubicBezTo>
                <a:cubicBezTo>
                  <a:pt x="373" y="283"/>
                  <a:pt x="378" y="281"/>
                  <a:pt x="381" y="277"/>
                </a:cubicBezTo>
                <a:cubicBezTo>
                  <a:pt x="387" y="270"/>
                  <a:pt x="383" y="262"/>
                  <a:pt x="381" y="257"/>
                </a:cubicBezTo>
                <a:cubicBezTo>
                  <a:pt x="379" y="253"/>
                  <a:pt x="376" y="246"/>
                  <a:pt x="378" y="243"/>
                </a:cubicBezTo>
                <a:cubicBezTo>
                  <a:pt x="380" y="239"/>
                  <a:pt x="387" y="238"/>
                  <a:pt x="392" y="240"/>
                </a:cubicBezTo>
                <a:cubicBezTo>
                  <a:pt x="394" y="241"/>
                  <a:pt x="394" y="241"/>
                  <a:pt x="394" y="243"/>
                </a:cubicBezTo>
                <a:cubicBezTo>
                  <a:pt x="393" y="250"/>
                  <a:pt x="396" y="258"/>
                  <a:pt x="402" y="263"/>
                </a:cubicBezTo>
                <a:cubicBezTo>
                  <a:pt x="414" y="272"/>
                  <a:pt x="440" y="277"/>
                  <a:pt x="453" y="273"/>
                </a:cubicBezTo>
                <a:cubicBezTo>
                  <a:pt x="459" y="270"/>
                  <a:pt x="463" y="265"/>
                  <a:pt x="463" y="259"/>
                </a:cubicBezTo>
                <a:cubicBezTo>
                  <a:pt x="464" y="251"/>
                  <a:pt x="465" y="230"/>
                  <a:pt x="462" y="203"/>
                </a:cubicBezTo>
                <a:cubicBezTo>
                  <a:pt x="459" y="183"/>
                  <a:pt x="450" y="150"/>
                  <a:pt x="433" y="123"/>
                </a:cubicBezTo>
                <a:cubicBezTo>
                  <a:pt x="389" y="48"/>
                  <a:pt x="322" y="24"/>
                  <a:pt x="295" y="18"/>
                </a:cubicBezTo>
                <a:cubicBezTo>
                  <a:pt x="225" y="0"/>
                  <a:pt x="176" y="17"/>
                  <a:pt x="168" y="19"/>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8" name="Freeform 397"/>
          <p:cNvSpPr>
            <a:spLocks noEditPoints="1"/>
          </p:cNvSpPr>
          <p:nvPr userDrawn="1"/>
        </p:nvSpPr>
        <p:spPr bwMode="auto">
          <a:xfrm>
            <a:off x="6963790" y="4400041"/>
            <a:ext cx="384175" cy="522288"/>
          </a:xfrm>
          <a:custGeom>
            <a:avLst/>
            <a:gdLst/>
            <a:ahLst/>
            <a:cxnLst>
              <a:cxn ang="0">
                <a:pos x="58" y="26"/>
              </a:cxn>
              <a:cxn ang="0">
                <a:pos x="35" y="72"/>
              </a:cxn>
              <a:cxn ang="0">
                <a:pos x="39" y="96"/>
              </a:cxn>
              <a:cxn ang="0">
                <a:pos x="130" y="182"/>
              </a:cxn>
              <a:cxn ang="0">
                <a:pos x="15" y="202"/>
              </a:cxn>
              <a:cxn ang="0">
                <a:pos x="4" y="205"/>
              </a:cxn>
              <a:cxn ang="0">
                <a:pos x="0" y="215"/>
              </a:cxn>
              <a:cxn ang="0">
                <a:pos x="0" y="379"/>
              </a:cxn>
              <a:cxn ang="0">
                <a:pos x="8" y="392"/>
              </a:cxn>
              <a:cxn ang="0">
                <a:pos x="170" y="461"/>
              </a:cxn>
              <a:cxn ang="0">
                <a:pos x="183" y="460"/>
              </a:cxn>
              <a:cxn ang="0">
                <a:pos x="189" y="449"/>
              </a:cxn>
              <a:cxn ang="0">
                <a:pos x="189" y="286"/>
              </a:cxn>
              <a:cxn ang="0">
                <a:pos x="175" y="273"/>
              </a:cxn>
              <a:cxn ang="0">
                <a:pos x="162" y="286"/>
              </a:cxn>
              <a:cxn ang="0">
                <a:pos x="162" y="428"/>
              </a:cxn>
              <a:cxn ang="0">
                <a:pos x="27" y="371"/>
              </a:cxn>
              <a:cxn ang="0">
                <a:pos x="27" y="228"/>
              </a:cxn>
              <a:cxn ang="0">
                <a:pos x="163" y="201"/>
              </a:cxn>
              <a:cxn ang="0">
                <a:pos x="171" y="199"/>
              </a:cxn>
              <a:cxn ang="0">
                <a:pos x="312" y="220"/>
              </a:cxn>
              <a:cxn ang="0">
                <a:pos x="312" y="358"/>
              </a:cxn>
              <a:cxn ang="0">
                <a:pos x="218" y="413"/>
              </a:cxn>
              <a:cxn ang="0">
                <a:pos x="211" y="424"/>
              </a:cxn>
              <a:cxn ang="0">
                <a:pos x="213" y="431"/>
              </a:cxn>
              <a:cxn ang="0">
                <a:pos x="231" y="436"/>
              </a:cxn>
              <a:cxn ang="0">
                <a:pos x="332" y="378"/>
              </a:cxn>
              <a:cxn ang="0">
                <a:pos x="339" y="366"/>
              </a:cxn>
              <a:cxn ang="0">
                <a:pos x="339" y="206"/>
              </a:cxn>
              <a:cxn ang="0">
                <a:pos x="335" y="197"/>
              </a:cxn>
              <a:cxn ang="0">
                <a:pos x="325" y="193"/>
              </a:cxn>
              <a:cxn ang="0">
                <a:pos x="216" y="184"/>
              </a:cxn>
              <a:cxn ang="0">
                <a:pos x="304" y="121"/>
              </a:cxn>
              <a:cxn ang="0">
                <a:pos x="307" y="107"/>
              </a:cxn>
              <a:cxn ang="0">
                <a:pos x="285" y="69"/>
              </a:cxn>
              <a:cxn ang="0">
                <a:pos x="225" y="56"/>
              </a:cxn>
              <a:cxn ang="0">
                <a:pos x="187" y="103"/>
              </a:cxn>
              <a:cxn ang="0">
                <a:pos x="131" y="9"/>
              </a:cxn>
              <a:cxn ang="0">
                <a:pos x="58" y="26"/>
              </a:cxn>
              <a:cxn ang="0">
                <a:pos x="64" y="87"/>
              </a:cxn>
              <a:cxn ang="0">
                <a:pos x="61" y="72"/>
              </a:cxn>
              <a:cxn ang="0">
                <a:pos x="74" y="47"/>
              </a:cxn>
              <a:cxn ang="0">
                <a:pos x="120" y="34"/>
              </a:cxn>
              <a:cxn ang="0">
                <a:pos x="170" y="170"/>
              </a:cxn>
              <a:cxn ang="0">
                <a:pos x="64" y="87"/>
              </a:cxn>
              <a:cxn ang="0">
                <a:pos x="236" y="81"/>
              </a:cxn>
              <a:cxn ang="0">
                <a:pos x="268" y="90"/>
              </a:cxn>
              <a:cxn ang="0">
                <a:pos x="281" y="107"/>
              </a:cxn>
              <a:cxn ang="0">
                <a:pos x="280" y="112"/>
              </a:cxn>
              <a:cxn ang="0">
                <a:pos x="199" y="161"/>
              </a:cxn>
              <a:cxn ang="0">
                <a:pos x="236" y="81"/>
              </a:cxn>
            </a:cxnLst>
            <a:rect l="0" t="0" r="r" b="b"/>
            <a:pathLst>
              <a:path w="339" h="463">
                <a:moveTo>
                  <a:pt x="58" y="26"/>
                </a:moveTo>
                <a:cubicBezTo>
                  <a:pt x="43" y="38"/>
                  <a:pt x="35" y="54"/>
                  <a:pt x="35" y="72"/>
                </a:cubicBezTo>
                <a:cubicBezTo>
                  <a:pt x="35" y="79"/>
                  <a:pt x="36" y="88"/>
                  <a:pt x="39" y="96"/>
                </a:cubicBezTo>
                <a:cubicBezTo>
                  <a:pt x="50" y="127"/>
                  <a:pt x="82" y="159"/>
                  <a:pt x="130" y="182"/>
                </a:cubicBezTo>
                <a:cubicBezTo>
                  <a:pt x="77" y="196"/>
                  <a:pt x="29" y="203"/>
                  <a:pt x="15" y="202"/>
                </a:cubicBezTo>
                <a:cubicBezTo>
                  <a:pt x="11" y="201"/>
                  <a:pt x="7" y="203"/>
                  <a:pt x="4" y="205"/>
                </a:cubicBezTo>
                <a:cubicBezTo>
                  <a:pt x="2" y="208"/>
                  <a:pt x="0" y="211"/>
                  <a:pt x="0" y="215"/>
                </a:cubicBezTo>
                <a:cubicBezTo>
                  <a:pt x="0" y="379"/>
                  <a:pt x="0" y="379"/>
                  <a:pt x="0" y="379"/>
                </a:cubicBezTo>
                <a:cubicBezTo>
                  <a:pt x="0" y="385"/>
                  <a:pt x="3" y="390"/>
                  <a:pt x="8" y="392"/>
                </a:cubicBezTo>
                <a:cubicBezTo>
                  <a:pt x="170" y="461"/>
                  <a:pt x="170" y="461"/>
                  <a:pt x="170" y="461"/>
                </a:cubicBezTo>
                <a:cubicBezTo>
                  <a:pt x="174" y="463"/>
                  <a:pt x="179" y="462"/>
                  <a:pt x="183" y="460"/>
                </a:cubicBezTo>
                <a:cubicBezTo>
                  <a:pt x="187" y="457"/>
                  <a:pt x="189" y="453"/>
                  <a:pt x="189" y="449"/>
                </a:cubicBezTo>
                <a:cubicBezTo>
                  <a:pt x="189" y="286"/>
                  <a:pt x="189" y="286"/>
                  <a:pt x="189" y="286"/>
                </a:cubicBezTo>
                <a:cubicBezTo>
                  <a:pt x="189" y="279"/>
                  <a:pt x="183" y="273"/>
                  <a:pt x="175" y="273"/>
                </a:cubicBezTo>
                <a:cubicBezTo>
                  <a:pt x="168" y="273"/>
                  <a:pt x="162" y="279"/>
                  <a:pt x="162" y="286"/>
                </a:cubicBezTo>
                <a:cubicBezTo>
                  <a:pt x="162" y="286"/>
                  <a:pt x="162" y="397"/>
                  <a:pt x="162" y="428"/>
                </a:cubicBezTo>
                <a:cubicBezTo>
                  <a:pt x="135" y="417"/>
                  <a:pt x="40" y="376"/>
                  <a:pt x="27" y="371"/>
                </a:cubicBezTo>
                <a:cubicBezTo>
                  <a:pt x="27" y="356"/>
                  <a:pt x="27" y="249"/>
                  <a:pt x="27" y="228"/>
                </a:cubicBezTo>
                <a:cubicBezTo>
                  <a:pt x="57" y="227"/>
                  <a:pt x="113" y="216"/>
                  <a:pt x="163" y="201"/>
                </a:cubicBezTo>
                <a:cubicBezTo>
                  <a:pt x="166" y="200"/>
                  <a:pt x="168" y="200"/>
                  <a:pt x="171" y="199"/>
                </a:cubicBezTo>
                <a:cubicBezTo>
                  <a:pt x="211" y="212"/>
                  <a:pt x="258" y="220"/>
                  <a:pt x="312" y="220"/>
                </a:cubicBezTo>
                <a:cubicBezTo>
                  <a:pt x="312" y="241"/>
                  <a:pt x="312" y="346"/>
                  <a:pt x="312" y="358"/>
                </a:cubicBezTo>
                <a:cubicBezTo>
                  <a:pt x="300" y="365"/>
                  <a:pt x="218" y="413"/>
                  <a:pt x="218" y="413"/>
                </a:cubicBezTo>
                <a:cubicBezTo>
                  <a:pt x="214" y="415"/>
                  <a:pt x="211" y="420"/>
                  <a:pt x="211" y="424"/>
                </a:cubicBezTo>
                <a:cubicBezTo>
                  <a:pt x="211" y="426"/>
                  <a:pt x="212" y="429"/>
                  <a:pt x="213" y="431"/>
                </a:cubicBezTo>
                <a:cubicBezTo>
                  <a:pt x="217" y="437"/>
                  <a:pt x="225" y="439"/>
                  <a:pt x="231" y="436"/>
                </a:cubicBezTo>
                <a:cubicBezTo>
                  <a:pt x="332" y="378"/>
                  <a:pt x="332" y="378"/>
                  <a:pt x="332" y="378"/>
                </a:cubicBezTo>
                <a:cubicBezTo>
                  <a:pt x="336" y="375"/>
                  <a:pt x="339" y="371"/>
                  <a:pt x="339" y="366"/>
                </a:cubicBezTo>
                <a:cubicBezTo>
                  <a:pt x="339" y="206"/>
                  <a:pt x="339" y="206"/>
                  <a:pt x="339" y="206"/>
                </a:cubicBezTo>
                <a:cubicBezTo>
                  <a:pt x="339" y="203"/>
                  <a:pt x="337" y="199"/>
                  <a:pt x="335" y="197"/>
                </a:cubicBezTo>
                <a:cubicBezTo>
                  <a:pt x="332" y="194"/>
                  <a:pt x="328" y="193"/>
                  <a:pt x="325" y="193"/>
                </a:cubicBezTo>
                <a:cubicBezTo>
                  <a:pt x="284" y="194"/>
                  <a:pt x="247" y="191"/>
                  <a:pt x="216" y="184"/>
                </a:cubicBezTo>
                <a:cubicBezTo>
                  <a:pt x="266" y="164"/>
                  <a:pt x="296" y="143"/>
                  <a:pt x="304" y="121"/>
                </a:cubicBezTo>
                <a:cubicBezTo>
                  <a:pt x="306" y="118"/>
                  <a:pt x="307" y="113"/>
                  <a:pt x="307" y="107"/>
                </a:cubicBezTo>
                <a:cubicBezTo>
                  <a:pt x="307" y="97"/>
                  <a:pt x="302" y="83"/>
                  <a:pt x="285" y="69"/>
                </a:cubicBezTo>
                <a:cubicBezTo>
                  <a:pt x="263" y="53"/>
                  <a:pt x="243" y="48"/>
                  <a:pt x="225" y="56"/>
                </a:cubicBezTo>
                <a:cubicBezTo>
                  <a:pt x="207" y="64"/>
                  <a:pt x="195" y="83"/>
                  <a:pt x="187" y="103"/>
                </a:cubicBezTo>
                <a:cubicBezTo>
                  <a:pt x="177" y="63"/>
                  <a:pt x="161" y="22"/>
                  <a:pt x="131" y="9"/>
                </a:cubicBezTo>
                <a:cubicBezTo>
                  <a:pt x="109" y="0"/>
                  <a:pt x="85" y="5"/>
                  <a:pt x="58" y="26"/>
                </a:cubicBezTo>
                <a:close/>
                <a:moveTo>
                  <a:pt x="64" y="87"/>
                </a:moveTo>
                <a:cubicBezTo>
                  <a:pt x="62" y="81"/>
                  <a:pt x="61" y="76"/>
                  <a:pt x="61" y="72"/>
                </a:cubicBezTo>
                <a:cubicBezTo>
                  <a:pt x="61" y="62"/>
                  <a:pt x="66" y="53"/>
                  <a:pt x="74" y="47"/>
                </a:cubicBezTo>
                <a:cubicBezTo>
                  <a:pt x="93" y="33"/>
                  <a:pt x="108" y="28"/>
                  <a:pt x="120" y="34"/>
                </a:cubicBezTo>
                <a:cubicBezTo>
                  <a:pt x="144" y="45"/>
                  <a:pt x="163" y="97"/>
                  <a:pt x="170" y="170"/>
                </a:cubicBezTo>
                <a:cubicBezTo>
                  <a:pt x="111" y="148"/>
                  <a:pt x="74" y="115"/>
                  <a:pt x="64" y="87"/>
                </a:cubicBezTo>
                <a:close/>
                <a:moveTo>
                  <a:pt x="236" y="81"/>
                </a:moveTo>
                <a:cubicBezTo>
                  <a:pt x="244" y="77"/>
                  <a:pt x="255" y="80"/>
                  <a:pt x="268" y="90"/>
                </a:cubicBezTo>
                <a:cubicBezTo>
                  <a:pt x="278" y="98"/>
                  <a:pt x="281" y="104"/>
                  <a:pt x="281" y="107"/>
                </a:cubicBezTo>
                <a:cubicBezTo>
                  <a:pt x="281" y="109"/>
                  <a:pt x="280" y="111"/>
                  <a:pt x="280" y="112"/>
                </a:cubicBezTo>
                <a:cubicBezTo>
                  <a:pt x="275" y="124"/>
                  <a:pt x="251" y="142"/>
                  <a:pt x="199" y="161"/>
                </a:cubicBezTo>
                <a:cubicBezTo>
                  <a:pt x="204" y="130"/>
                  <a:pt x="216" y="89"/>
                  <a:pt x="236" y="8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79" name="Freeform 449"/>
          <p:cNvSpPr>
            <a:spLocks/>
          </p:cNvSpPr>
          <p:nvPr userDrawn="1"/>
        </p:nvSpPr>
        <p:spPr bwMode="auto">
          <a:xfrm>
            <a:off x="7020938" y="2386231"/>
            <a:ext cx="269876" cy="511175"/>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80" name="Freeform 469"/>
          <p:cNvSpPr>
            <a:spLocks/>
          </p:cNvSpPr>
          <p:nvPr userDrawn="1"/>
        </p:nvSpPr>
        <p:spPr bwMode="auto">
          <a:xfrm>
            <a:off x="6898701" y="1839820"/>
            <a:ext cx="514350" cy="328613"/>
          </a:xfrm>
          <a:custGeom>
            <a:avLst/>
            <a:gdLst/>
            <a:ahLst/>
            <a:cxnLst>
              <a:cxn ang="0">
                <a:pos x="210" y="6"/>
              </a:cxn>
              <a:cxn ang="0">
                <a:pos x="198" y="20"/>
              </a:cxn>
              <a:cxn ang="0">
                <a:pos x="212" y="32"/>
              </a:cxn>
              <a:cxn ang="0">
                <a:pos x="372" y="100"/>
              </a:cxn>
              <a:cxn ang="0">
                <a:pos x="421" y="165"/>
              </a:cxn>
              <a:cxn ang="0">
                <a:pos x="337" y="212"/>
              </a:cxn>
              <a:cxn ang="0">
                <a:pos x="222" y="258"/>
              </a:cxn>
              <a:cxn ang="0">
                <a:pos x="66" y="217"/>
              </a:cxn>
              <a:cxn ang="0">
                <a:pos x="29" y="173"/>
              </a:cxn>
              <a:cxn ang="0">
                <a:pos x="141" y="103"/>
              </a:cxn>
              <a:cxn ang="0">
                <a:pos x="129" y="149"/>
              </a:cxn>
              <a:cxn ang="0">
                <a:pos x="217" y="237"/>
              </a:cxn>
              <a:cxn ang="0">
                <a:pos x="306" y="149"/>
              </a:cxn>
              <a:cxn ang="0">
                <a:pos x="241" y="63"/>
              </a:cxn>
              <a:cxn ang="0">
                <a:pos x="225" y="73"/>
              </a:cxn>
              <a:cxn ang="0">
                <a:pos x="234" y="89"/>
              </a:cxn>
              <a:cxn ang="0">
                <a:pos x="279" y="149"/>
              </a:cxn>
              <a:cxn ang="0">
                <a:pos x="217" y="210"/>
              </a:cxn>
              <a:cxn ang="0">
                <a:pos x="155" y="149"/>
              </a:cxn>
              <a:cxn ang="0">
                <a:pos x="183" y="97"/>
              </a:cxn>
              <a:cxn ang="0">
                <a:pos x="188" y="83"/>
              </a:cxn>
              <a:cxn ang="0">
                <a:pos x="175" y="73"/>
              </a:cxn>
              <a:cxn ang="0">
                <a:pos x="108" y="84"/>
              </a:cxn>
              <a:cxn ang="0">
                <a:pos x="2" y="167"/>
              </a:cxn>
              <a:cxn ang="0">
                <a:pos x="1" y="178"/>
              </a:cxn>
              <a:cxn ang="0">
                <a:pos x="48" y="237"/>
              </a:cxn>
              <a:cxn ang="0">
                <a:pos x="224" y="285"/>
              </a:cxn>
              <a:cxn ang="0">
                <a:pos x="353" y="234"/>
              </a:cxn>
              <a:cxn ang="0">
                <a:pos x="444" y="186"/>
              </a:cxn>
              <a:cxn ang="0">
                <a:pos x="453" y="178"/>
              </a:cxn>
              <a:cxn ang="0">
                <a:pos x="453" y="167"/>
              </a:cxn>
              <a:cxn ang="0">
                <a:pos x="392" y="82"/>
              </a:cxn>
              <a:cxn ang="0">
                <a:pos x="210" y="6"/>
              </a:cxn>
            </a:cxnLst>
            <a:rect l="0" t="0" r="r" b="b"/>
            <a:pathLst>
              <a:path w="455" h="291">
                <a:moveTo>
                  <a:pt x="210" y="6"/>
                </a:moveTo>
                <a:cubicBezTo>
                  <a:pt x="202" y="7"/>
                  <a:pt x="197" y="13"/>
                  <a:pt x="198" y="20"/>
                </a:cubicBezTo>
                <a:cubicBezTo>
                  <a:pt x="198" y="28"/>
                  <a:pt x="205" y="33"/>
                  <a:pt x="212" y="32"/>
                </a:cubicBezTo>
                <a:cubicBezTo>
                  <a:pt x="270" y="27"/>
                  <a:pt x="324" y="50"/>
                  <a:pt x="372" y="100"/>
                </a:cubicBezTo>
                <a:cubicBezTo>
                  <a:pt x="396" y="124"/>
                  <a:pt x="413" y="150"/>
                  <a:pt x="421" y="165"/>
                </a:cubicBezTo>
                <a:cubicBezTo>
                  <a:pt x="383" y="178"/>
                  <a:pt x="359" y="196"/>
                  <a:pt x="337" y="212"/>
                </a:cubicBezTo>
                <a:cubicBezTo>
                  <a:pt x="308" y="235"/>
                  <a:pt x="282" y="254"/>
                  <a:pt x="222" y="258"/>
                </a:cubicBezTo>
                <a:cubicBezTo>
                  <a:pt x="158" y="263"/>
                  <a:pt x="105" y="249"/>
                  <a:pt x="66" y="217"/>
                </a:cubicBezTo>
                <a:cubicBezTo>
                  <a:pt x="45" y="200"/>
                  <a:pt x="34" y="182"/>
                  <a:pt x="29" y="173"/>
                </a:cubicBezTo>
                <a:cubicBezTo>
                  <a:pt x="56" y="126"/>
                  <a:pt x="108" y="109"/>
                  <a:pt x="141" y="103"/>
                </a:cubicBezTo>
                <a:cubicBezTo>
                  <a:pt x="133" y="117"/>
                  <a:pt x="129" y="132"/>
                  <a:pt x="129" y="149"/>
                </a:cubicBezTo>
                <a:cubicBezTo>
                  <a:pt x="129" y="197"/>
                  <a:pt x="168" y="237"/>
                  <a:pt x="217" y="237"/>
                </a:cubicBezTo>
                <a:cubicBezTo>
                  <a:pt x="266" y="237"/>
                  <a:pt x="306" y="197"/>
                  <a:pt x="306" y="149"/>
                </a:cubicBezTo>
                <a:cubicBezTo>
                  <a:pt x="306" y="109"/>
                  <a:pt x="279" y="74"/>
                  <a:pt x="241" y="63"/>
                </a:cubicBezTo>
                <a:cubicBezTo>
                  <a:pt x="234" y="61"/>
                  <a:pt x="226" y="66"/>
                  <a:pt x="225" y="73"/>
                </a:cubicBezTo>
                <a:cubicBezTo>
                  <a:pt x="223" y="80"/>
                  <a:pt x="227" y="87"/>
                  <a:pt x="234" y="89"/>
                </a:cubicBezTo>
                <a:cubicBezTo>
                  <a:pt x="260" y="97"/>
                  <a:pt x="279" y="121"/>
                  <a:pt x="279" y="149"/>
                </a:cubicBezTo>
                <a:cubicBezTo>
                  <a:pt x="279" y="183"/>
                  <a:pt x="251" y="210"/>
                  <a:pt x="217" y="210"/>
                </a:cubicBezTo>
                <a:cubicBezTo>
                  <a:pt x="183" y="210"/>
                  <a:pt x="155" y="183"/>
                  <a:pt x="155" y="149"/>
                </a:cubicBezTo>
                <a:cubicBezTo>
                  <a:pt x="155" y="128"/>
                  <a:pt x="166" y="109"/>
                  <a:pt x="183" y="97"/>
                </a:cubicBezTo>
                <a:cubicBezTo>
                  <a:pt x="188" y="94"/>
                  <a:pt x="190" y="88"/>
                  <a:pt x="188" y="83"/>
                </a:cubicBezTo>
                <a:cubicBezTo>
                  <a:pt x="186" y="77"/>
                  <a:pt x="181" y="73"/>
                  <a:pt x="175" y="73"/>
                </a:cubicBezTo>
                <a:cubicBezTo>
                  <a:pt x="174" y="73"/>
                  <a:pt x="144" y="73"/>
                  <a:pt x="108" y="84"/>
                </a:cubicBezTo>
                <a:cubicBezTo>
                  <a:pt x="59" y="99"/>
                  <a:pt x="22" y="127"/>
                  <a:pt x="2" y="167"/>
                </a:cubicBezTo>
                <a:cubicBezTo>
                  <a:pt x="0" y="170"/>
                  <a:pt x="0" y="174"/>
                  <a:pt x="1" y="178"/>
                </a:cubicBezTo>
                <a:cubicBezTo>
                  <a:pt x="2" y="179"/>
                  <a:pt x="14" y="209"/>
                  <a:pt x="48" y="237"/>
                </a:cubicBezTo>
                <a:cubicBezTo>
                  <a:pt x="79" y="262"/>
                  <a:pt x="134" y="291"/>
                  <a:pt x="224" y="285"/>
                </a:cubicBezTo>
                <a:cubicBezTo>
                  <a:pt x="292" y="280"/>
                  <a:pt x="322" y="258"/>
                  <a:pt x="353" y="234"/>
                </a:cubicBezTo>
                <a:cubicBezTo>
                  <a:pt x="377" y="216"/>
                  <a:pt x="401" y="198"/>
                  <a:pt x="444" y="186"/>
                </a:cubicBezTo>
                <a:cubicBezTo>
                  <a:pt x="448" y="185"/>
                  <a:pt x="451" y="182"/>
                  <a:pt x="453" y="178"/>
                </a:cubicBezTo>
                <a:cubicBezTo>
                  <a:pt x="455" y="175"/>
                  <a:pt x="455" y="171"/>
                  <a:pt x="453" y="167"/>
                </a:cubicBezTo>
                <a:cubicBezTo>
                  <a:pt x="452" y="165"/>
                  <a:pt x="432" y="123"/>
                  <a:pt x="392" y="82"/>
                </a:cubicBezTo>
                <a:cubicBezTo>
                  <a:pt x="338" y="26"/>
                  <a:pt x="275" y="0"/>
                  <a:pt x="210" y="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81" name="Freeform 477"/>
          <p:cNvSpPr>
            <a:spLocks noEditPoints="1"/>
          </p:cNvSpPr>
          <p:nvPr userDrawn="1"/>
        </p:nvSpPr>
        <p:spPr bwMode="auto">
          <a:xfrm>
            <a:off x="6893943" y="3112413"/>
            <a:ext cx="523876" cy="271463"/>
          </a:xfrm>
          <a:custGeom>
            <a:avLst/>
            <a:gdLst/>
            <a:ahLst/>
            <a:cxnLst>
              <a:cxn ang="0">
                <a:pos x="31" y="177"/>
              </a:cxn>
              <a:cxn ang="0">
                <a:pos x="0" y="134"/>
              </a:cxn>
              <a:cxn ang="0">
                <a:pos x="32" y="91"/>
              </a:cxn>
              <a:cxn ang="0">
                <a:pos x="45" y="31"/>
              </a:cxn>
              <a:cxn ang="0">
                <a:pos x="120" y="43"/>
              </a:cxn>
              <a:cxn ang="0">
                <a:pos x="121" y="50"/>
              </a:cxn>
              <a:cxn ang="0">
                <a:pos x="148" y="61"/>
              </a:cxn>
              <a:cxn ang="0">
                <a:pos x="158" y="44"/>
              </a:cxn>
              <a:cxn ang="0">
                <a:pos x="193" y="31"/>
              </a:cxn>
              <a:cxn ang="0">
                <a:pos x="182" y="58"/>
              </a:cxn>
              <a:cxn ang="0">
                <a:pos x="140" y="89"/>
              </a:cxn>
              <a:cxn ang="0">
                <a:pos x="100" y="67"/>
              </a:cxn>
              <a:cxn ang="0">
                <a:pos x="58" y="101"/>
              </a:cxn>
              <a:cxn ang="0">
                <a:pos x="44" y="115"/>
              </a:cxn>
              <a:cxn ang="0">
                <a:pos x="27" y="134"/>
              </a:cxn>
              <a:cxn ang="0">
                <a:pos x="45" y="153"/>
              </a:cxn>
              <a:cxn ang="0">
                <a:pos x="46" y="153"/>
              </a:cxn>
              <a:cxn ang="0">
                <a:pos x="96" y="213"/>
              </a:cxn>
              <a:cxn ang="0">
                <a:pos x="139" y="181"/>
              </a:cxn>
              <a:cxn ang="0">
                <a:pos x="178" y="204"/>
              </a:cxn>
              <a:cxn ang="0">
                <a:pos x="219" y="166"/>
              </a:cxn>
              <a:cxn ang="0">
                <a:pos x="247" y="144"/>
              </a:cxn>
              <a:cxn ang="0">
                <a:pos x="250" y="134"/>
              </a:cxn>
              <a:cxn ang="0">
                <a:pos x="242" y="119"/>
              </a:cxn>
              <a:cxn ang="0">
                <a:pos x="219" y="44"/>
              </a:cxn>
              <a:cxn ang="0">
                <a:pos x="287" y="19"/>
              </a:cxn>
              <a:cxn ang="0">
                <a:pos x="325" y="0"/>
              </a:cxn>
              <a:cxn ang="0">
                <a:pos x="367" y="31"/>
              </a:cxn>
              <a:cxn ang="0">
                <a:pos x="431" y="91"/>
              </a:cxn>
              <a:cxn ang="0">
                <a:pos x="463" y="134"/>
              </a:cxn>
              <a:cxn ang="0">
                <a:pos x="439" y="173"/>
              </a:cxn>
              <a:cxn ang="0">
                <a:pos x="427" y="235"/>
              </a:cxn>
              <a:cxn ang="0">
                <a:pos x="343" y="227"/>
              </a:cxn>
              <a:cxn ang="0">
                <a:pos x="325" y="208"/>
              </a:cxn>
              <a:cxn ang="0">
                <a:pos x="323" y="208"/>
              </a:cxn>
              <a:cxn ang="0">
                <a:pos x="306" y="227"/>
              </a:cxn>
              <a:cxn ang="0">
                <a:pos x="257" y="226"/>
              </a:cxn>
              <a:cxn ang="0">
                <a:pos x="288" y="200"/>
              </a:cxn>
              <a:cxn ang="0">
                <a:pos x="324" y="181"/>
              </a:cxn>
              <a:cxn ang="0">
                <a:pos x="325" y="181"/>
              </a:cxn>
              <a:cxn ang="0">
                <a:pos x="367" y="212"/>
              </a:cxn>
              <a:cxn ang="0">
                <a:pos x="417" y="153"/>
              </a:cxn>
              <a:cxn ang="0">
                <a:pos x="423" y="152"/>
              </a:cxn>
              <a:cxn ang="0">
                <a:pos x="434" y="125"/>
              </a:cxn>
              <a:cxn ang="0">
                <a:pos x="416" y="114"/>
              </a:cxn>
              <a:cxn ang="0">
                <a:pos x="356" y="58"/>
              </a:cxn>
              <a:cxn ang="0">
                <a:pos x="329" y="27"/>
              </a:cxn>
              <a:cxn ang="0">
                <a:pos x="318" y="27"/>
              </a:cxn>
              <a:cxn ang="0">
                <a:pos x="292" y="58"/>
              </a:cxn>
              <a:cxn ang="0">
                <a:pos x="257" y="97"/>
              </a:cxn>
              <a:cxn ang="0">
                <a:pos x="277" y="134"/>
              </a:cxn>
              <a:cxn ang="0">
                <a:pos x="245" y="177"/>
              </a:cxn>
              <a:cxn ang="0">
                <a:pos x="232" y="239"/>
              </a:cxn>
              <a:cxn ang="0">
                <a:pos x="157" y="226"/>
              </a:cxn>
              <a:cxn ang="0">
                <a:pos x="157" y="225"/>
              </a:cxn>
              <a:cxn ang="0">
                <a:pos x="139" y="207"/>
              </a:cxn>
              <a:cxn ang="0">
                <a:pos x="120" y="226"/>
              </a:cxn>
              <a:cxn ang="0">
                <a:pos x="106" y="239"/>
              </a:cxn>
              <a:cxn ang="0">
                <a:pos x="329" y="207"/>
              </a:cxn>
              <a:cxn ang="0">
                <a:pos x="335" y="202"/>
              </a:cxn>
              <a:cxn ang="0">
                <a:pos x="336" y="200"/>
              </a:cxn>
              <a:cxn ang="0">
                <a:pos x="336" y="200"/>
              </a:cxn>
            </a:cxnLst>
            <a:rect l="0" t="0" r="r" b="b"/>
            <a:pathLst>
              <a:path w="463" h="239">
                <a:moveTo>
                  <a:pt x="32" y="226"/>
                </a:moveTo>
                <a:cubicBezTo>
                  <a:pt x="32" y="177"/>
                  <a:pt x="32" y="177"/>
                  <a:pt x="32" y="177"/>
                </a:cubicBezTo>
                <a:cubicBezTo>
                  <a:pt x="32" y="177"/>
                  <a:pt x="32" y="177"/>
                  <a:pt x="31" y="177"/>
                </a:cubicBezTo>
                <a:cubicBezTo>
                  <a:pt x="24" y="174"/>
                  <a:pt x="15" y="170"/>
                  <a:pt x="8" y="160"/>
                </a:cubicBezTo>
                <a:cubicBezTo>
                  <a:pt x="4" y="153"/>
                  <a:pt x="1" y="145"/>
                  <a:pt x="0" y="135"/>
                </a:cubicBezTo>
                <a:cubicBezTo>
                  <a:pt x="0" y="134"/>
                  <a:pt x="0" y="134"/>
                  <a:pt x="0" y="134"/>
                </a:cubicBezTo>
                <a:cubicBezTo>
                  <a:pt x="1" y="124"/>
                  <a:pt x="3" y="115"/>
                  <a:pt x="8" y="108"/>
                </a:cubicBezTo>
                <a:cubicBezTo>
                  <a:pt x="12" y="102"/>
                  <a:pt x="18" y="97"/>
                  <a:pt x="23" y="94"/>
                </a:cubicBezTo>
                <a:cubicBezTo>
                  <a:pt x="26" y="93"/>
                  <a:pt x="29" y="91"/>
                  <a:pt x="32" y="91"/>
                </a:cubicBezTo>
                <a:cubicBezTo>
                  <a:pt x="32" y="44"/>
                  <a:pt x="32" y="44"/>
                  <a:pt x="32" y="44"/>
                </a:cubicBezTo>
                <a:cubicBezTo>
                  <a:pt x="32" y="41"/>
                  <a:pt x="33" y="38"/>
                  <a:pt x="36" y="35"/>
                </a:cubicBezTo>
                <a:cubicBezTo>
                  <a:pt x="38" y="33"/>
                  <a:pt x="42" y="31"/>
                  <a:pt x="45" y="31"/>
                </a:cubicBezTo>
                <a:cubicBezTo>
                  <a:pt x="106" y="31"/>
                  <a:pt x="106" y="31"/>
                  <a:pt x="106" y="31"/>
                </a:cubicBezTo>
                <a:cubicBezTo>
                  <a:pt x="113" y="31"/>
                  <a:pt x="119" y="37"/>
                  <a:pt x="119" y="43"/>
                </a:cubicBezTo>
                <a:cubicBezTo>
                  <a:pt x="120" y="43"/>
                  <a:pt x="120" y="43"/>
                  <a:pt x="120" y="43"/>
                </a:cubicBezTo>
                <a:cubicBezTo>
                  <a:pt x="120" y="43"/>
                  <a:pt x="120" y="44"/>
                  <a:pt x="120" y="44"/>
                </a:cubicBezTo>
                <a:cubicBezTo>
                  <a:pt x="120" y="44"/>
                  <a:pt x="120" y="44"/>
                  <a:pt x="120" y="45"/>
                </a:cubicBezTo>
                <a:cubicBezTo>
                  <a:pt x="120" y="46"/>
                  <a:pt x="120" y="48"/>
                  <a:pt x="121" y="50"/>
                </a:cubicBezTo>
                <a:cubicBezTo>
                  <a:pt x="123" y="54"/>
                  <a:pt x="125" y="58"/>
                  <a:pt x="128" y="60"/>
                </a:cubicBezTo>
                <a:cubicBezTo>
                  <a:pt x="131" y="62"/>
                  <a:pt x="134" y="63"/>
                  <a:pt x="139" y="63"/>
                </a:cubicBezTo>
                <a:cubicBezTo>
                  <a:pt x="143" y="63"/>
                  <a:pt x="146" y="62"/>
                  <a:pt x="148" y="61"/>
                </a:cubicBezTo>
                <a:cubicBezTo>
                  <a:pt x="151" y="59"/>
                  <a:pt x="152" y="58"/>
                  <a:pt x="154" y="56"/>
                </a:cubicBezTo>
                <a:cubicBezTo>
                  <a:pt x="156" y="52"/>
                  <a:pt x="158" y="47"/>
                  <a:pt x="158" y="45"/>
                </a:cubicBezTo>
                <a:cubicBezTo>
                  <a:pt x="158" y="44"/>
                  <a:pt x="158" y="44"/>
                  <a:pt x="158" y="44"/>
                </a:cubicBezTo>
                <a:cubicBezTo>
                  <a:pt x="158" y="37"/>
                  <a:pt x="164" y="31"/>
                  <a:pt x="171" y="31"/>
                </a:cubicBezTo>
                <a:cubicBezTo>
                  <a:pt x="193" y="31"/>
                  <a:pt x="193" y="31"/>
                  <a:pt x="193" y="31"/>
                </a:cubicBezTo>
                <a:cubicBezTo>
                  <a:pt x="193" y="31"/>
                  <a:pt x="193" y="31"/>
                  <a:pt x="193" y="31"/>
                </a:cubicBezTo>
                <a:cubicBezTo>
                  <a:pt x="200" y="31"/>
                  <a:pt x="206" y="37"/>
                  <a:pt x="206" y="45"/>
                </a:cubicBezTo>
                <a:cubicBezTo>
                  <a:pt x="206" y="52"/>
                  <a:pt x="200" y="58"/>
                  <a:pt x="193" y="58"/>
                </a:cubicBezTo>
                <a:cubicBezTo>
                  <a:pt x="182" y="58"/>
                  <a:pt x="182" y="58"/>
                  <a:pt x="182" y="58"/>
                </a:cubicBezTo>
                <a:cubicBezTo>
                  <a:pt x="182" y="58"/>
                  <a:pt x="182" y="58"/>
                  <a:pt x="182" y="59"/>
                </a:cubicBezTo>
                <a:cubicBezTo>
                  <a:pt x="179" y="66"/>
                  <a:pt x="174" y="75"/>
                  <a:pt x="164" y="82"/>
                </a:cubicBezTo>
                <a:cubicBezTo>
                  <a:pt x="158" y="86"/>
                  <a:pt x="149" y="89"/>
                  <a:pt x="140" y="89"/>
                </a:cubicBezTo>
                <a:cubicBezTo>
                  <a:pt x="139" y="89"/>
                  <a:pt x="139" y="89"/>
                  <a:pt x="139" y="89"/>
                </a:cubicBezTo>
                <a:cubicBezTo>
                  <a:pt x="129" y="89"/>
                  <a:pt x="120" y="87"/>
                  <a:pt x="114" y="82"/>
                </a:cubicBezTo>
                <a:cubicBezTo>
                  <a:pt x="107" y="78"/>
                  <a:pt x="103" y="72"/>
                  <a:pt x="100" y="67"/>
                </a:cubicBezTo>
                <a:cubicBezTo>
                  <a:pt x="98" y="64"/>
                  <a:pt x="97" y="61"/>
                  <a:pt x="96" y="58"/>
                </a:cubicBezTo>
                <a:cubicBezTo>
                  <a:pt x="58" y="58"/>
                  <a:pt x="58" y="58"/>
                  <a:pt x="58" y="58"/>
                </a:cubicBezTo>
                <a:cubicBezTo>
                  <a:pt x="58" y="101"/>
                  <a:pt x="58" y="101"/>
                  <a:pt x="58" y="101"/>
                </a:cubicBezTo>
                <a:cubicBezTo>
                  <a:pt x="58" y="108"/>
                  <a:pt x="53" y="114"/>
                  <a:pt x="46" y="115"/>
                </a:cubicBezTo>
                <a:cubicBezTo>
                  <a:pt x="46" y="115"/>
                  <a:pt x="46" y="115"/>
                  <a:pt x="46" y="115"/>
                </a:cubicBezTo>
                <a:cubicBezTo>
                  <a:pt x="45" y="115"/>
                  <a:pt x="45" y="115"/>
                  <a:pt x="44" y="115"/>
                </a:cubicBezTo>
                <a:cubicBezTo>
                  <a:pt x="43" y="115"/>
                  <a:pt x="42" y="115"/>
                  <a:pt x="40" y="116"/>
                </a:cubicBezTo>
                <a:cubicBezTo>
                  <a:pt x="36" y="117"/>
                  <a:pt x="32" y="119"/>
                  <a:pt x="30" y="123"/>
                </a:cubicBezTo>
                <a:cubicBezTo>
                  <a:pt x="28" y="125"/>
                  <a:pt x="27" y="129"/>
                  <a:pt x="27" y="134"/>
                </a:cubicBezTo>
                <a:cubicBezTo>
                  <a:pt x="27" y="139"/>
                  <a:pt x="28" y="141"/>
                  <a:pt x="29" y="144"/>
                </a:cubicBezTo>
                <a:cubicBezTo>
                  <a:pt x="30" y="146"/>
                  <a:pt x="32" y="147"/>
                  <a:pt x="34" y="149"/>
                </a:cubicBezTo>
                <a:cubicBezTo>
                  <a:pt x="38" y="151"/>
                  <a:pt x="43" y="152"/>
                  <a:pt x="45" y="153"/>
                </a:cubicBezTo>
                <a:cubicBezTo>
                  <a:pt x="45" y="153"/>
                  <a:pt x="46" y="153"/>
                  <a:pt x="46" y="153"/>
                </a:cubicBezTo>
                <a:cubicBezTo>
                  <a:pt x="46" y="153"/>
                  <a:pt x="46" y="153"/>
                  <a:pt x="46" y="153"/>
                </a:cubicBezTo>
                <a:cubicBezTo>
                  <a:pt x="46" y="153"/>
                  <a:pt x="46" y="153"/>
                  <a:pt x="46" y="153"/>
                </a:cubicBezTo>
                <a:cubicBezTo>
                  <a:pt x="53" y="153"/>
                  <a:pt x="59" y="159"/>
                  <a:pt x="59" y="166"/>
                </a:cubicBezTo>
                <a:cubicBezTo>
                  <a:pt x="59" y="213"/>
                  <a:pt x="59" y="213"/>
                  <a:pt x="59" y="213"/>
                </a:cubicBezTo>
                <a:cubicBezTo>
                  <a:pt x="96" y="213"/>
                  <a:pt x="96" y="213"/>
                  <a:pt x="96" y="213"/>
                </a:cubicBezTo>
                <a:cubicBezTo>
                  <a:pt x="96" y="212"/>
                  <a:pt x="96" y="212"/>
                  <a:pt x="96" y="211"/>
                </a:cubicBezTo>
                <a:cubicBezTo>
                  <a:pt x="99" y="204"/>
                  <a:pt x="104" y="195"/>
                  <a:pt x="114" y="188"/>
                </a:cubicBezTo>
                <a:cubicBezTo>
                  <a:pt x="120" y="184"/>
                  <a:pt x="129" y="181"/>
                  <a:pt x="139" y="181"/>
                </a:cubicBezTo>
                <a:cubicBezTo>
                  <a:pt x="140" y="181"/>
                  <a:pt x="140" y="181"/>
                  <a:pt x="140" y="181"/>
                </a:cubicBezTo>
                <a:cubicBezTo>
                  <a:pt x="149" y="181"/>
                  <a:pt x="158" y="184"/>
                  <a:pt x="165" y="189"/>
                </a:cubicBezTo>
                <a:cubicBezTo>
                  <a:pt x="171" y="193"/>
                  <a:pt x="175" y="199"/>
                  <a:pt x="178" y="204"/>
                </a:cubicBezTo>
                <a:cubicBezTo>
                  <a:pt x="180" y="207"/>
                  <a:pt x="181" y="210"/>
                  <a:pt x="182" y="213"/>
                </a:cubicBezTo>
                <a:cubicBezTo>
                  <a:pt x="219" y="213"/>
                  <a:pt x="219" y="213"/>
                  <a:pt x="219" y="213"/>
                </a:cubicBezTo>
                <a:cubicBezTo>
                  <a:pt x="219" y="166"/>
                  <a:pt x="219" y="166"/>
                  <a:pt x="219" y="166"/>
                </a:cubicBezTo>
                <a:cubicBezTo>
                  <a:pt x="219" y="159"/>
                  <a:pt x="224" y="153"/>
                  <a:pt x="231" y="153"/>
                </a:cubicBezTo>
                <a:cubicBezTo>
                  <a:pt x="236" y="152"/>
                  <a:pt x="240" y="151"/>
                  <a:pt x="242" y="150"/>
                </a:cubicBezTo>
                <a:cubicBezTo>
                  <a:pt x="245" y="148"/>
                  <a:pt x="246" y="146"/>
                  <a:pt x="247" y="144"/>
                </a:cubicBezTo>
                <a:cubicBezTo>
                  <a:pt x="250" y="140"/>
                  <a:pt x="250" y="135"/>
                  <a:pt x="250" y="134"/>
                </a:cubicBezTo>
                <a:cubicBezTo>
                  <a:pt x="250" y="134"/>
                  <a:pt x="250" y="134"/>
                  <a:pt x="250" y="134"/>
                </a:cubicBezTo>
                <a:cubicBezTo>
                  <a:pt x="250" y="134"/>
                  <a:pt x="250" y="134"/>
                  <a:pt x="250" y="134"/>
                </a:cubicBezTo>
                <a:cubicBezTo>
                  <a:pt x="250" y="134"/>
                  <a:pt x="250" y="134"/>
                  <a:pt x="250" y="134"/>
                </a:cubicBezTo>
                <a:cubicBezTo>
                  <a:pt x="250" y="134"/>
                  <a:pt x="250" y="131"/>
                  <a:pt x="249" y="128"/>
                </a:cubicBezTo>
                <a:cubicBezTo>
                  <a:pt x="248" y="125"/>
                  <a:pt x="246" y="122"/>
                  <a:pt x="242" y="119"/>
                </a:cubicBezTo>
                <a:cubicBezTo>
                  <a:pt x="240" y="117"/>
                  <a:pt x="236" y="115"/>
                  <a:pt x="230" y="114"/>
                </a:cubicBezTo>
                <a:cubicBezTo>
                  <a:pt x="223" y="113"/>
                  <a:pt x="219" y="108"/>
                  <a:pt x="219" y="101"/>
                </a:cubicBezTo>
                <a:cubicBezTo>
                  <a:pt x="219" y="44"/>
                  <a:pt x="219" y="44"/>
                  <a:pt x="219" y="44"/>
                </a:cubicBezTo>
                <a:cubicBezTo>
                  <a:pt x="219" y="37"/>
                  <a:pt x="225" y="31"/>
                  <a:pt x="232" y="31"/>
                </a:cubicBezTo>
                <a:cubicBezTo>
                  <a:pt x="281" y="31"/>
                  <a:pt x="281" y="31"/>
                  <a:pt x="281" y="31"/>
                </a:cubicBezTo>
                <a:cubicBezTo>
                  <a:pt x="283" y="27"/>
                  <a:pt x="285" y="23"/>
                  <a:pt x="287" y="19"/>
                </a:cubicBezTo>
                <a:cubicBezTo>
                  <a:pt x="291" y="13"/>
                  <a:pt x="297" y="8"/>
                  <a:pt x="302" y="5"/>
                </a:cubicBezTo>
                <a:cubicBezTo>
                  <a:pt x="312" y="0"/>
                  <a:pt x="322" y="0"/>
                  <a:pt x="324" y="0"/>
                </a:cubicBezTo>
                <a:cubicBezTo>
                  <a:pt x="324" y="0"/>
                  <a:pt x="324" y="0"/>
                  <a:pt x="325" y="0"/>
                </a:cubicBezTo>
                <a:cubicBezTo>
                  <a:pt x="330" y="0"/>
                  <a:pt x="336" y="1"/>
                  <a:pt x="343" y="4"/>
                </a:cubicBezTo>
                <a:cubicBezTo>
                  <a:pt x="350" y="7"/>
                  <a:pt x="358" y="13"/>
                  <a:pt x="363" y="22"/>
                </a:cubicBezTo>
                <a:cubicBezTo>
                  <a:pt x="365" y="25"/>
                  <a:pt x="366" y="28"/>
                  <a:pt x="367" y="31"/>
                </a:cubicBezTo>
                <a:cubicBezTo>
                  <a:pt x="385" y="31"/>
                  <a:pt x="418" y="31"/>
                  <a:pt x="418" y="31"/>
                </a:cubicBezTo>
                <a:cubicBezTo>
                  <a:pt x="425" y="31"/>
                  <a:pt x="431" y="37"/>
                  <a:pt x="431" y="45"/>
                </a:cubicBezTo>
                <a:cubicBezTo>
                  <a:pt x="431" y="91"/>
                  <a:pt x="431" y="91"/>
                  <a:pt x="431" y="91"/>
                </a:cubicBezTo>
                <a:cubicBezTo>
                  <a:pt x="431" y="91"/>
                  <a:pt x="432" y="91"/>
                  <a:pt x="432" y="92"/>
                </a:cubicBezTo>
                <a:cubicBezTo>
                  <a:pt x="439" y="94"/>
                  <a:pt x="449" y="99"/>
                  <a:pt x="455" y="109"/>
                </a:cubicBezTo>
                <a:cubicBezTo>
                  <a:pt x="460" y="116"/>
                  <a:pt x="462" y="124"/>
                  <a:pt x="463" y="134"/>
                </a:cubicBezTo>
                <a:cubicBezTo>
                  <a:pt x="463" y="135"/>
                  <a:pt x="463" y="135"/>
                  <a:pt x="463" y="135"/>
                </a:cubicBezTo>
                <a:cubicBezTo>
                  <a:pt x="462" y="145"/>
                  <a:pt x="459" y="153"/>
                  <a:pt x="455" y="160"/>
                </a:cubicBezTo>
                <a:cubicBezTo>
                  <a:pt x="450" y="166"/>
                  <a:pt x="445" y="171"/>
                  <a:pt x="439" y="173"/>
                </a:cubicBezTo>
                <a:cubicBezTo>
                  <a:pt x="436" y="175"/>
                  <a:pt x="434" y="176"/>
                  <a:pt x="431" y="177"/>
                </a:cubicBezTo>
                <a:cubicBezTo>
                  <a:pt x="431" y="226"/>
                  <a:pt x="431" y="226"/>
                  <a:pt x="431" y="226"/>
                </a:cubicBezTo>
                <a:cubicBezTo>
                  <a:pt x="431" y="229"/>
                  <a:pt x="430" y="233"/>
                  <a:pt x="427" y="235"/>
                </a:cubicBezTo>
                <a:cubicBezTo>
                  <a:pt x="425" y="238"/>
                  <a:pt x="421" y="239"/>
                  <a:pt x="418" y="239"/>
                </a:cubicBezTo>
                <a:cubicBezTo>
                  <a:pt x="357" y="239"/>
                  <a:pt x="357" y="239"/>
                  <a:pt x="357" y="239"/>
                </a:cubicBezTo>
                <a:cubicBezTo>
                  <a:pt x="350" y="239"/>
                  <a:pt x="344" y="234"/>
                  <a:pt x="343" y="227"/>
                </a:cubicBezTo>
                <a:cubicBezTo>
                  <a:pt x="343" y="221"/>
                  <a:pt x="341" y="218"/>
                  <a:pt x="340" y="216"/>
                </a:cubicBezTo>
                <a:cubicBezTo>
                  <a:pt x="338" y="213"/>
                  <a:pt x="336" y="212"/>
                  <a:pt x="334" y="210"/>
                </a:cubicBezTo>
                <a:cubicBezTo>
                  <a:pt x="331" y="208"/>
                  <a:pt x="326" y="208"/>
                  <a:pt x="325" y="208"/>
                </a:cubicBezTo>
                <a:cubicBezTo>
                  <a:pt x="325" y="208"/>
                  <a:pt x="324" y="208"/>
                  <a:pt x="324" y="208"/>
                </a:cubicBezTo>
                <a:cubicBezTo>
                  <a:pt x="324" y="208"/>
                  <a:pt x="324" y="208"/>
                  <a:pt x="324" y="208"/>
                </a:cubicBezTo>
                <a:cubicBezTo>
                  <a:pt x="324" y="208"/>
                  <a:pt x="324" y="208"/>
                  <a:pt x="323" y="208"/>
                </a:cubicBezTo>
                <a:cubicBezTo>
                  <a:pt x="322" y="208"/>
                  <a:pt x="321" y="208"/>
                  <a:pt x="319" y="209"/>
                </a:cubicBezTo>
                <a:cubicBezTo>
                  <a:pt x="316" y="210"/>
                  <a:pt x="312" y="212"/>
                  <a:pt x="310" y="215"/>
                </a:cubicBezTo>
                <a:cubicBezTo>
                  <a:pt x="308" y="218"/>
                  <a:pt x="306" y="222"/>
                  <a:pt x="306" y="227"/>
                </a:cubicBezTo>
                <a:cubicBezTo>
                  <a:pt x="305" y="234"/>
                  <a:pt x="299" y="239"/>
                  <a:pt x="292" y="239"/>
                </a:cubicBezTo>
                <a:cubicBezTo>
                  <a:pt x="271" y="239"/>
                  <a:pt x="271" y="239"/>
                  <a:pt x="271" y="239"/>
                </a:cubicBezTo>
                <a:cubicBezTo>
                  <a:pt x="263" y="239"/>
                  <a:pt x="257" y="233"/>
                  <a:pt x="257" y="226"/>
                </a:cubicBezTo>
                <a:cubicBezTo>
                  <a:pt x="257" y="219"/>
                  <a:pt x="263" y="213"/>
                  <a:pt x="271" y="213"/>
                </a:cubicBezTo>
                <a:cubicBezTo>
                  <a:pt x="282" y="213"/>
                  <a:pt x="282" y="213"/>
                  <a:pt x="282" y="213"/>
                </a:cubicBezTo>
                <a:cubicBezTo>
                  <a:pt x="283" y="208"/>
                  <a:pt x="285" y="204"/>
                  <a:pt x="288" y="200"/>
                </a:cubicBezTo>
                <a:cubicBezTo>
                  <a:pt x="292" y="194"/>
                  <a:pt x="298" y="190"/>
                  <a:pt x="303" y="187"/>
                </a:cubicBezTo>
                <a:cubicBezTo>
                  <a:pt x="314" y="181"/>
                  <a:pt x="323" y="181"/>
                  <a:pt x="324" y="181"/>
                </a:cubicBezTo>
                <a:cubicBezTo>
                  <a:pt x="324" y="181"/>
                  <a:pt x="324" y="181"/>
                  <a:pt x="324" y="181"/>
                </a:cubicBezTo>
                <a:cubicBezTo>
                  <a:pt x="324" y="181"/>
                  <a:pt x="324" y="181"/>
                  <a:pt x="324" y="181"/>
                </a:cubicBezTo>
                <a:cubicBezTo>
                  <a:pt x="324" y="181"/>
                  <a:pt x="324" y="181"/>
                  <a:pt x="324" y="181"/>
                </a:cubicBezTo>
                <a:cubicBezTo>
                  <a:pt x="325" y="181"/>
                  <a:pt x="325" y="181"/>
                  <a:pt x="325" y="181"/>
                </a:cubicBezTo>
                <a:cubicBezTo>
                  <a:pt x="327" y="181"/>
                  <a:pt x="331" y="181"/>
                  <a:pt x="338" y="183"/>
                </a:cubicBezTo>
                <a:cubicBezTo>
                  <a:pt x="345" y="186"/>
                  <a:pt x="354" y="190"/>
                  <a:pt x="361" y="200"/>
                </a:cubicBezTo>
                <a:cubicBezTo>
                  <a:pt x="364" y="204"/>
                  <a:pt x="366" y="208"/>
                  <a:pt x="367" y="212"/>
                </a:cubicBezTo>
                <a:cubicBezTo>
                  <a:pt x="405" y="213"/>
                  <a:pt x="405" y="213"/>
                  <a:pt x="405" y="213"/>
                </a:cubicBezTo>
                <a:cubicBezTo>
                  <a:pt x="405" y="166"/>
                  <a:pt x="405" y="166"/>
                  <a:pt x="405" y="166"/>
                </a:cubicBezTo>
                <a:cubicBezTo>
                  <a:pt x="405" y="159"/>
                  <a:pt x="410" y="153"/>
                  <a:pt x="417" y="153"/>
                </a:cubicBezTo>
                <a:cubicBezTo>
                  <a:pt x="417" y="153"/>
                  <a:pt x="417" y="153"/>
                  <a:pt x="417" y="153"/>
                </a:cubicBezTo>
                <a:cubicBezTo>
                  <a:pt x="418" y="153"/>
                  <a:pt x="418" y="153"/>
                  <a:pt x="419" y="153"/>
                </a:cubicBezTo>
                <a:cubicBezTo>
                  <a:pt x="420" y="153"/>
                  <a:pt x="421" y="152"/>
                  <a:pt x="423" y="152"/>
                </a:cubicBezTo>
                <a:cubicBezTo>
                  <a:pt x="427" y="150"/>
                  <a:pt x="431" y="148"/>
                  <a:pt x="433" y="145"/>
                </a:cubicBezTo>
                <a:cubicBezTo>
                  <a:pt x="434" y="142"/>
                  <a:pt x="436" y="139"/>
                  <a:pt x="436" y="134"/>
                </a:cubicBezTo>
                <a:cubicBezTo>
                  <a:pt x="436" y="130"/>
                  <a:pt x="435" y="127"/>
                  <a:pt x="434" y="125"/>
                </a:cubicBezTo>
                <a:cubicBezTo>
                  <a:pt x="433" y="123"/>
                  <a:pt x="431" y="121"/>
                  <a:pt x="429" y="120"/>
                </a:cubicBezTo>
                <a:cubicBezTo>
                  <a:pt x="425" y="117"/>
                  <a:pt x="419" y="115"/>
                  <a:pt x="417" y="115"/>
                </a:cubicBezTo>
                <a:cubicBezTo>
                  <a:pt x="417" y="114"/>
                  <a:pt x="416" y="114"/>
                  <a:pt x="416" y="114"/>
                </a:cubicBezTo>
                <a:cubicBezTo>
                  <a:pt x="410" y="114"/>
                  <a:pt x="404" y="108"/>
                  <a:pt x="404" y="101"/>
                </a:cubicBezTo>
                <a:cubicBezTo>
                  <a:pt x="404" y="58"/>
                  <a:pt x="404" y="58"/>
                  <a:pt x="404" y="58"/>
                </a:cubicBezTo>
                <a:cubicBezTo>
                  <a:pt x="386" y="58"/>
                  <a:pt x="356" y="58"/>
                  <a:pt x="356" y="58"/>
                </a:cubicBezTo>
                <a:cubicBezTo>
                  <a:pt x="349" y="58"/>
                  <a:pt x="343" y="52"/>
                  <a:pt x="343" y="45"/>
                </a:cubicBezTo>
                <a:cubicBezTo>
                  <a:pt x="342" y="38"/>
                  <a:pt x="340" y="35"/>
                  <a:pt x="338" y="32"/>
                </a:cubicBezTo>
                <a:cubicBezTo>
                  <a:pt x="335" y="29"/>
                  <a:pt x="332" y="28"/>
                  <a:pt x="329" y="27"/>
                </a:cubicBezTo>
                <a:cubicBezTo>
                  <a:pt x="327" y="26"/>
                  <a:pt x="325" y="26"/>
                  <a:pt x="325" y="26"/>
                </a:cubicBezTo>
                <a:cubicBezTo>
                  <a:pt x="325" y="26"/>
                  <a:pt x="325" y="26"/>
                  <a:pt x="325" y="26"/>
                </a:cubicBezTo>
                <a:cubicBezTo>
                  <a:pt x="324" y="26"/>
                  <a:pt x="321" y="26"/>
                  <a:pt x="318" y="27"/>
                </a:cubicBezTo>
                <a:cubicBezTo>
                  <a:pt x="315" y="28"/>
                  <a:pt x="312" y="30"/>
                  <a:pt x="309" y="34"/>
                </a:cubicBezTo>
                <a:cubicBezTo>
                  <a:pt x="307" y="36"/>
                  <a:pt x="306" y="40"/>
                  <a:pt x="305" y="46"/>
                </a:cubicBezTo>
                <a:cubicBezTo>
                  <a:pt x="304" y="53"/>
                  <a:pt x="299" y="58"/>
                  <a:pt x="292" y="58"/>
                </a:cubicBezTo>
                <a:cubicBezTo>
                  <a:pt x="245" y="58"/>
                  <a:pt x="245" y="58"/>
                  <a:pt x="245" y="58"/>
                </a:cubicBezTo>
                <a:cubicBezTo>
                  <a:pt x="245" y="91"/>
                  <a:pt x="245" y="91"/>
                  <a:pt x="245" y="91"/>
                </a:cubicBezTo>
                <a:cubicBezTo>
                  <a:pt x="250" y="93"/>
                  <a:pt x="254" y="95"/>
                  <a:pt x="257" y="97"/>
                </a:cubicBezTo>
                <a:cubicBezTo>
                  <a:pt x="263" y="101"/>
                  <a:pt x="268" y="107"/>
                  <a:pt x="271" y="112"/>
                </a:cubicBezTo>
                <a:cubicBezTo>
                  <a:pt x="276" y="122"/>
                  <a:pt x="277" y="131"/>
                  <a:pt x="277" y="134"/>
                </a:cubicBezTo>
                <a:cubicBezTo>
                  <a:pt x="277" y="134"/>
                  <a:pt x="277" y="134"/>
                  <a:pt x="277" y="134"/>
                </a:cubicBezTo>
                <a:cubicBezTo>
                  <a:pt x="277" y="136"/>
                  <a:pt x="277" y="142"/>
                  <a:pt x="274" y="149"/>
                </a:cubicBezTo>
                <a:cubicBezTo>
                  <a:pt x="272" y="156"/>
                  <a:pt x="267" y="165"/>
                  <a:pt x="257" y="171"/>
                </a:cubicBezTo>
                <a:cubicBezTo>
                  <a:pt x="254" y="174"/>
                  <a:pt x="250" y="176"/>
                  <a:pt x="245" y="177"/>
                </a:cubicBezTo>
                <a:cubicBezTo>
                  <a:pt x="245" y="226"/>
                  <a:pt x="245" y="226"/>
                  <a:pt x="245" y="226"/>
                </a:cubicBezTo>
                <a:cubicBezTo>
                  <a:pt x="245" y="229"/>
                  <a:pt x="244" y="233"/>
                  <a:pt x="241" y="235"/>
                </a:cubicBezTo>
                <a:cubicBezTo>
                  <a:pt x="239" y="238"/>
                  <a:pt x="235" y="239"/>
                  <a:pt x="232" y="239"/>
                </a:cubicBezTo>
                <a:cubicBezTo>
                  <a:pt x="171" y="239"/>
                  <a:pt x="171" y="239"/>
                  <a:pt x="171" y="239"/>
                </a:cubicBezTo>
                <a:cubicBezTo>
                  <a:pt x="163" y="239"/>
                  <a:pt x="158" y="233"/>
                  <a:pt x="157" y="226"/>
                </a:cubicBezTo>
                <a:cubicBezTo>
                  <a:pt x="157" y="226"/>
                  <a:pt x="157" y="226"/>
                  <a:pt x="157" y="226"/>
                </a:cubicBezTo>
                <a:cubicBezTo>
                  <a:pt x="157" y="226"/>
                  <a:pt x="157" y="226"/>
                  <a:pt x="157" y="226"/>
                </a:cubicBezTo>
                <a:cubicBezTo>
                  <a:pt x="157" y="226"/>
                  <a:pt x="157" y="226"/>
                  <a:pt x="157" y="226"/>
                </a:cubicBezTo>
                <a:cubicBezTo>
                  <a:pt x="157" y="226"/>
                  <a:pt x="157" y="225"/>
                  <a:pt x="157" y="225"/>
                </a:cubicBezTo>
                <a:cubicBezTo>
                  <a:pt x="157" y="224"/>
                  <a:pt x="157" y="222"/>
                  <a:pt x="156" y="220"/>
                </a:cubicBezTo>
                <a:cubicBezTo>
                  <a:pt x="155" y="217"/>
                  <a:pt x="153" y="213"/>
                  <a:pt x="150" y="211"/>
                </a:cubicBezTo>
                <a:cubicBezTo>
                  <a:pt x="147" y="209"/>
                  <a:pt x="144" y="208"/>
                  <a:pt x="139" y="207"/>
                </a:cubicBezTo>
                <a:cubicBezTo>
                  <a:pt x="135" y="208"/>
                  <a:pt x="132" y="208"/>
                  <a:pt x="130" y="210"/>
                </a:cubicBezTo>
                <a:cubicBezTo>
                  <a:pt x="128" y="211"/>
                  <a:pt x="126" y="213"/>
                  <a:pt x="125" y="215"/>
                </a:cubicBezTo>
                <a:cubicBezTo>
                  <a:pt x="122" y="218"/>
                  <a:pt x="120" y="224"/>
                  <a:pt x="120" y="226"/>
                </a:cubicBezTo>
                <a:cubicBezTo>
                  <a:pt x="120" y="227"/>
                  <a:pt x="120" y="227"/>
                  <a:pt x="120" y="227"/>
                </a:cubicBezTo>
                <a:cubicBezTo>
                  <a:pt x="120" y="227"/>
                  <a:pt x="120" y="227"/>
                  <a:pt x="120" y="227"/>
                </a:cubicBezTo>
                <a:cubicBezTo>
                  <a:pt x="119" y="234"/>
                  <a:pt x="113" y="239"/>
                  <a:pt x="106" y="239"/>
                </a:cubicBezTo>
                <a:cubicBezTo>
                  <a:pt x="45" y="239"/>
                  <a:pt x="45" y="239"/>
                  <a:pt x="45" y="239"/>
                </a:cubicBezTo>
                <a:cubicBezTo>
                  <a:pt x="38" y="239"/>
                  <a:pt x="32" y="233"/>
                  <a:pt x="32" y="226"/>
                </a:cubicBezTo>
                <a:moveTo>
                  <a:pt x="329" y="207"/>
                </a:moveTo>
                <a:cubicBezTo>
                  <a:pt x="330" y="206"/>
                  <a:pt x="330" y="206"/>
                  <a:pt x="330" y="206"/>
                </a:cubicBezTo>
                <a:cubicBezTo>
                  <a:pt x="330" y="206"/>
                  <a:pt x="330" y="206"/>
                  <a:pt x="329" y="207"/>
                </a:cubicBezTo>
                <a:close/>
                <a:moveTo>
                  <a:pt x="335" y="202"/>
                </a:moveTo>
                <a:cubicBezTo>
                  <a:pt x="335" y="202"/>
                  <a:pt x="335" y="202"/>
                  <a:pt x="336" y="202"/>
                </a:cubicBezTo>
                <a:cubicBezTo>
                  <a:pt x="335" y="202"/>
                  <a:pt x="335" y="202"/>
                  <a:pt x="335" y="202"/>
                </a:cubicBezTo>
                <a:close/>
                <a:moveTo>
                  <a:pt x="336" y="200"/>
                </a:moveTo>
                <a:cubicBezTo>
                  <a:pt x="336" y="200"/>
                  <a:pt x="336" y="200"/>
                  <a:pt x="336" y="201"/>
                </a:cubicBezTo>
                <a:cubicBezTo>
                  <a:pt x="336" y="200"/>
                  <a:pt x="336" y="200"/>
                  <a:pt x="337" y="200"/>
                </a:cubicBezTo>
                <a:cubicBezTo>
                  <a:pt x="337" y="200"/>
                  <a:pt x="337" y="200"/>
                  <a:pt x="336" y="20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91" name="Freeform 552"/>
          <p:cNvSpPr>
            <a:spLocks/>
          </p:cNvSpPr>
          <p:nvPr userDrawn="1"/>
        </p:nvSpPr>
        <p:spPr bwMode="auto">
          <a:xfrm>
            <a:off x="6984425" y="5076245"/>
            <a:ext cx="342900" cy="493713"/>
          </a:xfrm>
          <a:custGeom>
            <a:avLst/>
            <a:gdLst/>
            <a:ahLst/>
            <a:cxnLst>
              <a:cxn ang="0">
                <a:pos x="30" y="424"/>
              </a:cxn>
              <a:cxn ang="0">
                <a:pos x="0" y="372"/>
              </a:cxn>
              <a:cxn ang="0">
                <a:pos x="73" y="220"/>
              </a:cxn>
              <a:cxn ang="0">
                <a:pos x="95" y="235"/>
              </a:cxn>
              <a:cxn ang="0">
                <a:pos x="82" y="287"/>
              </a:cxn>
              <a:cxn ang="0">
                <a:pos x="86" y="290"/>
              </a:cxn>
              <a:cxn ang="0">
                <a:pos x="128" y="263"/>
              </a:cxn>
              <a:cxn ang="0">
                <a:pos x="164" y="198"/>
              </a:cxn>
              <a:cxn ang="0">
                <a:pos x="114" y="153"/>
              </a:cxn>
              <a:cxn ang="0">
                <a:pos x="88" y="157"/>
              </a:cxn>
              <a:cxn ang="0">
                <a:pos x="80" y="149"/>
              </a:cxn>
              <a:cxn ang="0">
                <a:pos x="75" y="122"/>
              </a:cxn>
              <a:cxn ang="0">
                <a:pos x="121" y="64"/>
              </a:cxn>
              <a:cxn ang="0">
                <a:pos x="208" y="69"/>
              </a:cxn>
              <a:cxn ang="0">
                <a:pos x="245" y="162"/>
              </a:cxn>
              <a:cxn ang="0">
                <a:pos x="176" y="318"/>
              </a:cxn>
              <a:cxn ang="0">
                <a:pos x="159" y="298"/>
              </a:cxn>
              <a:cxn ang="0">
                <a:pos x="218" y="162"/>
              </a:cxn>
              <a:cxn ang="0">
                <a:pos x="193" y="91"/>
              </a:cxn>
              <a:cxn ang="0">
                <a:pos x="131" y="89"/>
              </a:cxn>
              <a:cxn ang="0">
                <a:pos x="102" y="122"/>
              </a:cxn>
              <a:cxn ang="0">
                <a:pos x="114" y="127"/>
              </a:cxn>
              <a:cxn ang="0">
                <a:pos x="191" y="198"/>
              </a:cxn>
              <a:cxn ang="0">
                <a:pos x="146" y="282"/>
              </a:cxn>
              <a:cxn ang="0">
                <a:pos x="86" y="317"/>
              </a:cxn>
              <a:cxn ang="0">
                <a:pos x="60" y="304"/>
              </a:cxn>
              <a:cxn ang="0">
                <a:pos x="43" y="320"/>
              </a:cxn>
              <a:cxn ang="0">
                <a:pos x="30" y="389"/>
              </a:cxn>
              <a:cxn ang="0">
                <a:pos x="81" y="410"/>
              </a:cxn>
              <a:cxn ang="0">
                <a:pos x="247" y="254"/>
              </a:cxn>
              <a:cxn ang="0">
                <a:pos x="244" y="68"/>
              </a:cxn>
              <a:cxn ang="0">
                <a:pos x="151" y="26"/>
              </a:cxn>
              <a:cxn ang="0">
                <a:pos x="73" y="64"/>
              </a:cxn>
              <a:cxn ang="0">
                <a:pos x="46" y="145"/>
              </a:cxn>
              <a:cxn ang="0">
                <a:pos x="20" y="148"/>
              </a:cxn>
              <a:cxn ang="0">
                <a:pos x="38" y="69"/>
              </a:cxn>
              <a:cxn ang="0">
                <a:pos x="151" y="0"/>
              </a:cxn>
              <a:cxn ang="0">
                <a:pos x="264" y="50"/>
              </a:cxn>
              <a:cxn ang="0">
                <a:pos x="271" y="266"/>
              </a:cxn>
              <a:cxn ang="0">
                <a:pos x="82" y="437"/>
              </a:cxn>
            </a:cxnLst>
            <a:rect l="0" t="0" r="r" b="b"/>
            <a:pathLst>
              <a:path w="303" h="437">
                <a:moveTo>
                  <a:pt x="81" y="437"/>
                </a:moveTo>
                <a:cubicBezTo>
                  <a:pt x="61" y="437"/>
                  <a:pt x="43" y="431"/>
                  <a:pt x="30" y="424"/>
                </a:cubicBezTo>
                <a:cubicBezTo>
                  <a:pt x="20" y="418"/>
                  <a:pt x="12" y="411"/>
                  <a:pt x="7" y="402"/>
                </a:cubicBezTo>
                <a:cubicBezTo>
                  <a:pt x="2" y="393"/>
                  <a:pt x="0" y="383"/>
                  <a:pt x="0" y="372"/>
                </a:cubicBezTo>
                <a:cubicBezTo>
                  <a:pt x="0" y="353"/>
                  <a:pt x="6" y="333"/>
                  <a:pt x="19" y="308"/>
                </a:cubicBezTo>
                <a:cubicBezTo>
                  <a:pt x="31" y="283"/>
                  <a:pt x="49" y="254"/>
                  <a:pt x="73" y="220"/>
                </a:cubicBezTo>
                <a:cubicBezTo>
                  <a:pt x="77" y="215"/>
                  <a:pt x="85" y="213"/>
                  <a:pt x="91" y="217"/>
                </a:cubicBezTo>
                <a:cubicBezTo>
                  <a:pt x="97" y="221"/>
                  <a:pt x="99" y="229"/>
                  <a:pt x="95" y="235"/>
                </a:cubicBezTo>
                <a:cubicBezTo>
                  <a:pt x="85" y="250"/>
                  <a:pt x="80" y="267"/>
                  <a:pt x="80" y="278"/>
                </a:cubicBezTo>
                <a:cubicBezTo>
                  <a:pt x="80" y="282"/>
                  <a:pt x="81" y="285"/>
                  <a:pt x="82" y="287"/>
                </a:cubicBezTo>
                <a:cubicBezTo>
                  <a:pt x="83" y="289"/>
                  <a:pt x="83" y="289"/>
                  <a:pt x="84" y="290"/>
                </a:cubicBezTo>
                <a:cubicBezTo>
                  <a:pt x="84" y="290"/>
                  <a:pt x="84" y="290"/>
                  <a:pt x="86" y="290"/>
                </a:cubicBezTo>
                <a:cubicBezTo>
                  <a:pt x="88" y="290"/>
                  <a:pt x="93" y="289"/>
                  <a:pt x="100" y="285"/>
                </a:cubicBezTo>
                <a:cubicBezTo>
                  <a:pt x="108" y="281"/>
                  <a:pt x="117" y="274"/>
                  <a:pt x="128" y="263"/>
                </a:cubicBezTo>
                <a:cubicBezTo>
                  <a:pt x="141" y="249"/>
                  <a:pt x="151" y="237"/>
                  <a:pt x="156" y="226"/>
                </a:cubicBezTo>
                <a:cubicBezTo>
                  <a:pt x="162" y="215"/>
                  <a:pt x="164" y="206"/>
                  <a:pt x="164" y="198"/>
                </a:cubicBezTo>
                <a:cubicBezTo>
                  <a:pt x="164" y="184"/>
                  <a:pt x="158" y="174"/>
                  <a:pt x="148" y="166"/>
                </a:cubicBezTo>
                <a:cubicBezTo>
                  <a:pt x="139" y="158"/>
                  <a:pt x="126" y="153"/>
                  <a:pt x="114" y="153"/>
                </a:cubicBezTo>
                <a:cubicBezTo>
                  <a:pt x="108" y="153"/>
                  <a:pt x="103" y="154"/>
                  <a:pt x="98" y="157"/>
                </a:cubicBezTo>
                <a:cubicBezTo>
                  <a:pt x="95" y="158"/>
                  <a:pt x="91" y="158"/>
                  <a:pt x="88" y="157"/>
                </a:cubicBezTo>
                <a:cubicBezTo>
                  <a:pt x="84" y="155"/>
                  <a:pt x="82" y="153"/>
                  <a:pt x="80" y="149"/>
                </a:cubicBezTo>
                <a:cubicBezTo>
                  <a:pt x="80" y="149"/>
                  <a:pt x="80" y="149"/>
                  <a:pt x="80" y="149"/>
                </a:cubicBezTo>
                <a:cubicBezTo>
                  <a:pt x="80" y="149"/>
                  <a:pt x="80" y="149"/>
                  <a:pt x="80" y="149"/>
                </a:cubicBezTo>
                <a:cubicBezTo>
                  <a:pt x="77" y="140"/>
                  <a:pt x="75" y="132"/>
                  <a:pt x="75" y="122"/>
                </a:cubicBezTo>
                <a:cubicBezTo>
                  <a:pt x="75" y="111"/>
                  <a:pt x="78" y="99"/>
                  <a:pt x="86" y="88"/>
                </a:cubicBezTo>
                <a:cubicBezTo>
                  <a:pt x="94" y="78"/>
                  <a:pt x="106" y="70"/>
                  <a:pt x="121" y="64"/>
                </a:cubicBezTo>
                <a:cubicBezTo>
                  <a:pt x="134" y="59"/>
                  <a:pt x="148" y="56"/>
                  <a:pt x="162" y="56"/>
                </a:cubicBezTo>
                <a:cubicBezTo>
                  <a:pt x="178" y="56"/>
                  <a:pt x="194" y="60"/>
                  <a:pt x="208" y="69"/>
                </a:cubicBezTo>
                <a:cubicBezTo>
                  <a:pt x="222" y="79"/>
                  <a:pt x="233" y="93"/>
                  <a:pt x="238" y="113"/>
                </a:cubicBezTo>
                <a:cubicBezTo>
                  <a:pt x="242" y="126"/>
                  <a:pt x="245" y="143"/>
                  <a:pt x="245" y="162"/>
                </a:cubicBezTo>
                <a:cubicBezTo>
                  <a:pt x="245" y="186"/>
                  <a:pt x="240" y="214"/>
                  <a:pt x="230" y="242"/>
                </a:cubicBezTo>
                <a:cubicBezTo>
                  <a:pt x="219" y="269"/>
                  <a:pt x="202" y="296"/>
                  <a:pt x="176" y="318"/>
                </a:cubicBezTo>
                <a:cubicBezTo>
                  <a:pt x="170" y="323"/>
                  <a:pt x="161" y="322"/>
                  <a:pt x="157" y="317"/>
                </a:cubicBezTo>
                <a:cubicBezTo>
                  <a:pt x="152" y="311"/>
                  <a:pt x="153" y="303"/>
                  <a:pt x="159" y="298"/>
                </a:cubicBezTo>
                <a:cubicBezTo>
                  <a:pt x="181" y="279"/>
                  <a:pt x="196" y="256"/>
                  <a:pt x="205" y="232"/>
                </a:cubicBezTo>
                <a:cubicBezTo>
                  <a:pt x="214" y="208"/>
                  <a:pt x="218" y="183"/>
                  <a:pt x="218" y="162"/>
                </a:cubicBezTo>
                <a:cubicBezTo>
                  <a:pt x="218" y="145"/>
                  <a:pt x="216" y="130"/>
                  <a:pt x="213" y="120"/>
                </a:cubicBezTo>
                <a:cubicBezTo>
                  <a:pt x="208" y="106"/>
                  <a:pt x="201" y="97"/>
                  <a:pt x="193" y="91"/>
                </a:cubicBezTo>
                <a:cubicBezTo>
                  <a:pt x="184" y="85"/>
                  <a:pt x="174" y="82"/>
                  <a:pt x="162" y="82"/>
                </a:cubicBezTo>
                <a:cubicBezTo>
                  <a:pt x="152" y="82"/>
                  <a:pt x="141" y="85"/>
                  <a:pt x="131" y="89"/>
                </a:cubicBezTo>
                <a:cubicBezTo>
                  <a:pt x="119" y="93"/>
                  <a:pt x="112" y="99"/>
                  <a:pt x="108" y="104"/>
                </a:cubicBezTo>
                <a:cubicBezTo>
                  <a:pt x="104" y="110"/>
                  <a:pt x="102" y="116"/>
                  <a:pt x="102" y="122"/>
                </a:cubicBezTo>
                <a:cubicBezTo>
                  <a:pt x="102" y="124"/>
                  <a:pt x="102" y="126"/>
                  <a:pt x="102" y="128"/>
                </a:cubicBezTo>
                <a:cubicBezTo>
                  <a:pt x="106" y="127"/>
                  <a:pt x="110" y="127"/>
                  <a:pt x="114" y="127"/>
                </a:cubicBezTo>
                <a:cubicBezTo>
                  <a:pt x="132" y="127"/>
                  <a:pt x="151" y="133"/>
                  <a:pt x="165" y="145"/>
                </a:cubicBezTo>
                <a:cubicBezTo>
                  <a:pt x="180" y="157"/>
                  <a:pt x="191" y="176"/>
                  <a:pt x="191" y="198"/>
                </a:cubicBezTo>
                <a:cubicBezTo>
                  <a:pt x="191" y="211"/>
                  <a:pt x="187" y="224"/>
                  <a:pt x="180" y="238"/>
                </a:cubicBezTo>
                <a:cubicBezTo>
                  <a:pt x="173" y="252"/>
                  <a:pt x="162" y="267"/>
                  <a:pt x="146" y="282"/>
                </a:cubicBezTo>
                <a:cubicBezTo>
                  <a:pt x="134" y="294"/>
                  <a:pt x="124" y="302"/>
                  <a:pt x="114" y="308"/>
                </a:cubicBezTo>
                <a:cubicBezTo>
                  <a:pt x="104" y="313"/>
                  <a:pt x="95" y="317"/>
                  <a:pt x="86" y="317"/>
                </a:cubicBezTo>
                <a:cubicBezTo>
                  <a:pt x="81" y="317"/>
                  <a:pt x="76" y="316"/>
                  <a:pt x="71" y="313"/>
                </a:cubicBezTo>
                <a:cubicBezTo>
                  <a:pt x="67" y="311"/>
                  <a:pt x="63" y="307"/>
                  <a:pt x="60" y="304"/>
                </a:cubicBezTo>
                <a:cubicBezTo>
                  <a:pt x="59" y="301"/>
                  <a:pt x="57" y="298"/>
                  <a:pt x="56" y="295"/>
                </a:cubicBezTo>
                <a:cubicBezTo>
                  <a:pt x="51" y="304"/>
                  <a:pt x="46" y="312"/>
                  <a:pt x="43" y="320"/>
                </a:cubicBezTo>
                <a:cubicBezTo>
                  <a:pt x="31" y="343"/>
                  <a:pt x="26" y="360"/>
                  <a:pt x="26" y="372"/>
                </a:cubicBezTo>
                <a:cubicBezTo>
                  <a:pt x="26" y="379"/>
                  <a:pt x="28" y="384"/>
                  <a:pt x="30" y="389"/>
                </a:cubicBezTo>
                <a:cubicBezTo>
                  <a:pt x="33" y="393"/>
                  <a:pt x="37" y="397"/>
                  <a:pt x="43" y="401"/>
                </a:cubicBezTo>
                <a:cubicBezTo>
                  <a:pt x="52" y="406"/>
                  <a:pt x="66" y="411"/>
                  <a:pt x="81" y="410"/>
                </a:cubicBezTo>
                <a:cubicBezTo>
                  <a:pt x="100" y="410"/>
                  <a:pt x="121" y="404"/>
                  <a:pt x="142" y="385"/>
                </a:cubicBezTo>
                <a:cubicBezTo>
                  <a:pt x="192" y="336"/>
                  <a:pt x="226" y="292"/>
                  <a:pt x="247" y="254"/>
                </a:cubicBezTo>
                <a:cubicBezTo>
                  <a:pt x="268" y="215"/>
                  <a:pt x="276" y="181"/>
                  <a:pt x="276" y="153"/>
                </a:cubicBezTo>
                <a:cubicBezTo>
                  <a:pt x="276" y="117"/>
                  <a:pt x="263" y="89"/>
                  <a:pt x="244" y="68"/>
                </a:cubicBezTo>
                <a:cubicBezTo>
                  <a:pt x="225" y="47"/>
                  <a:pt x="199" y="34"/>
                  <a:pt x="174" y="29"/>
                </a:cubicBezTo>
                <a:cubicBezTo>
                  <a:pt x="166" y="27"/>
                  <a:pt x="158" y="26"/>
                  <a:pt x="151" y="26"/>
                </a:cubicBezTo>
                <a:cubicBezTo>
                  <a:pt x="134" y="26"/>
                  <a:pt x="119" y="30"/>
                  <a:pt x="106" y="37"/>
                </a:cubicBezTo>
                <a:cubicBezTo>
                  <a:pt x="94" y="44"/>
                  <a:pt x="82" y="53"/>
                  <a:pt x="73" y="64"/>
                </a:cubicBezTo>
                <a:cubicBezTo>
                  <a:pt x="55" y="86"/>
                  <a:pt x="45" y="115"/>
                  <a:pt x="46" y="136"/>
                </a:cubicBezTo>
                <a:cubicBezTo>
                  <a:pt x="46" y="139"/>
                  <a:pt x="46" y="142"/>
                  <a:pt x="46" y="145"/>
                </a:cubicBezTo>
                <a:cubicBezTo>
                  <a:pt x="47" y="152"/>
                  <a:pt x="42" y="159"/>
                  <a:pt x="35" y="160"/>
                </a:cubicBezTo>
                <a:cubicBezTo>
                  <a:pt x="27" y="160"/>
                  <a:pt x="21" y="155"/>
                  <a:pt x="20" y="148"/>
                </a:cubicBezTo>
                <a:cubicBezTo>
                  <a:pt x="19" y="144"/>
                  <a:pt x="19" y="140"/>
                  <a:pt x="19" y="136"/>
                </a:cubicBezTo>
                <a:cubicBezTo>
                  <a:pt x="19" y="115"/>
                  <a:pt x="26" y="91"/>
                  <a:pt x="38" y="69"/>
                </a:cubicBezTo>
                <a:cubicBezTo>
                  <a:pt x="51" y="47"/>
                  <a:pt x="69" y="26"/>
                  <a:pt x="94" y="13"/>
                </a:cubicBezTo>
                <a:cubicBezTo>
                  <a:pt x="110" y="5"/>
                  <a:pt x="130" y="0"/>
                  <a:pt x="151" y="0"/>
                </a:cubicBezTo>
                <a:cubicBezTo>
                  <a:pt x="160" y="0"/>
                  <a:pt x="170" y="1"/>
                  <a:pt x="180" y="3"/>
                </a:cubicBezTo>
                <a:cubicBezTo>
                  <a:pt x="210" y="9"/>
                  <a:pt x="240" y="25"/>
                  <a:pt x="264" y="50"/>
                </a:cubicBezTo>
                <a:cubicBezTo>
                  <a:pt x="287" y="75"/>
                  <a:pt x="303" y="110"/>
                  <a:pt x="303" y="153"/>
                </a:cubicBezTo>
                <a:cubicBezTo>
                  <a:pt x="303" y="187"/>
                  <a:pt x="293" y="224"/>
                  <a:pt x="271" y="266"/>
                </a:cubicBezTo>
                <a:cubicBezTo>
                  <a:pt x="248" y="308"/>
                  <a:pt x="212" y="354"/>
                  <a:pt x="160" y="404"/>
                </a:cubicBezTo>
                <a:cubicBezTo>
                  <a:pt x="135" y="428"/>
                  <a:pt x="107" y="437"/>
                  <a:pt x="82" y="437"/>
                </a:cubicBezTo>
                <a:cubicBezTo>
                  <a:pt x="82" y="437"/>
                  <a:pt x="82" y="437"/>
                  <a:pt x="81" y="437"/>
                </a:cubicBezTo>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grpSp>
        <p:nvGrpSpPr>
          <p:cNvPr id="34" name="Group 319"/>
          <p:cNvGrpSpPr>
            <a:grpSpLocks noChangeAspect="1"/>
          </p:cNvGrpSpPr>
          <p:nvPr userDrawn="1"/>
        </p:nvGrpSpPr>
        <p:grpSpPr bwMode="auto">
          <a:xfrm>
            <a:off x="7631290" y="1168808"/>
            <a:ext cx="266700" cy="506413"/>
            <a:chOff x="2579" y="548"/>
            <a:chExt cx="168" cy="319"/>
          </a:xfrm>
          <a:noFill/>
        </p:grpSpPr>
        <p:sp>
          <p:nvSpPr>
            <p:cNvPr id="93" name="Freeform 320"/>
            <p:cNvSpPr>
              <a:spLocks/>
            </p:cNvSpPr>
            <p:nvPr/>
          </p:nvSpPr>
          <p:spPr bwMode="auto">
            <a:xfrm>
              <a:off x="2579" y="548"/>
              <a:ext cx="168" cy="319"/>
            </a:xfrm>
            <a:custGeom>
              <a:avLst/>
              <a:gdLst/>
              <a:ahLst/>
              <a:cxnLst>
                <a:cxn ang="0">
                  <a:pos x="197" y="418"/>
                </a:cxn>
                <a:cxn ang="0">
                  <a:pos x="0" y="369"/>
                </a:cxn>
                <a:cxn ang="0">
                  <a:pos x="0" y="61"/>
                </a:cxn>
                <a:cxn ang="0">
                  <a:pos x="79" y="33"/>
                </a:cxn>
                <a:cxn ang="0">
                  <a:pos x="88" y="31"/>
                </a:cxn>
                <a:cxn ang="0">
                  <a:pos x="88" y="7"/>
                </a:cxn>
                <a:cxn ang="0">
                  <a:pos x="147" y="7"/>
                </a:cxn>
                <a:cxn ang="0">
                  <a:pos x="147" y="32"/>
                </a:cxn>
                <a:cxn ang="0">
                  <a:pos x="151" y="32"/>
                </a:cxn>
                <a:cxn ang="0">
                  <a:pos x="235" y="61"/>
                </a:cxn>
                <a:cxn ang="0">
                  <a:pos x="235" y="369"/>
                </a:cxn>
              </a:cxnLst>
              <a:rect l="0" t="0" r="r" b="b"/>
              <a:pathLst>
                <a:path w="235" h="449">
                  <a:moveTo>
                    <a:pt x="197" y="418"/>
                  </a:moveTo>
                  <a:cubicBezTo>
                    <a:pt x="130" y="449"/>
                    <a:pt x="0" y="433"/>
                    <a:pt x="0" y="369"/>
                  </a:cubicBezTo>
                  <a:cubicBezTo>
                    <a:pt x="0" y="61"/>
                    <a:pt x="0" y="61"/>
                    <a:pt x="0" y="61"/>
                  </a:cubicBezTo>
                  <a:cubicBezTo>
                    <a:pt x="0" y="45"/>
                    <a:pt x="35" y="36"/>
                    <a:pt x="79" y="33"/>
                  </a:cubicBezTo>
                  <a:cubicBezTo>
                    <a:pt x="88" y="31"/>
                    <a:pt x="88" y="31"/>
                    <a:pt x="88" y="31"/>
                  </a:cubicBezTo>
                  <a:cubicBezTo>
                    <a:pt x="88" y="7"/>
                    <a:pt x="88" y="7"/>
                    <a:pt x="88" y="7"/>
                  </a:cubicBezTo>
                  <a:cubicBezTo>
                    <a:pt x="88" y="0"/>
                    <a:pt x="147" y="0"/>
                    <a:pt x="147" y="7"/>
                  </a:cubicBezTo>
                  <a:cubicBezTo>
                    <a:pt x="147" y="32"/>
                    <a:pt x="147" y="32"/>
                    <a:pt x="147" y="32"/>
                  </a:cubicBezTo>
                  <a:cubicBezTo>
                    <a:pt x="151" y="32"/>
                    <a:pt x="151" y="32"/>
                    <a:pt x="151" y="32"/>
                  </a:cubicBezTo>
                  <a:cubicBezTo>
                    <a:pt x="197" y="35"/>
                    <a:pt x="235" y="45"/>
                    <a:pt x="235" y="61"/>
                  </a:cubicBezTo>
                  <a:cubicBezTo>
                    <a:pt x="235" y="369"/>
                    <a:pt x="235" y="369"/>
                    <a:pt x="235" y="369"/>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94" name="Freeform 321"/>
            <p:cNvSpPr>
              <a:spLocks/>
            </p:cNvSpPr>
            <p:nvPr/>
          </p:nvSpPr>
          <p:spPr bwMode="auto">
            <a:xfrm>
              <a:off x="2626" y="590"/>
              <a:ext cx="121" cy="19"/>
            </a:xfrm>
            <a:custGeom>
              <a:avLst/>
              <a:gdLst/>
              <a:ahLst/>
              <a:cxnLst>
                <a:cxn ang="0">
                  <a:pos x="169" y="0"/>
                </a:cxn>
                <a:cxn ang="0">
                  <a:pos x="51" y="27"/>
                </a:cxn>
                <a:cxn ang="0">
                  <a:pos x="0" y="24"/>
                </a:cxn>
              </a:cxnLst>
              <a:rect l="0" t="0" r="r" b="b"/>
              <a:pathLst>
                <a:path w="169" h="27">
                  <a:moveTo>
                    <a:pt x="169" y="0"/>
                  </a:moveTo>
                  <a:cubicBezTo>
                    <a:pt x="169" y="15"/>
                    <a:pt x="117" y="27"/>
                    <a:pt x="51" y="27"/>
                  </a:cubicBezTo>
                  <a:cubicBezTo>
                    <a:pt x="33" y="27"/>
                    <a:pt x="15" y="26"/>
                    <a:pt x="0" y="24"/>
                  </a:cubicBezTo>
                </a:path>
              </a:pathLst>
            </a:custGeom>
            <a:grpFill/>
            <a:ln w="28575"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grpSp>
      <p:sp>
        <p:nvSpPr>
          <p:cNvPr id="95" name="Freeform 389"/>
          <p:cNvSpPr>
            <a:spLocks/>
          </p:cNvSpPr>
          <p:nvPr userDrawn="1"/>
        </p:nvSpPr>
        <p:spPr bwMode="auto">
          <a:xfrm>
            <a:off x="7549539" y="4511960"/>
            <a:ext cx="430213" cy="298451"/>
          </a:xfrm>
          <a:custGeom>
            <a:avLst/>
            <a:gdLst/>
            <a:ahLst/>
            <a:cxnLst>
              <a:cxn ang="0">
                <a:pos x="274" y="19"/>
              </a:cxn>
              <a:cxn ang="0">
                <a:pos x="255" y="64"/>
              </a:cxn>
              <a:cxn ang="0">
                <a:pos x="256" y="75"/>
              </a:cxn>
              <a:cxn ang="0">
                <a:pos x="151" y="181"/>
              </a:cxn>
              <a:cxn ang="0">
                <a:pos x="142" y="202"/>
              </a:cxn>
              <a:cxn ang="0">
                <a:pos x="142" y="202"/>
              </a:cxn>
              <a:cxn ang="0">
                <a:pos x="147" y="220"/>
              </a:cxn>
              <a:cxn ang="0">
                <a:pos x="123" y="235"/>
              </a:cxn>
              <a:cxn ang="0">
                <a:pos x="104" y="233"/>
              </a:cxn>
              <a:cxn ang="0">
                <a:pos x="100" y="213"/>
              </a:cxn>
              <a:cxn ang="0">
                <a:pos x="81" y="170"/>
              </a:cxn>
              <a:cxn ang="0">
                <a:pos x="32" y="182"/>
              </a:cxn>
              <a:cxn ang="0">
                <a:pos x="7" y="218"/>
              </a:cxn>
              <a:cxn ang="0">
                <a:pos x="5" y="221"/>
              </a:cxn>
              <a:cxn ang="0">
                <a:pos x="6" y="221"/>
              </a:cxn>
              <a:cxn ang="0">
                <a:pos x="5" y="239"/>
              </a:cxn>
              <a:cxn ang="0">
                <a:pos x="23" y="241"/>
              </a:cxn>
              <a:cxn ang="0">
                <a:pos x="30" y="231"/>
              </a:cxn>
              <a:cxn ang="0">
                <a:pos x="31" y="231"/>
              </a:cxn>
              <a:cxn ang="0">
                <a:pos x="70" y="194"/>
              </a:cxn>
              <a:cxn ang="0">
                <a:pos x="73" y="211"/>
              </a:cxn>
              <a:cxn ang="0">
                <a:pos x="89" y="255"/>
              </a:cxn>
              <a:cxn ang="0">
                <a:pos x="129" y="261"/>
              </a:cxn>
              <a:cxn ang="0">
                <a:pos x="176" y="225"/>
              </a:cxn>
              <a:cxn ang="0">
                <a:pos x="178" y="219"/>
              </a:cxn>
              <a:cxn ang="0">
                <a:pos x="174" y="209"/>
              </a:cxn>
              <a:cxn ang="0">
                <a:pos x="170" y="205"/>
              </a:cxn>
              <a:cxn ang="0">
                <a:pos x="168" y="202"/>
              </a:cxn>
              <a:cxn ang="0">
                <a:pos x="170" y="200"/>
              </a:cxn>
              <a:cxn ang="0">
                <a:pos x="280" y="89"/>
              </a:cxn>
              <a:cxn ang="0">
                <a:pos x="284" y="76"/>
              </a:cxn>
              <a:cxn ang="0">
                <a:pos x="293" y="38"/>
              </a:cxn>
              <a:cxn ang="0">
                <a:pos x="319" y="27"/>
              </a:cxn>
              <a:cxn ang="0">
                <a:pos x="346" y="38"/>
              </a:cxn>
              <a:cxn ang="0">
                <a:pos x="357" y="65"/>
              </a:cxn>
              <a:cxn ang="0">
                <a:pos x="346" y="91"/>
              </a:cxn>
              <a:cxn ang="0">
                <a:pos x="308" y="100"/>
              </a:cxn>
              <a:cxn ang="0">
                <a:pos x="295" y="104"/>
              </a:cxn>
              <a:cxn ang="0">
                <a:pos x="193" y="206"/>
              </a:cxn>
              <a:cxn ang="0">
                <a:pos x="193" y="225"/>
              </a:cxn>
              <a:cxn ang="0">
                <a:pos x="212" y="225"/>
              </a:cxn>
              <a:cxn ang="0">
                <a:pos x="308" y="128"/>
              </a:cxn>
              <a:cxn ang="0">
                <a:pos x="365" y="110"/>
              </a:cxn>
              <a:cxn ang="0">
                <a:pos x="383" y="65"/>
              </a:cxn>
              <a:cxn ang="0">
                <a:pos x="365" y="19"/>
              </a:cxn>
              <a:cxn ang="0">
                <a:pos x="319" y="0"/>
              </a:cxn>
              <a:cxn ang="0">
                <a:pos x="274" y="19"/>
              </a:cxn>
            </a:cxnLst>
            <a:rect l="0" t="0" r="r" b="b"/>
            <a:pathLst>
              <a:path w="383" h="264">
                <a:moveTo>
                  <a:pt x="274" y="19"/>
                </a:moveTo>
                <a:cubicBezTo>
                  <a:pt x="262" y="31"/>
                  <a:pt x="255" y="48"/>
                  <a:pt x="255" y="64"/>
                </a:cubicBezTo>
                <a:cubicBezTo>
                  <a:pt x="255" y="68"/>
                  <a:pt x="256" y="72"/>
                  <a:pt x="256" y="75"/>
                </a:cubicBezTo>
                <a:cubicBezTo>
                  <a:pt x="247" y="85"/>
                  <a:pt x="151" y="181"/>
                  <a:pt x="151" y="181"/>
                </a:cubicBezTo>
                <a:cubicBezTo>
                  <a:pt x="145" y="187"/>
                  <a:pt x="142" y="194"/>
                  <a:pt x="142" y="202"/>
                </a:cubicBezTo>
                <a:cubicBezTo>
                  <a:pt x="142" y="202"/>
                  <a:pt x="142" y="202"/>
                  <a:pt x="142" y="202"/>
                </a:cubicBezTo>
                <a:cubicBezTo>
                  <a:pt x="142" y="209"/>
                  <a:pt x="144" y="215"/>
                  <a:pt x="147" y="220"/>
                </a:cubicBezTo>
                <a:cubicBezTo>
                  <a:pt x="141" y="227"/>
                  <a:pt x="132" y="232"/>
                  <a:pt x="123" y="235"/>
                </a:cubicBezTo>
                <a:cubicBezTo>
                  <a:pt x="117" y="236"/>
                  <a:pt x="110" y="237"/>
                  <a:pt x="104" y="233"/>
                </a:cubicBezTo>
                <a:cubicBezTo>
                  <a:pt x="99" y="229"/>
                  <a:pt x="99" y="225"/>
                  <a:pt x="100" y="213"/>
                </a:cubicBezTo>
                <a:cubicBezTo>
                  <a:pt x="101" y="201"/>
                  <a:pt x="103" y="180"/>
                  <a:pt x="81" y="170"/>
                </a:cubicBezTo>
                <a:cubicBezTo>
                  <a:pt x="71" y="165"/>
                  <a:pt x="52" y="161"/>
                  <a:pt x="32" y="182"/>
                </a:cubicBezTo>
                <a:cubicBezTo>
                  <a:pt x="21" y="193"/>
                  <a:pt x="13" y="208"/>
                  <a:pt x="7" y="218"/>
                </a:cubicBezTo>
                <a:cubicBezTo>
                  <a:pt x="6" y="221"/>
                  <a:pt x="5" y="221"/>
                  <a:pt x="5" y="221"/>
                </a:cubicBezTo>
                <a:cubicBezTo>
                  <a:pt x="6" y="221"/>
                  <a:pt x="6" y="221"/>
                  <a:pt x="6" y="221"/>
                </a:cubicBezTo>
                <a:cubicBezTo>
                  <a:pt x="1" y="225"/>
                  <a:pt x="0" y="234"/>
                  <a:pt x="5" y="239"/>
                </a:cubicBezTo>
                <a:cubicBezTo>
                  <a:pt x="10" y="245"/>
                  <a:pt x="17" y="246"/>
                  <a:pt x="23" y="241"/>
                </a:cubicBezTo>
                <a:cubicBezTo>
                  <a:pt x="25" y="239"/>
                  <a:pt x="28" y="236"/>
                  <a:pt x="30" y="231"/>
                </a:cubicBezTo>
                <a:cubicBezTo>
                  <a:pt x="30" y="231"/>
                  <a:pt x="31" y="231"/>
                  <a:pt x="31" y="231"/>
                </a:cubicBezTo>
                <a:cubicBezTo>
                  <a:pt x="45" y="204"/>
                  <a:pt x="57" y="188"/>
                  <a:pt x="70" y="194"/>
                </a:cubicBezTo>
                <a:cubicBezTo>
                  <a:pt x="74" y="196"/>
                  <a:pt x="75" y="197"/>
                  <a:pt x="73" y="211"/>
                </a:cubicBezTo>
                <a:cubicBezTo>
                  <a:pt x="72" y="223"/>
                  <a:pt x="71" y="242"/>
                  <a:pt x="89" y="255"/>
                </a:cubicBezTo>
                <a:cubicBezTo>
                  <a:pt x="100" y="262"/>
                  <a:pt x="114" y="264"/>
                  <a:pt x="129" y="261"/>
                </a:cubicBezTo>
                <a:cubicBezTo>
                  <a:pt x="148" y="256"/>
                  <a:pt x="167" y="242"/>
                  <a:pt x="176" y="225"/>
                </a:cubicBezTo>
                <a:cubicBezTo>
                  <a:pt x="176" y="225"/>
                  <a:pt x="178" y="219"/>
                  <a:pt x="178" y="219"/>
                </a:cubicBezTo>
                <a:cubicBezTo>
                  <a:pt x="179" y="215"/>
                  <a:pt x="177" y="213"/>
                  <a:pt x="174" y="209"/>
                </a:cubicBezTo>
                <a:cubicBezTo>
                  <a:pt x="170" y="205"/>
                  <a:pt x="170" y="205"/>
                  <a:pt x="170" y="205"/>
                </a:cubicBezTo>
                <a:cubicBezTo>
                  <a:pt x="169" y="204"/>
                  <a:pt x="168" y="203"/>
                  <a:pt x="168" y="202"/>
                </a:cubicBezTo>
                <a:cubicBezTo>
                  <a:pt x="168" y="202"/>
                  <a:pt x="169" y="201"/>
                  <a:pt x="170" y="200"/>
                </a:cubicBezTo>
                <a:cubicBezTo>
                  <a:pt x="280" y="89"/>
                  <a:pt x="280" y="89"/>
                  <a:pt x="280" y="89"/>
                </a:cubicBezTo>
                <a:cubicBezTo>
                  <a:pt x="284" y="86"/>
                  <a:pt x="285" y="80"/>
                  <a:pt x="284" y="76"/>
                </a:cubicBezTo>
                <a:cubicBezTo>
                  <a:pt x="279" y="62"/>
                  <a:pt x="283" y="48"/>
                  <a:pt x="293" y="38"/>
                </a:cubicBezTo>
                <a:cubicBezTo>
                  <a:pt x="300" y="31"/>
                  <a:pt x="309" y="27"/>
                  <a:pt x="319" y="27"/>
                </a:cubicBezTo>
                <a:cubicBezTo>
                  <a:pt x="329" y="27"/>
                  <a:pt x="339" y="31"/>
                  <a:pt x="346" y="38"/>
                </a:cubicBezTo>
                <a:cubicBezTo>
                  <a:pt x="353" y="45"/>
                  <a:pt x="357" y="55"/>
                  <a:pt x="357" y="65"/>
                </a:cubicBezTo>
                <a:cubicBezTo>
                  <a:pt x="357" y="75"/>
                  <a:pt x="353" y="84"/>
                  <a:pt x="346" y="91"/>
                </a:cubicBezTo>
                <a:cubicBezTo>
                  <a:pt x="336" y="101"/>
                  <a:pt x="322" y="104"/>
                  <a:pt x="308" y="100"/>
                </a:cubicBezTo>
                <a:cubicBezTo>
                  <a:pt x="304" y="99"/>
                  <a:pt x="298" y="100"/>
                  <a:pt x="295" y="104"/>
                </a:cubicBezTo>
                <a:cubicBezTo>
                  <a:pt x="193" y="206"/>
                  <a:pt x="193" y="206"/>
                  <a:pt x="193" y="206"/>
                </a:cubicBezTo>
                <a:cubicBezTo>
                  <a:pt x="188" y="211"/>
                  <a:pt x="188" y="219"/>
                  <a:pt x="193" y="225"/>
                </a:cubicBezTo>
                <a:cubicBezTo>
                  <a:pt x="198" y="230"/>
                  <a:pt x="206" y="230"/>
                  <a:pt x="212" y="225"/>
                </a:cubicBezTo>
                <a:cubicBezTo>
                  <a:pt x="212" y="225"/>
                  <a:pt x="299" y="137"/>
                  <a:pt x="308" y="128"/>
                </a:cubicBezTo>
                <a:cubicBezTo>
                  <a:pt x="329" y="131"/>
                  <a:pt x="350" y="125"/>
                  <a:pt x="365" y="110"/>
                </a:cubicBezTo>
                <a:cubicBezTo>
                  <a:pt x="377" y="98"/>
                  <a:pt x="383" y="82"/>
                  <a:pt x="383" y="65"/>
                </a:cubicBezTo>
                <a:cubicBezTo>
                  <a:pt x="383" y="47"/>
                  <a:pt x="377" y="31"/>
                  <a:pt x="365" y="19"/>
                </a:cubicBezTo>
                <a:cubicBezTo>
                  <a:pt x="353" y="7"/>
                  <a:pt x="336" y="0"/>
                  <a:pt x="319" y="0"/>
                </a:cubicBezTo>
                <a:cubicBezTo>
                  <a:pt x="302" y="0"/>
                  <a:pt x="286" y="7"/>
                  <a:pt x="274" y="19"/>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96" name="Freeform 457"/>
          <p:cNvSpPr>
            <a:spLocks noEditPoints="1"/>
          </p:cNvSpPr>
          <p:nvPr userDrawn="1"/>
        </p:nvSpPr>
        <p:spPr bwMode="auto">
          <a:xfrm>
            <a:off x="7596362" y="2405289"/>
            <a:ext cx="336550" cy="473075"/>
          </a:xfrm>
          <a:custGeom>
            <a:avLst/>
            <a:gdLst/>
            <a:ahLst/>
            <a:cxnLst>
              <a:cxn ang="0">
                <a:pos x="139" y="0"/>
              </a:cxn>
              <a:cxn ang="0">
                <a:pos x="60" y="45"/>
              </a:cxn>
              <a:cxn ang="0">
                <a:pos x="66" y="70"/>
              </a:cxn>
              <a:cxn ang="0">
                <a:pos x="200" y="115"/>
              </a:cxn>
              <a:cxn ang="0">
                <a:pos x="146" y="150"/>
              </a:cxn>
              <a:cxn ang="0">
                <a:pos x="141" y="194"/>
              </a:cxn>
              <a:cxn ang="0">
                <a:pos x="141" y="220"/>
              </a:cxn>
              <a:cxn ang="0">
                <a:pos x="146" y="259"/>
              </a:cxn>
              <a:cxn ang="0">
                <a:pos x="128" y="272"/>
              </a:cxn>
              <a:cxn ang="0">
                <a:pos x="146" y="286"/>
              </a:cxn>
              <a:cxn ang="0">
                <a:pos x="65" y="322"/>
              </a:cxn>
              <a:cxn ang="0">
                <a:pos x="26" y="322"/>
              </a:cxn>
              <a:cxn ang="0">
                <a:pos x="46" y="255"/>
              </a:cxn>
              <a:cxn ang="0">
                <a:pos x="78" y="248"/>
              </a:cxn>
              <a:cxn ang="0">
                <a:pos x="125" y="210"/>
              </a:cxn>
              <a:cxn ang="0">
                <a:pos x="68" y="223"/>
              </a:cxn>
              <a:cxn ang="0">
                <a:pos x="45" y="228"/>
              </a:cxn>
              <a:cxn ang="0">
                <a:pos x="26" y="158"/>
              </a:cxn>
              <a:cxn ang="0">
                <a:pos x="78" y="123"/>
              </a:cxn>
              <a:cxn ang="0">
                <a:pos x="65" y="84"/>
              </a:cxn>
              <a:cxn ang="0">
                <a:pos x="52" y="115"/>
              </a:cxn>
              <a:cxn ang="0">
                <a:pos x="0" y="150"/>
              </a:cxn>
              <a:cxn ang="0">
                <a:pos x="13" y="348"/>
              </a:cxn>
              <a:cxn ang="0">
                <a:pos x="52" y="406"/>
              </a:cxn>
              <a:cxn ang="0">
                <a:pos x="213" y="419"/>
              </a:cxn>
              <a:cxn ang="0">
                <a:pos x="226" y="309"/>
              </a:cxn>
              <a:cxn ang="0">
                <a:pos x="222" y="300"/>
              </a:cxn>
              <a:cxn ang="0">
                <a:pos x="221" y="298"/>
              </a:cxn>
              <a:cxn ang="0">
                <a:pos x="220" y="298"/>
              </a:cxn>
              <a:cxn ang="0">
                <a:pos x="219" y="297"/>
              </a:cxn>
              <a:cxn ang="0">
                <a:pos x="218" y="297"/>
              </a:cxn>
              <a:cxn ang="0">
                <a:pos x="216" y="296"/>
              </a:cxn>
              <a:cxn ang="0">
                <a:pos x="214" y="296"/>
              </a:cxn>
              <a:cxn ang="0">
                <a:pos x="212" y="296"/>
              </a:cxn>
              <a:cxn ang="0">
                <a:pos x="207" y="297"/>
              </a:cxn>
              <a:cxn ang="0">
                <a:pos x="207" y="297"/>
              </a:cxn>
              <a:cxn ang="0">
                <a:pos x="206" y="297"/>
              </a:cxn>
              <a:cxn ang="0">
                <a:pos x="173" y="158"/>
              </a:cxn>
              <a:cxn ang="0">
                <a:pos x="226" y="123"/>
              </a:cxn>
              <a:cxn ang="0">
                <a:pos x="213" y="43"/>
              </a:cxn>
              <a:cxn ang="0">
                <a:pos x="143" y="27"/>
              </a:cxn>
              <a:cxn ang="0">
                <a:pos x="272" y="357"/>
              </a:cxn>
              <a:cxn ang="0">
                <a:pos x="237" y="392"/>
              </a:cxn>
              <a:cxn ang="0">
                <a:pos x="292" y="377"/>
              </a:cxn>
              <a:cxn ang="0">
                <a:pos x="298" y="14"/>
              </a:cxn>
              <a:cxn ang="0">
                <a:pos x="78" y="348"/>
              </a:cxn>
              <a:cxn ang="0">
                <a:pos x="164" y="348"/>
              </a:cxn>
              <a:cxn ang="0">
                <a:pos x="200" y="331"/>
              </a:cxn>
              <a:cxn ang="0">
                <a:pos x="78" y="392"/>
              </a:cxn>
            </a:cxnLst>
            <a:rect l="0" t="0" r="r" b="b"/>
            <a:pathLst>
              <a:path w="298" h="419">
                <a:moveTo>
                  <a:pt x="285" y="0"/>
                </a:moveTo>
                <a:cubicBezTo>
                  <a:pt x="139" y="0"/>
                  <a:pt x="139" y="0"/>
                  <a:pt x="139" y="0"/>
                </a:cubicBezTo>
                <a:cubicBezTo>
                  <a:pt x="137" y="0"/>
                  <a:pt x="134" y="1"/>
                  <a:pt x="132" y="2"/>
                </a:cubicBezTo>
                <a:cubicBezTo>
                  <a:pt x="60" y="45"/>
                  <a:pt x="60" y="45"/>
                  <a:pt x="60" y="45"/>
                </a:cubicBezTo>
                <a:cubicBezTo>
                  <a:pt x="54" y="48"/>
                  <a:pt x="52" y="54"/>
                  <a:pt x="53" y="60"/>
                </a:cubicBezTo>
                <a:cubicBezTo>
                  <a:pt x="55" y="66"/>
                  <a:pt x="60" y="70"/>
                  <a:pt x="66" y="70"/>
                </a:cubicBezTo>
                <a:cubicBezTo>
                  <a:pt x="200" y="70"/>
                  <a:pt x="200" y="70"/>
                  <a:pt x="200" y="70"/>
                </a:cubicBezTo>
                <a:cubicBezTo>
                  <a:pt x="200" y="115"/>
                  <a:pt x="200" y="115"/>
                  <a:pt x="200" y="115"/>
                </a:cubicBezTo>
                <a:cubicBezTo>
                  <a:pt x="154" y="138"/>
                  <a:pt x="154" y="138"/>
                  <a:pt x="154" y="138"/>
                </a:cubicBezTo>
                <a:cubicBezTo>
                  <a:pt x="149" y="140"/>
                  <a:pt x="146" y="144"/>
                  <a:pt x="146" y="150"/>
                </a:cubicBezTo>
                <a:cubicBezTo>
                  <a:pt x="146" y="194"/>
                  <a:pt x="146" y="194"/>
                  <a:pt x="146" y="194"/>
                </a:cubicBezTo>
                <a:cubicBezTo>
                  <a:pt x="141" y="194"/>
                  <a:pt x="141" y="194"/>
                  <a:pt x="141" y="194"/>
                </a:cubicBezTo>
                <a:cubicBezTo>
                  <a:pt x="134" y="194"/>
                  <a:pt x="128" y="200"/>
                  <a:pt x="128" y="207"/>
                </a:cubicBezTo>
                <a:cubicBezTo>
                  <a:pt x="128" y="214"/>
                  <a:pt x="134" y="220"/>
                  <a:pt x="141" y="220"/>
                </a:cubicBezTo>
                <a:cubicBezTo>
                  <a:pt x="146" y="220"/>
                  <a:pt x="146" y="220"/>
                  <a:pt x="146" y="220"/>
                </a:cubicBezTo>
                <a:cubicBezTo>
                  <a:pt x="146" y="259"/>
                  <a:pt x="146" y="259"/>
                  <a:pt x="146" y="259"/>
                </a:cubicBezTo>
                <a:cubicBezTo>
                  <a:pt x="141" y="259"/>
                  <a:pt x="141" y="259"/>
                  <a:pt x="141" y="259"/>
                </a:cubicBezTo>
                <a:cubicBezTo>
                  <a:pt x="134" y="259"/>
                  <a:pt x="128" y="265"/>
                  <a:pt x="128" y="272"/>
                </a:cubicBezTo>
                <a:cubicBezTo>
                  <a:pt x="128" y="280"/>
                  <a:pt x="134" y="286"/>
                  <a:pt x="141" y="286"/>
                </a:cubicBezTo>
                <a:cubicBezTo>
                  <a:pt x="146" y="286"/>
                  <a:pt x="146" y="286"/>
                  <a:pt x="146" y="286"/>
                </a:cubicBezTo>
                <a:cubicBezTo>
                  <a:pt x="146" y="322"/>
                  <a:pt x="146" y="322"/>
                  <a:pt x="146" y="322"/>
                </a:cubicBezTo>
                <a:cubicBezTo>
                  <a:pt x="65" y="322"/>
                  <a:pt x="65" y="322"/>
                  <a:pt x="65" y="322"/>
                </a:cubicBezTo>
                <a:cubicBezTo>
                  <a:pt x="54" y="322"/>
                  <a:pt x="54" y="322"/>
                  <a:pt x="54" y="322"/>
                </a:cubicBezTo>
                <a:cubicBezTo>
                  <a:pt x="26" y="322"/>
                  <a:pt x="26" y="322"/>
                  <a:pt x="26" y="322"/>
                </a:cubicBezTo>
                <a:cubicBezTo>
                  <a:pt x="26" y="255"/>
                  <a:pt x="26" y="255"/>
                  <a:pt x="26" y="255"/>
                </a:cubicBezTo>
                <a:cubicBezTo>
                  <a:pt x="46" y="255"/>
                  <a:pt x="46" y="255"/>
                  <a:pt x="46" y="255"/>
                </a:cubicBezTo>
                <a:cubicBezTo>
                  <a:pt x="49" y="259"/>
                  <a:pt x="54" y="261"/>
                  <a:pt x="60" y="261"/>
                </a:cubicBezTo>
                <a:cubicBezTo>
                  <a:pt x="68" y="261"/>
                  <a:pt x="75" y="255"/>
                  <a:pt x="78" y="248"/>
                </a:cubicBezTo>
                <a:cubicBezTo>
                  <a:pt x="119" y="228"/>
                  <a:pt x="119" y="228"/>
                  <a:pt x="119" y="228"/>
                </a:cubicBezTo>
                <a:cubicBezTo>
                  <a:pt x="125" y="225"/>
                  <a:pt x="128" y="217"/>
                  <a:pt x="125" y="210"/>
                </a:cubicBezTo>
                <a:cubicBezTo>
                  <a:pt x="122" y="204"/>
                  <a:pt x="114" y="201"/>
                  <a:pt x="107" y="204"/>
                </a:cubicBezTo>
                <a:cubicBezTo>
                  <a:pt x="68" y="223"/>
                  <a:pt x="68" y="223"/>
                  <a:pt x="68" y="223"/>
                </a:cubicBezTo>
                <a:cubicBezTo>
                  <a:pt x="65" y="222"/>
                  <a:pt x="62" y="221"/>
                  <a:pt x="60" y="221"/>
                </a:cubicBezTo>
                <a:cubicBezTo>
                  <a:pt x="54" y="221"/>
                  <a:pt x="48" y="224"/>
                  <a:pt x="45" y="228"/>
                </a:cubicBezTo>
                <a:cubicBezTo>
                  <a:pt x="26" y="228"/>
                  <a:pt x="26" y="228"/>
                  <a:pt x="26" y="228"/>
                </a:cubicBezTo>
                <a:cubicBezTo>
                  <a:pt x="26" y="158"/>
                  <a:pt x="26" y="158"/>
                  <a:pt x="26" y="158"/>
                </a:cubicBezTo>
                <a:cubicBezTo>
                  <a:pt x="71" y="135"/>
                  <a:pt x="71" y="135"/>
                  <a:pt x="71" y="135"/>
                </a:cubicBezTo>
                <a:cubicBezTo>
                  <a:pt x="76" y="133"/>
                  <a:pt x="78" y="128"/>
                  <a:pt x="78" y="123"/>
                </a:cubicBezTo>
                <a:cubicBezTo>
                  <a:pt x="78" y="98"/>
                  <a:pt x="78" y="98"/>
                  <a:pt x="78" y="98"/>
                </a:cubicBezTo>
                <a:cubicBezTo>
                  <a:pt x="78" y="90"/>
                  <a:pt x="72" y="84"/>
                  <a:pt x="65" y="84"/>
                </a:cubicBezTo>
                <a:cubicBezTo>
                  <a:pt x="58" y="84"/>
                  <a:pt x="52" y="90"/>
                  <a:pt x="52" y="98"/>
                </a:cubicBezTo>
                <a:cubicBezTo>
                  <a:pt x="52" y="115"/>
                  <a:pt x="52" y="115"/>
                  <a:pt x="52" y="115"/>
                </a:cubicBezTo>
                <a:cubicBezTo>
                  <a:pt x="7" y="138"/>
                  <a:pt x="7" y="138"/>
                  <a:pt x="7" y="138"/>
                </a:cubicBezTo>
                <a:cubicBezTo>
                  <a:pt x="2" y="140"/>
                  <a:pt x="0" y="144"/>
                  <a:pt x="0" y="150"/>
                </a:cubicBezTo>
                <a:cubicBezTo>
                  <a:pt x="0" y="335"/>
                  <a:pt x="0" y="335"/>
                  <a:pt x="0" y="335"/>
                </a:cubicBezTo>
                <a:cubicBezTo>
                  <a:pt x="0" y="342"/>
                  <a:pt x="6" y="348"/>
                  <a:pt x="13" y="348"/>
                </a:cubicBezTo>
                <a:cubicBezTo>
                  <a:pt x="52" y="348"/>
                  <a:pt x="52" y="348"/>
                  <a:pt x="52" y="348"/>
                </a:cubicBezTo>
                <a:cubicBezTo>
                  <a:pt x="52" y="406"/>
                  <a:pt x="52" y="406"/>
                  <a:pt x="52" y="406"/>
                </a:cubicBezTo>
                <a:cubicBezTo>
                  <a:pt x="52" y="413"/>
                  <a:pt x="58" y="419"/>
                  <a:pt x="65" y="419"/>
                </a:cubicBezTo>
                <a:cubicBezTo>
                  <a:pt x="213" y="419"/>
                  <a:pt x="213" y="419"/>
                  <a:pt x="213" y="419"/>
                </a:cubicBezTo>
                <a:cubicBezTo>
                  <a:pt x="220" y="419"/>
                  <a:pt x="226" y="413"/>
                  <a:pt x="226" y="406"/>
                </a:cubicBezTo>
                <a:cubicBezTo>
                  <a:pt x="226" y="309"/>
                  <a:pt x="226" y="309"/>
                  <a:pt x="226" y="309"/>
                </a:cubicBezTo>
                <a:cubicBezTo>
                  <a:pt x="226" y="306"/>
                  <a:pt x="225" y="302"/>
                  <a:pt x="223" y="300"/>
                </a:cubicBezTo>
                <a:cubicBezTo>
                  <a:pt x="223" y="300"/>
                  <a:pt x="222" y="300"/>
                  <a:pt x="222" y="300"/>
                </a:cubicBezTo>
                <a:cubicBezTo>
                  <a:pt x="222" y="299"/>
                  <a:pt x="222" y="299"/>
                  <a:pt x="221" y="299"/>
                </a:cubicBezTo>
                <a:cubicBezTo>
                  <a:pt x="221" y="299"/>
                  <a:pt x="221" y="298"/>
                  <a:pt x="221" y="298"/>
                </a:cubicBezTo>
                <a:cubicBezTo>
                  <a:pt x="220" y="298"/>
                  <a:pt x="220" y="298"/>
                  <a:pt x="220" y="298"/>
                </a:cubicBezTo>
                <a:cubicBezTo>
                  <a:pt x="220" y="298"/>
                  <a:pt x="220" y="298"/>
                  <a:pt x="220" y="298"/>
                </a:cubicBezTo>
                <a:cubicBezTo>
                  <a:pt x="220" y="298"/>
                  <a:pt x="220" y="298"/>
                  <a:pt x="220" y="298"/>
                </a:cubicBezTo>
                <a:cubicBezTo>
                  <a:pt x="220" y="298"/>
                  <a:pt x="219" y="297"/>
                  <a:pt x="219" y="297"/>
                </a:cubicBezTo>
                <a:cubicBezTo>
                  <a:pt x="219" y="297"/>
                  <a:pt x="219" y="297"/>
                  <a:pt x="219" y="297"/>
                </a:cubicBezTo>
                <a:cubicBezTo>
                  <a:pt x="218" y="297"/>
                  <a:pt x="218" y="297"/>
                  <a:pt x="218" y="297"/>
                </a:cubicBezTo>
                <a:cubicBezTo>
                  <a:pt x="218" y="297"/>
                  <a:pt x="217" y="296"/>
                  <a:pt x="217" y="296"/>
                </a:cubicBezTo>
                <a:cubicBezTo>
                  <a:pt x="217" y="296"/>
                  <a:pt x="216" y="296"/>
                  <a:pt x="216" y="296"/>
                </a:cubicBezTo>
                <a:cubicBezTo>
                  <a:pt x="216" y="296"/>
                  <a:pt x="216" y="296"/>
                  <a:pt x="215" y="296"/>
                </a:cubicBezTo>
                <a:cubicBezTo>
                  <a:pt x="215" y="296"/>
                  <a:pt x="215" y="296"/>
                  <a:pt x="214" y="296"/>
                </a:cubicBezTo>
                <a:cubicBezTo>
                  <a:pt x="214" y="296"/>
                  <a:pt x="214" y="296"/>
                  <a:pt x="214" y="296"/>
                </a:cubicBezTo>
                <a:cubicBezTo>
                  <a:pt x="213" y="296"/>
                  <a:pt x="213" y="296"/>
                  <a:pt x="212" y="296"/>
                </a:cubicBezTo>
                <a:cubicBezTo>
                  <a:pt x="212" y="296"/>
                  <a:pt x="212" y="296"/>
                  <a:pt x="212" y="296"/>
                </a:cubicBezTo>
                <a:cubicBezTo>
                  <a:pt x="210" y="296"/>
                  <a:pt x="209" y="296"/>
                  <a:pt x="207" y="297"/>
                </a:cubicBezTo>
                <a:cubicBezTo>
                  <a:pt x="207" y="297"/>
                  <a:pt x="207" y="297"/>
                  <a:pt x="207" y="297"/>
                </a:cubicBezTo>
                <a:cubicBezTo>
                  <a:pt x="207" y="297"/>
                  <a:pt x="207" y="297"/>
                  <a:pt x="207" y="297"/>
                </a:cubicBezTo>
                <a:cubicBezTo>
                  <a:pt x="207" y="297"/>
                  <a:pt x="207" y="297"/>
                  <a:pt x="207" y="297"/>
                </a:cubicBezTo>
                <a:cubicBezTo>
                  <a:pt x="206" y="297"/>
                  <a:pt x="206" y="297"/>
                  <a:pt x="206" y="297"/>
                </a:cubicBezTo>
                <a:cubicBezTo>
                  <a:pt x="173" y="314"/>
                  <a:pt x="173" y="314"/>
                  <a:pt x="173" y="314"/>
                </a:cubicBezTo>
                <a:cubicBezTo>
                  <a:pt x="173" y="158"/>
                  <a:pt x="173" y="158"/>
                  <a:pt x="173" y="158"/>
                </a:cubicBezTo>
                <a:cubicBezTo>
                  <a:pt x="219" y="135"/>
                  <a:pt x="219" y="135"/>
                  <a:pt x="219" y="135"/>
                </a:cubicBezTo>
                <a:cubicBezTo>
                  <a:pt x="223" y="133"/>
                  <a:pt x="226" y="128"/>
                  <a:pt x="226" y="123"/>
                </a:cubicBezTo>
                <a:cubicBezTo>
                  <a:pt x="226" y="56"/>
                  <a:pt x="226" y="56"/>
                  <a:pt x="226" y="56"/>
                </a:cubicBezTo>
                <a:cubicBezTo>
                  <a:pt x="226" y="49"/>
                  <a:pt x="220" y="43"/>
                  <a:pt x="213" y="43"/>
                </a:cubicBezTo>
                <a:cubicBezTo>
                  <a:pt x="115" y="43"/>
                  <a:pt x="115" y="43"/>
                  <a:pt x="115" y="43"/>
                </a:cubicBezTo>
                <a:cubicBezTo>
                  <a:pt x="143" y="27"/>
                  <a:pt x="143" y="27"/>
                  <a:pt x="143" y="27"/>
                </a:cubicBezTo>
                <a:cubicBezTo>
                  <a:pt x="272" y="27"/>
                  <a:pt x="272" y="27"/>
                  <a:pt x="272" y="27"/>
                </a:cubicBezTo>
                <a:cubicBezTo>
                  <a:pt x="272" y="357"/>
                  <a:pt x="272" y="357"/>
                  <a:pt x="272" y="357"/>
                </a:cubicBezTo>
                <a:cubicBezTo>
                  <a:pt x="242" y="374"/>
                  <a:pt x="242" y="374"/>
                  <a:pt x="242" y="374"/>
                </a:cubicBezTo>
                <a:cubicBezTo>
                  <a:pt x="235" y="378"/>
                  <a:pt x="233" y="386"/>
                  <a:pt x="237" y="392"/>
                </a:cubicBezTo>
                <a:cubicBezTo>
                  <a:pt x="240" y="399"/>
                  <a:pt x="249" y="401"/>
                  <a:pt x="255" y="397"/>
                </a:cubicBezTo>
                <a:cubicBezTo>
                  <a:pt x="292" y="377"/>
                  <a:pt x="292" y="377"/>
                  <a:pt x="292" y="377"/>
                </a:cubicBezTo>
                <a:cubicBezTo>
                  <a:pt x="296" y="374"/>
                  <a:pt x="298" y="370"/>
                  <a:pt x="298" y="365"/>
                </a:cubicBezTo>
                <a:cubicBezTo>
                  <a:pt x="298" y="14"/>
                  <a:pt x="298" y="14"/>
                  <a:pt x="298" y="14"/>
                </a:cubicBezTo>
                <a:cubicBezTo>
                  <a:pt x="298" y="6"/>
                  <a:pt x="292" y="0"/>
                  <a:pt x="285" y="0"/>
                </a:cubicBezTo>
                <a:close/>
                <a:moveTo>
                  <a:pt x="78" y="348"/>
                </a:moveTo>
                <a:cubicBezTo>
                  <a:pt x="157" y="348"/>
                  <a:pt x="157" y="348"/>
                  <a:pt x="157" y="348"/>
                </a:cubicBezTo>
                <a:cubicBezTo>
                  <a:pt x="159" y="349"/>
                  <a:pt x="162" y="349"/>
                  <a:pt x="164" y="348"/>
                </a:cubicBezTo>
                <a:cubicBezTo>
                  <a:pt x="166" y="348"/>
                  <a:pt x="168" y="347"/>
                  <a:pt x="169" y="346"/>
                </a:cubicBezTo>
                <a:cubicBezTo>
                  <a:pt x="200" y="331"/>
                  <a:pt x="200" y="331"/>
                  <a:pt x="200" y="331"/>
                </a:cubicBezTo>
                <a:cubicBezTo>
                  <a:pt x="200" y="392"/>
                  <a:pt x="200" y="392"/>
                  <a:pt x="200" y="392"/>
                </a:cubicBezTo>
                <a:cubicBezTo>
                  <a:pt x="78" y="392"/>
                  <a:pt x="78" y="392"/>
                  <a:pt x="78" y="392"/>
                </a:cubicBezTo>
                <a:lnTo>
                  <a:pt x="78" y="348"/>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97" name="Freeform 465"/>
          <p:cNvSpPr>
            <a:spLocks/>
          </p:cNvSpPr>
          <p:nvPr userDrawn="1"/>
        </p:nvSpPr>
        <p:spPr bwMode="auto">
          <a:xfrm>
            <a:off x="7504290" y="1737426"/>
            <a:ext cx="520700" cy="533401"/>
          </a:xfrm>
          <a:custGeom>
            <a:avLst/>
            <a:gdLst/>
            <a:ahLst/>
            <a:cxnLst>
              <a:cxn ang="0">
                <a:pos x="28" y="296"/>
              </a:cxn>
              <a:cxn ang="0">
                <a:pos x="28" y="301"/>
              </a:cxn>
              <a:cxn ang="0">
                <a:pos x="16" y="330"/>
              </a:cxn>
              <a:cxn ang="0">
                <a:pos x="2" y="394"/>
              </a:cxn>
              <a:cxn ang="0">
                <a:pos x="160" y="426"/>
              </a:cxn>
              <a:cxn ang="0">
                <a:pos x="168" y="415"/>
              </a:cxn>
              <a:cxn ang="0">
                <a:pos x="271" y="373"/>
              </a:cxn>
              <a:cxn ang="0">
                <a:pos x="377" y="462"/>
              </a:cxn>
              <a:cxn ang="0">
                <a:pos x="274" y="346"/>
              </a:cxn>
              <a:cxn ang="0">
                <a:pos x="160" y="385"/>
              </a:cxn>
              <a:cxn ang="0">
                <a:pos x="148" y="398"/>
              </a:cxn>
              <a:cxn ang="0">
                <a:pos x="138" y="409"/>
              </a:cxn>
              <a:cxn ang="0">
                <a:pos x="28" y="389"/>
              </a:cxn>
              <a:cxn ang="0">
                <a:pos x="38" y="345"/>
              </a:cxn>
              <a:cxn ang="0">
                <a:pos x="61" y="319"/>
              </a:cxn>
              <a:cxn ang="0">
                <a:pos x="54" y="296"/>
              </a:cxn>
              <a:cxn ang="0">
                <a:pos x="375" y="34"/>
              </a:cxn>
              <a:cxn ang="0">
                <a:pos x="430" y="73"/>
              </a:cxn>
              <a:cxn ang="0">
                <a:pos x="331" y="150"/>
              </a:cxn>
              <a:cxn ang="0">
                <a:pos x="305" y="101"/>
              </a:cxn>
              <a:cxn ang="0">
                <a:pos x="300" y="99"/>
              </a:cxn>
              <a:cxn ang="0">
                <a:pos x="134" y="235"/>
              </a:cxn>
              <a:cxn ang="0">
                <a:pos x="135" y="242"/>
              </a:cxn>
              <a:cxn ang="0">
                <a:pos x="141" y="249"/>
              </a:cxn>
              <a:cxn ang="0">
                <a:pos x="177" y="278"/>
              </a:cxn>
              <a:cxn ang="0">
                <a:pos x="79" y="355"/>
              </a:cxn>
              <a:cxn ang="0">
                <a:pos x="58" y="345"/>
              </a:cxn>
              <a:cxn ang="0">
                <a:pos x="57" y="371"/>
              </a:cxn>
              <a:cxn ang="0">
                <a:pos x="59" y="374"/>
              </a:cxn>
              <a:cxn ang="0">
                <a:pos x="158" y="353"/>
              </a:cxn>
              <a:cxn ang="0">
                <a:pos x="201" y="263"/>
              </a:cxn>
              <a:cxn ang="0">
                <a:pos x="198" y="259"/>
              </a:cxn>
              <a:cxn ang="0">
                <a:pos x="161" y="231"/>
              </a:cxn>
              <a:cxn ang="0">
                <a:pos x="290" y="126"/>
              </a:cxn>
              <a:cxn ang="0">
                <a:pos x="311" y="167"/>
              </a:cxn>
              <a:cxn ang="0">
                <a:pos x="314" y="171"/>
              </a:cxn>
              <a:cxn ang="0">
                <a:pos x="453" y="58"/>
              </a:cxn>
              <a:cxn ang="0">
                <a:pos x="453" y="57"/>
              </a:cxn>
              <a:cxn ang="0">
                <a:pos x="385" y="9"/>
              </a:cxn>
              <a:cxn ang="0">
                <a:pos x="384" y="8"/>
              </a:cxn>
              <a:cxn ang="0">
                <a:pos x="158" y="95"/>
              </a:cxn>
            </a:cxnLst>
            <a:rect l="0" t="0" r="r" b="b"/>
            <a:pathLst>
              <a:path w="463" h="474">
                <a:moveTo>
                  <a:pt x="158" y="95"/>
                </a:moveTo>
                <a:cubicBezTo>
                  <a:pt x="83" y="157"/>
                  <a:pt x="33" y="233"/>
                  <a:pt x="28" y="296"/>
                </a:cubicBezTo>
                <a:cubicBezTo>
                  <a:pt x="28" y="296"/>
                  <a:pt x="27" y="296"/>
                  <a:pt x="27" y="297"/>
                </a:cubicBezTo>
                <a:cubicBezTo>
                  <a:pt x="27" y="298"/>
                  <a:pt x="28" y="299"/>
                  <a:pt x="28" y="301"/>
                </a:cubicBezTo>
                <a:cubicBezTo>
                  <a:pt x="28" y="301"/>
                  <a:pt x="30" y="307"/>
                  <a:pt x="32" y="314"/>
                </a:cubicBezTo>
                <a:cubicBezTo>
                  <a:pt x="25" y="320"/>
                  <a:pt x="18" y="328"/>
                  <a:pt x="16" y="330"/>
                </a:cubicBezTo>
                <a:cubicBezTo>
                  <a:pt x="6" y="345"/>
                  <a:pt x="0" y="362"/>
                  <a:pt x="0" y="379"/>
                </a:cubicBezTo>
                <a:cubicBezTo>
                  <a:pt x="0" y="384"/>
                  <a:pt x="1" y="389"/>
                  <a:pt x="2" y="394"/>
                </a:cubicBezTo>
                <a:cubicBezTo>
                  <a:pt x="6" y="416"/>
                  <a:pt x="18" y="435"/>
                  <a:pt x="36" y="448"/>
                </a:cubicBezTo>
                <a:cubicBezTo>
                  <a:pt x="74" y="474"/>
                  <a:pt x="131" y="464"/>
                  <a:pt x="160" y="426"/>
                </a:cubicBezTo>
                <a:cubicBezTo>
                  <a:pt x="160" y="426"/>
                  <a:pt x="160" y="426"/>
                  <a:pt x="159" y="426"/>
                </a:cubicBezTo>
                <a:cubicBezTo>
                  <a:pt x="159" y="426"/>
                  <a:pt x="168" y="415"/>
                  <a:pt x="168" y="415"/>
                </a:cubicBezTo>
                <a:cubicBezTo>
                  <a:pt x="169" y="415"/>
                  <a:pt x="179" y="403"/>
                  <a:pt x="180" y="403"/>
                </a:cubicBezTo>
                <a:cubicBezTo>
                  <a:pt x="201" y="380"/>
                  <a:pt x="236" y="369"/>
                  <a:pt x="271" y="373"/>
                </a:cubicBezTo>
                <a:cubicBezTo>
                  <a:pt x="319" y="379"/>
                  <a:pt x="358" y="411"/>
                  <a:pt x="362" y="450"/>
                </a:cubicBezTo>
                <a:cubicBezTo>
                  <a:pt x="363" y="457"/>
                  <a:pt x="370" y="463"/>
                  <a:pt x="377" y="462"/>
                </a:cubicBezTo>
                <a:cubicBezTo>
                  <a:pt x="385" y="461"/>
                  <a:pt x="390" y="454"/>
                  <a:pt x="389" y="447"/>
                </a:cubicBezTo>
                <a:cubicBezTo>
                  <a:pt x="383" y="396"/>
                  <a:pt x="334" y="353"/>
                  <a:pt x="274" y="346"/>
                </a:cubicBezTo>
                <a:cubicBezTo>
                  <a:pt x="230" y="341"/>
                  <a:pt x="187" y="355"/>
                  <a:pt x="160" y="384"/>
                </a:cubicBezTo>
                <a:cubicBezTo>
                  <a:pt x="160" y="385"/>
                  <a:pt x="160" y="385"/>
                  <a:pt x="160" y="385"/>
                </a:cubicBezTo>
                <a:cubicBezTo>
                  <a:pt x="148" y="397"/>
                  <a:pt x="148" y="397"/>
                  <a:pt x="148" y="397"/>
                </a:cubicBezTo>
                <a:cubicBezTo>
                  <a:pt x="148" y="398"/>
                  <a:pt x="148" y="398"/>
                  <a:pt x="148" y="398"/>
                </a:cubicBezTo>
                <a:cubicBezTo>
                  <a:pt x="139" y="409"/>
                  <a:pt x="139" y="409"/>
                  <a:pt x="139" y="409"/>
                </a:cubicBezTo>
                <a:cubicBezTo>
                  <a:pt x="139" y="409"/>
                  <a:pt x="139" y="409"/>
                  <a:pt x="138" y="409"/>
                </a:cubicBezTo>
                <a:cubicBezTo>
                  <a:pt x="116" y="439"/>
                  <a:pt x="75" y="442"/>
                  <a:pt x="52" y="426"/>
                </a:cubicBezTo>
                <a:cubicBezTo>
                  <a:pt x="39" y="417"/>
                  <a:pt x="31" y="404"/>
                  <a:pt x="28" y="389"/>
                </a:cubicBezTo>
                <a:cubicBezTo>
                  <a:pt x="27" y="386"/>
                  <a:pt x="27" y="383"/>
                  <a:pt x="27" y="379"/>
                </a:cubicBezTo>
                <a:cubicBezTo>
                  <a:pt x="27" y="367"/>
                  <a:pt x="31" y="356"/>
                  <a:pt x="38" y="345"/>
                </a:cubicBezTo>
                <a:cubicBezTo>
                  <a:pt x="40" y="343"/>
                  <a:pt x="49" y="334"/>
                  <a:pt x="54" y="331"/>
                </a:cubicBezTo>
                <a:cubicBezTo>
                  <a:pt x="58" y="329"/>
                  <a:pt x="61" y="324"/>
                  <a:pt x="61" y="319"/>
                </a:cubicBezTo>
                <a:cubicBezTo>
                  <a:pt x="61" y="318"/>
                  <a:pt x="61" y="317"/>
                  <a:pt x="60" y="315"/>
                </a:cubicBezTo>
                <a:cubicBezTo>
                  <a:pt x="60" y="315"/>
                  <a:pt x="56" y="300"/>
                  <a:pt x="54" y="296"/>
                </a:cubicBezTo>
                <a:cubicBezTo>
                  <a:pt x="60" y="241"/>
                  <a:pt x="107" y="171"/>
                  <a:pt x="175" y="116"/>
                </a:cubicBezTo>
                <a:cubicBezTo>
                  <a:pt x="243" y="61"/>
                  <a:pt x="321" y="29"/>
                  <a:pt x="375" y="34"/>
                </a:cubicBezTo>
                <a:cubicBezTo>
                  <a:pt x="395" y="43"/>
                  <a:pt x="413" y="55"/>
                  <a:pt x="429" y="70"/>
                </a:cubicBezTo>
                <a:cubicBezTo>
                  <a:pt x="429" y="71"/>
                  <a:pt x="430" y="72"/>
                  <a:pt x="430" y="73"/>
                </a:cubicBezTo>
                <a:cubicBezTo>
                  <a:pt x="430" y="85"/>
                  <a:pt x="419" y="106"/>
                  <a:pt x="394" y="127"/>
                </a:cubicBezTo>
                <a:cubicBezTo>
                  <a:pt x="367" y="148"/>
                  <a:pt x="342" y="154"/>
                  <a:pt x="331" y="150"/>
                </a:cubicBezTo>
                <a:cubicBezTo>
                  <a:pt x="324" y="137"/>
                  <a:pt x="318" y="123"/>
                  <a:pt x="313" y="109"/>
                </a:cubicBezTo>
                <a:cubicBezTo>
                  <a:pt x="312" y="105"/>
                  <a:pt x="308" y="102"/>
                  <a:pt x="305" y="101"/>
                </a:cubicBezTo>
                <a:cubicBezTo>
                  <a:pt x="303" y="100"/>
                  <a:pt x="303" y="100"/>
                  <a:pt x="303" y="100"/>
                </a:cubicBezTo>
                <a:cubicBezTo>
                  <a:pt x="302" y="100"/>
                  <a:pt x="301" y="100"/>
                  <a:pt x="300" y="99"/>
                </a:cubicBezTo>
                <a:cubicBezTo>
                  <a:pt x="268" y="96"/>
                  <a:pt x="226" y="111"/>
                  <a:pt x="193" y="138"/>
                </a:cubicBezTo>
                <a:cubicBezTo>
                  <a:pt x="160" y="165"/>
                  <a:pt x="136" y="203"/>
                  <a:pt x="134" y="235"/>
                </a:cubicBezTo>
                <a:cubicBezTo>
                  <a:pt x="134" y="235"/>
                  <a:pt x="134" y="236"/>
                  <a:pt x="134" y="236"/>
                </a:cubicBezTo>
                <a:cubicBezTo>
                  <a:pt x="134" y="238"/>
                  <a:pt x="134" y="240"/>
                  <a:pt x="135" y="242"/>
                </a:cubicBezTo>
                <a:cubicBezTo>
                  <a:pt x="136" y="243"/>
                  <a:pt x="136" y="243"/>
                  <a:pt x="136" y="243"/>
                </a:cubicBezTo>
                <a:cubicBezTo>
                  <a:pt x="137" y="246"/>
                  <a:pt x="139" y="248"/>
                  <a:pt x="141" y="249"/>
                </a:cubicBezTo>
                <a:cubicBezTo>
                  <a:pt x="154" y="257"/>
                  <a:pt x="166" y="266"/>
                  <a:pt x="177" y="276"/>
                </a:cubicBezTo>
                <a:cubicBezTo>
                  <a:pt x="177" y="276"/>
                  <a:pt x="177" y="277"/>
                  <a:pt x="177" y="278"/>
                </a:cubicBezTo>
                <a:cubicBezTo>
                  <a:pt x="177" y="290"/>
                  <a:pt x="166" y="312"/>
                  <a:pt x="141" y="332"/>
                </a:cubicBezTo>
                <a:cubicBezTo>
                  <a:pt x="114" y="354"/>
                  <a:pt x="89" y="359"/>
                  <a:pt x="79" y="355"/>
                </a:cubicBezTo>
                <a:cubicBezTo>
                  <a:pt x="77" y="353"/>
                  <a:pt x="76" y="351"/>
                  <a:pt x="76" y="351"/>
                </a:cubicBezTo>
                <a:cubicBezTo>
                  <a:pt x="72" y="344"/>
                  <a:pt x="64" y="342"/>
                  <a:pt x="58" y="345"/>
                </a:cubicBezTo>
                <a:cubicBezTo>
                  <a:pt x="51" y="349"/>
                  <a:pt x="49" y="357"/>
                  <a:pt x="53" y="363"/>
                </a:cubicBezTo>
                <a:cubicBezTo>
                  <a:pt x="57" y="371"/>
                  <a:pt x="57" y="371"/>
                  <a:pt x="57" y="371"/>
                </a:cubicBezTo>
                <a:cubicBezTo>
                  <a:pt x="57" y="372"/>
                  <a:pt x="58" y="372"/>
                  <a:pt x="58" y="373"/>
                </a:cubicBezTo>
                <a:cubicBezTo>
                  <a:pt x="59" y="374"/>
                  <a:pt x="59" y="374"/>
                  <a:pt x="59" y="374"/>
                </a:cubicBezTo>
                <a:cubicBezTo>
                  <a:pt x="60" y="375"/>
                  <a:pt x="61" y="376"/>
                  <a:pt x="62" y="376"/>
                </a:cubicBezTo>
                <a:cubicBezTo>
                  <a:pt x="83" y="391"/>
                  <a:pt x="123" y="381"/>
                  <a:pt x="158" y="353"/>
                </a:cubicBezTo>
                <a:cubicBezTo>
                  <a:pt x="187" y="330"/>
                  <a:pt x="203" y="301"/>
                  <a:pt x="203" y="278"/>
                </a:cubicBezTo>
                <a:cubicBezTo>
                  <a:pt x="203" y="273"/>
                  <a:pt x="203" y="268"/>
                  <a:pt x="201" y="263"/>
                </a:cubicBezTo>
                <a:cubicBezTo>
                  <a:pt x="200" y="262"/>
                  <a:pt x="200" y="261"/>
                  <a:pt x="199" y="260"/>
                </a:cubicBezTo>
                <a:cubicBezTo>
                  <a:pt x="198" y="259"/>
                  <a:pt x="198" y="259"/>
                  <a:pt x="198" y="259"/>
                </a:cubicBezTo>
                <a:cubicBezTo>
                  <a:pt x="198" y="259"/>
                  <a:pt x="197" y="258"/>
                  <a:pt x="197" y="258"/>
                </a:cubicBezTo>
                <a:cubicBezTo>
                  <a:pt x="186" y="248"/>
                  <a:pt x="174" y="239"/>
                  <a:pt x="161" y="231"/>
                </a:cubicBezTo>
                <a:cubicBezTo>
                  <a:pt x="165" y="210"/>
                  <a:pt x="181" y="182"/>
                  <a:pt x="210" y="159"/>
                </a:cubicBezTo>
                <a:cubicBezTo>
                  <a:pt x="239" y="135"/>
                  <a:pt x="270" y="126"/>
                  <a:pt x="290" y="126"/>
                </a:cubicBezTo>
                <a:cubicBezTo>
                  <a:pt x="296" y="140"/>
                  <a:pt x="302" y="153"/>
                  <a:pt x="310" y="166"/>
                </a:cubicBezTo>
                <a:cubicBezTo>
                  <a:pt x="310" y="166"/>
                  <a:pt x="311" y="167"/>
                  <a:pt x="311" y="167"/>
                </a:cubicBezTo>
                <a:cubicBezTo>
                  <a:pt x="312" y="168"/>
                  <a:pt x="312" y="168"/>
                  <a:pt x="312" y="168"/>
                </a:cubicBezTo>
                <a:cubicBezTo>
                  <a:pt x="312" y="169"/>
                  <a:pt x="313" y="170"/>
                  <a:pt x="314" y="171"/>
                </a:cubicBezTo>
                <a:cubicBezTo>
                  <a:pt x="336" y="185"/>
                  <a:pt x="376" y="176"/>
                  <a:pt x="411" y="147"/>
                </a:cubicBezTo>
                <a:cubicBezTo>
                  <a:pt x="446" y="119"/>
                  <a:pt x="463" y="82"/>
                  <a:pt x="453" y="58"/>
                </a:cubicBezTo>
                <a:cubicBezTo>
                  <a:pt x="453" y="58"/>
                  <a:pt x="453" y="58"/>
                  <a:pt x="453" y="58"/>
                </a:cubicBezTo>
                <a:cubicBezTo>
                  <a:pt x="453" y="57"/>
                  <a:pt x="453" y="57"/>
                  <a:pt x="453" y="57"/>
                </a:cubicBezTo>
                <a:cubicBezTo>
                  <a:pt x="452" y="55"/>
                  <a:pt x="451" y="53"/>
                  <a:pt x="450" y="52"/>
                </a:cubicBezTo>
                <a:cubicBezTo>
                  <a:pt x="430" y="34"/>
                  <a:pt x="409" y="20"/>
                  <a:pt x="385" y="9"/>
                </a:cubicBezTo>
                <a:cubicBezTo>
                  <a:pt x="385" y="9"/>
                  <a:pt x="385" y="9"/>
                  <a:pt x="384" y="9"/>
                </a:cubicBezTo>
                <a:cubicBezTo>
                  <a:pt x="384" y="8"/>
                  <a:pt x="384" y="8"/>
                  <a:pt x="384" y="8"/>
                </a:cubicBezTo>
                <a:cubicBezTo>
                  <a:pt x="383" y="8"/>
                  <a:pt x="382" y="8"/>
                  <a:pt x="380" y="8"/>
                </a:cubicBezTo>
                <a:cubicBezTo>
                  <a:pt x="319" y="0"/>
                  <a:pt x="234" y="34"/>
                  <a:pt x="158" y="9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98" name="Freeform 481"/>
          <p:cNvSpPr>
            <a:spLocks/>
          </p:cNvSpPr>
          <p:nvPr userDrawn="1"/>
        </p:nvSpPr>
        <p:spPr bwMode="auto">
          <a:xfrm>
            <a:off x="7524928" y="2999701"/>
            <a:ext cx="479424" cy="496887"/>
          </a:xfrm>
          <a:custGeom>
            <a:avLst/>
            <a:gdLst/>
            <a:ahLst/>
            <a:cxnLst>
              <a:cxn ang="0">
                <a:pos x="366" y="146"/>
              </a:cxn>
              <a:cxn ang="0">
                <a:pos x="276" y="107"/>
              </a:cxn>
              <a:cxn ang="0">
                <a:pos x="185" y="144"/>
              </a:cxn>
              <a:cxn ang="0">
                <a:pos x="153" y="218"/>
              </a:cxn>
              <a:cxn ang="0">
                <a:pos x="183" y="292"/>
              </a:cxn>
              <a:cxn ang="0">
                <a:pos x="244" y="318"/>
              </a:cxn>
              <a:cxn ang="0">
                <a:pos x="306" y="294"/>
              </a:cxn>
              <a:cxn ang="0">
                <a:pos x="307" y="192"/>
              </a:cxn>
              <a:cxn ang="0">
                <a:pos x="265" y="174"/>
              </a:cxn>
              <a:cxn ang="0">
                <a:pos x="222" y="191"/>
              </a:cxn>
              <a:cxn ang="0">
                <a:pos x="221" y="263"/>
              </a:cxn>
              <a:cxn ang="0">
                <a:pos x="240" y="263"/>
              </a:cxn>
              <a:cxn ang="0">
                <a:pos x="240" y="244"/>
              </a:cxn>
              <a:cxn ang="0">
                <a:pos x="241" y="210"/>
              </a:cxn>
              <a:cxn ang="0">
                <a:pos x="264" y="200"/>
              </a:cxn>
              <a:cxn ang="0">
                <a:pos x="288" y="210"/>
              </a:cxn>
              <a:cxn ang="0">
                <a:pos x="287" y="275"/>
              </a:cxn>
              <a:cxn ang="0">
                <a:pos x="245" y="292"/>
              </a:cxn>
              <a:cxn ang="0">
                <a:pos x="202" y="274"/>
              </a:cxn>
              <a:cxn ang="0">
                <a:pos x="180" y="218"/>
              </a:cxn>
              <a:cxn ang="0">
                <a:pos x="204" y="163"/>
              </a:cxn>
              <a:cxn ang="0">
                <a:pos x="276" y="134"/>
              </a:cxn>
              <a:cxn ang="0">
                <a:pos x="347" y="164"/>
              </a:cxn>
              <a:cxn ang="0">
                <a:pos x="345" y="348"/>
              </a:cxn>
              <a:cxn ang="0">
                <a:pos x="110" y="346"/>
              </a:cxn>
              <a:cxn ang="0">
                <a:pos x="112" y="49"/>
              </a:cxn>
              <a:cxn ang="0">
                <a:pos x="112" y="113"/>
              </a:cxn>
              <a:cxn ang="0">
                <a:pos x="125" y="127"/>
              </a:cxn>
              <a:cxn ang="0">
                <a:pos x="138" y="113"/>
              </a:cxn>
              <a:cxn ang="0">
                <a:pos x="138" y="14"/>
              </a:cxn>
              <a:cxn ang="0">
                <a:pos x="134" y="4"/>
              </a:cxn>
              <a:cxn ang="0">
                <a:pos x="125" y="0"/>
              </a:cxn>
              <a:cxn ang="0">
                <a:pos x="25" y="0"/>
              </a:cxn>
              <a:cxn ang="0">
                <a:pos x="12" y="14"/>
              </a:cxn>
              <a:cxn ang="0">
                <a:pos x="25" y="27"/>
              </a:cxn>
              <a:cxn ang="0">
                <a:pos x="97" y="27"/>
              </a:cxn>
              <a:cxn ang="0">
                <a:pos x="95" y="28"/>
              </a:cxn>
              <a:cxn ang="0">
                <a:pos x="91" y="364"/>
              </a:cxn>
              <a:cxn ang="0">
                <a:pos x="364" y="367"/>
              </a:cxn>
              <a:cxn ang="0">
                <a:pos x="366" y="146"/>
              </a:cxn>
            </a:cxnLst>
            <a:rect l="0" t="0" r="r" b="b"/>
            <a:pathLst>
              <a:path w="427" h="442">
                <a:moveTo>
                  <a:pt x="366" y="146"/>
                </a:moveTo>
                <a:cubicBezTo>
                  <a:pt x="342" y="121"/>
                  <a:pt x="310" y="107"/>
                  <a:pt x="276" y="107"/>
                </a:cubicBezTo>
                <a:cubicBezTo>
                  <a:pt x="242" y="107"/>
                  <a:pt x="209" y="120"/>
                  <a:pt x="185" y="144"/>
                </a:cubicBezTo>
                <a:cubicBezTo>
                  <a:pt x="165" y="163"/>
                  <a:pt x="154" y="189"/>
                  <a:pt x="153" y="218"/>
                </a:cubicBezTo>
                <a:cubicBezTo>
                  <a:pt x="153" y="246"/>
                  <a:pt x="164" y="272"/>
                  <a:pt x="183" y="292"/>
                </a:cubicBezTo>
                <a:cubicBezTo>
                  <a:pt x="200" y="309"/>
                  <a:pt x="221" y="318"/>
                  <a:pt x="244" y="318"/>
                </a:cubicBezTo>
                <a:cubicBezTo>
                  <a:pt x="268" y="319"/>
                  <a:pt x="289" y="310"/>
                  <a:pt x="306" y="294"/>
                </a:cubicBezTo>
                <a:cubicBezTo>
                  <a:pt x="335" y="266"/>
                  <a:pt x="335" y="220"/>
                  <a:pt x="307" y="192"/>
                </a:cubicBezTo>
                <a:cubicBezTo>
                  <a:pt x="296" y="180"/>
                  <a:pt x="281" y="174"/>
                  <a:pt x="265" y="174"/>
                </a:cubicBezTo>
                <a:cubicBezTo>
                  <a:pt x="249" y="173"/>
                  <a:pt x="233" y="179"/>
                  <a:pt x="222" y="191"/>
                </a:cubicBezTo>
                <a:cubicBezTo>
                  <a:pt x="202" y="210"/>
                  <a:pt x="201" y="243"/>
                  <a:pt x="221" y="263"/>
                </a:cubicBezTo>
                <a:cubicBezTo>
                  <a:pt x="226" y="268"/>
                  <a:pt x="235" y="268"/>
                  <a:pt x="240" y="263"/>
                </a:cubicBezTo>
                <a:cubicBezTo>
                  <a:pt x="245" y="258"/>
                  <a:pt x="245" y="249"/>
                  <a:pt x="240" y="244"/>
                </a:cubicBezTo>
                <a:cubicBezTo>
                  <a:pt x="231" y="235"/>
                  <a:pt x="231" y="219"/>
                  <a:pt x="241" y="210"/>
                </a:cubicBezTo>
                <a:cubicBezTo>
                  <a:pt x="247" y="203"/>
                  <a:pt x="255" y="200"/>
                  <a:pt x="264" y="200"/>
                </a:cubicBezTo>
                <a:cubicBezTo>
                  <a:pt x="273" y="200"/>
                  <a:pt x="282" y="204"/>
                  <a:pt x="288" y="210"/>
                </a:cubicBezTo>
                <a:cubicBezTo>
                  <a:pt x="306" y="228"/>
                  <a:pt x="305" y="257"/>
                  <a:pt x="287" y="275"/>
                </a:cubicBezTo>
                <a:cubicBezTo>
                  <a:pt x="276" y="286"/>
                  <a:pt x="261" y="292"/>
                  <a:pt x="245" y="292"/>
                </a:cubicBezTo>
                <a:cubicBezTo>
                  <a:pt x="229" y="292"/>
                  <a:pt x="214" y="285"/>
                  <a:pt x="202" y="274"/>
                </a:cubicBezTo>
                <a:cubicBezTo>
                  <a:pt x="188" y="259"/>
                  <a:pt x="180" y="239"/>
                  <a:pt x="180" y="218"/>
                </a:cubicBezTo>
                <a:cubicBezTo>
                  <a:pt x="180" y="197"/>
                  <a:pt x="189" y="177"/>
                  <a:pt x="204" y="163"/>
                </a:cubicBezTo>
                <a:cubicBezTo>
                  <a:pt x="223" y="144"/>
                  <a:pt x="249" y="133"/>
                  <a:pt x="276" y="134"/>
                </a:cubicBezTo>
                <a:cubicBezTo>
                  <a:pt x="303" y="134"/>
                  <a:pt x="328" y="145"/>
                  <a:pt x="347" y="164"/>
                </a:cubicBezTo>
                <a:cubicBezTo>
                  <a:pt x="397" y="216"/>
                  <a:pt x="396" y="298"/>
                  <a:pt x="345" y="348"/>
                </a:cubicBezTo>
                <a:cubicBezTo>
                  <a:pt x="280" y="412"/>
                  <a:pt x="174" y="411"/>
                  <a:pt x="110" y="346"/>
                </a:cubicBezTo>
                <a:cubicBezTo>
                  <a:pt x="30" y="263"/>
                  <a:pt x="30" y="131"/>
                  <a:pt x="112" y="49"/>
                </a:cubicBezTo>
                <a:cubicBezTo>
                  <a:pt x="112" y="77"/>
                  <a:pt x="112" y="113"/>
                  <a:pt x="112" y="113"/>
                </a:cubicBezTo>
                <a:cubicBezTo>
                  <a:pt x="112" y="121"/>
                  <a:pt x="117" y="127"/>
                  <a:pt x="125" y="127"/>
                </a:cubicBezTo>
                <a:cubicBezTo>
                  <a:pt x="132" y="127"/>
                  <a:pt x="138" y="121"/>
                  <a:pt x="138" y="113"/>
                </a:cubicBezTo>
                <a:cubicBezTo>
                  <a:pt x="138" y="14"/>
                  <a:pt x="138" y="14"/>
                  <a:pt x="138" y="14"/>
                </a:cubicBezTo>
                <a:cubicBezTo>
                  <a:pt x="138" y="10"/>
                  <a:pt x="137" y="7"/>
                  <a:pt x="134" y="4"/>
                </a:cubicBezTo>
                <a:cubicBezTo>
                  <a:pt x="132" y="2"/>
                  <a:pt x="128" y="0"/>
                  <a:pt x="125" y="0"/>
                </a:cubicBezTo>
                <a:cubicBezTo>
                  <a:pt x="25" y="0"/>
                  <a:pt x="25" y="0"/>
                  <a:pt x="25" y="0"/>
                </a:cubicBezTo>
                <a:cubicBezTo>
                  <a:pt x="18" y="0"/>
                  <a:pt x="12" y="6"/>
                  <a:pt x="12" y="14"/>
                </a:cubicBezTo>
                <a:cubicBezTo>
                  <a:pt x="12" y="21"/>
                  <a:pt x="18" y="27"/>
                  <a:pt x="25" y="27"/>
                </a:cubicBezTo>
                <a:cubicBezTo>
                  <a:pt x="25" y="27"/>
                  <a:pt x="69" y="27"/>
                  <a:pt x="97" y="27"/>
                </a:cubicBezTo>
                <a:cubicBezTo>
                  <a:pt x="96" y="27"/>
                  <a:pt x="95" y="28"/>
                  <a:pt x="95" y="28"/>
                </a:cubicBezTo>
                <a:cubicBezTo>
                  <a:pt x="1" y="120"/>
                  <a:pt x="0" y="271"/>
                  <a:pt x="91" y="364"/>
                </a:cubicBezTo>
                <a:cubicBezTo>
                  <a:pt x="165" y="440"/>
                  <a:pt x="288" y="442"/>
                  <a:pt x="364" y="367"/>
                </a:cubicBezTo>
                <a:cubicBezTo>
                  <a:pt x="426" y="307"/>
                  <a:pt x="427" y="207"/>
                  <a:pt x="366" y="14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99" name="Freeform 537"/>
          <p:cNvSpPr>
            <a:spLocks noEditPoints="1"/>
          </p:cNvSpPr>
          <p:nvPr userDrawn="1"/>
        </p:nvSpPr>
        <p:spPr bwMode="auto">
          <a:xfrm>
            <a:off x="7582872" y="3681876"/>
            <a:ext cx="363539" cy="509587"/>
          </a:xfrm>
          <a:custGeom>
            <a:avLst/>
            <a:gdLst/>
            <a:ahLst/>
            <a:cxnLst>
              <a:cxn ang="0">
                <a:pos x="299" y="124"/>
              </a:cxn>
              <a:cxn ang="0">
                <a:pos x="262" y="196"/>
              </a:cxn>
              <a:cxn ang="0">
                <a:pos x="230" y="147"/>
              </a:cxn>
              <a:cxn ang="0">
                <a:pos x="162" y="84"/>
              </a:cxn>
              <a:cxn ang="0">
                <a:pos x="95" y="147"/>
              </a:cxn>
              <a:cxn ang="0">
                <a:pos x="34" y="211"/>
              </a:cxn>
              <a:cxn ang="0">
                <a:pos x="28" y="82"/>
              </a:cxn>
              <a:cxn ang="0">
                <a:pos x="163" y="27"/>
              </a:cxn>
              <a:cxn ang="0">
                <a:pos x="284" y="72"/>
              </a:cxn>
              <a:cxn ang="0">
                <a:pos x="318" y="83"/>
              </a:cxn>
              <a:cxn ang="0">
                <a:pos x="311" y="58"/>
              </a:cxn>
              <a:cxn ang="0">
                <a:pos x="163" y="0"/>
              </a:cxn>
              <a:cxn ang="0">
                <a:pos x="14" y="58"/>
              </a:cxn>
              <a:cxn ang="0">
                <a:pos x="2" y="76"/>
              </a:cxn>
              <a:cxn ang="0">
                <a:pos x="97" y="425"/>
              </a:cxn>
              <a:cxn ang="0">
                <a:pos x="163" y="453"/>
              </a:cxn>
              <a:cxn ang="0">
                <a:pos x="228" y="425"/>
              </a:cxn>
              <a:cxn ang="0">
                <a:pos x="315" y="117"/>
              </a:cxn>
              <a:cxn ang="0">
                <a:pos x="149" y="264"/>
              </a:cxn>
              <a:cxn ang="0">
                <a:pos x="95" y="227"/>
              </a:cxn>
              <a:cxn ang="0">
                <a:pos x="185" y="227"/>
              </a:cxn>
              <a:cxn ang="0">
                <a:pos x="176" y="227"/>
              </a:cxn>
              <a:cxn ang="0">
                <a:pos x="181" y="195"/>
              </a:cxn>
              <a:cxn ang="0">
                <a:pos x="149" y="200"/>
              </a:cxn>
              <a:cxn ang="0">
                <a:pos x="149" y="191"/>
              </a:cxn>
              <a:cxn ang="0">
                <a:pos x="149" y="235"/>
              </a:cxn>
              <a:cxn ang="0">
                <a:pos x="149" y="227"/>
              </a:cxn>
              <a:cxn ang="0">
                <a:pos x="214" y="227"/>
              </a:cxn>
              <a:cxn ang="0">
                <a:pos x="176" y="279"/>
              </a:cxn>
              <a:cxn ang="0">
                <a:pos x="230" y="200"/>
              </a:cxn>
              <a:cxn ang="0">
                <a:pos x="176" y="163"/>
              </a:cxn>
              <a:cxn ang="0">
                <a:pos x="113" y="167"/>
              </a:cxn>
              <a:cxn ang="0">
                <a:pos x="125" y="176"/>
              </a:cxn>
              <a:cxn ang="0">
                <a:pos x="113" y="167"/>
              </a:cxn>
              <a:cxn ang="0">
                <a:pos x="183" y="423"/>
              </a:cxn>
              <a:cxn ang="0">
                <a:pos x="162" y="427"/>
              </a:cxn>
              <a:cxn ang="0">
                <a:pos x="39" y="257"/>
              </a:cxn>
              <a:cxn ang="0">
                <a:pos x="67" y="227"/>
              </a:cxn>
              <a:cxn ang="0">
                <a:pos x="149" y="329"/>
              </a:cxn>
              <a:cxn ang="0">
                <a:pos x="176" y="306"/>
              </a:cxn>
              <a:cxn ang="0">
                <a:pos x="266" y="227"/>
              </a:cxn>
              <a:cxn ang="0">
                <a:pos x="291" y="198"/>
              </a:cxn>
            </a:cxnLst>
            <a:rect l="0" t="0" r="r" b="b"/>
            <a:pathLst>
              <a:path w="324" h="454">
                <a:moveTo>
                  <a:pt x="315" y="117"/>
                </a:moveTo>
                <a:cubicBezTo>
                  <a:pt x="315" y="117"/>
                  <a:pt x="315" y="117"/>
                  <a:pt x="315" y="117"/>
                </a:cubicBezTo>
                <a:cubicBezTo>
                  <a:pt x="309" y="115"/>
                  <a:pt x="302" y="118"/>
                  <a:pt x="299" y="124"/>
                </a:cubicBezTo>
                <a:cubicBezTo>
                  <a:pt x="299" y="124"/>
                  <a:pt x="297" y="129"/>
                  <a:pt x="293" y="136"/>
                </a:cubicBezTo>
                <a:cubicBezTo>
                  <a:pt x="288" y="147"/>
                  <a:pt x="280" y="163"/>
                  <a:pt x="272" y="177"/>
                </a:cubicBezTo>
                <a:cubicBezTo>
                  <a:pt x="268" y="184"/>
                  <a:pt x="265" y="191"/>
                  <a:pt x="262" y="196"/>
                </a:cubicBezTo>
                <a:cubicBezTo>
                  <a:pt x="261" y="197"/>
                  <a:pt x="260" y="199"/>
                  <a:pt x="259" y="200"/>
                </a:cubicBezTo>
                <a:cubicBezTo>
                  <a:pt x="257" y="200"/>
                  <a:pt x="257" y="200"/>
                  <a:pt x="257" y="200"/>
                </a:cubicBezTo>
                <a:cubicBezTo>
                  <a:pt x="254" y="180"/>
                  <a:pt x="244" y="161"/>
                  <a:pt x="230" y="147"/>
                </a:cubicBezTo>
                <a:cubicBezTo>
                  <a:pt x="215" y="134"/>
                  <a:pt x="197" y="124"/>
                  <a:pt x="176" y="121"/>
                </a:cubicBezTo>
                <a:cubicBezTo>
                  <a:pt x="176" y="98"/>
                  <a:pt x="176" y="98"/>
                  <a:pt x="176" y="98"/>
                </a:cubicBezTo>
                <a:cubicBezTo>
                  <a:pt x="176" y="90"/>
                  <a:pt x="170" y="84"/>
                  <a:pt x="162" y="84"/>
                </a:cubicBezTo>
                <a:cubicBezTo>
                  <a:pt x="155" y="84"/>
                  <a:pt x="149" y="90"/>
                  <a:pt x="149" y="98"/>
                </a:cubicBezTo>
                <a:cubicBezTo>
                  <a:pt x="149" y="121"/>
                  <a:pt x="149" y="121"/>
                  <a:pt x="149" y="121"/>
                </a:cubicBezTo>
                <a:cubicBezTo>
                  <a:pt x="128" y="124"/>
                  <a:pt x="109" y="134"/>
                  <a:pt x="95" y="147"/>
                </a:cubicBezTo>
                <a:cubicBezTo>
                  <a:pt x="80" y="161"/>
                  <a:pt x="71" y="180"/>
                  <a:pt x="67" y="200"/>
                </a:cubicBezTo>
                <a:cubicBezTo>
                  <a:pt x="47" y="200"/>
                  <a:pt x="47" y="200"/>
                  <a:pt x="47" y="200"/>
                </a:cubicBezTo>
                <a:cubicBezTo>
                  <a:pt x="40" y="200"/>
                  <a:pt x="35" y="205"/>
                  <a:pt x="34" y="211"/>
                </a:cubicBezTo>
                <a:cubicBezTo>
                  <a:pt x="30" y="174"/>
                  <a:pt x="27" y="128"/>
                  <a:pt x="27" y="100"/>
                </a:cubicBezTo>
                <a:cubicBezTo>
                  <a:pt x="27" y="93"/>
                  <a:pt x="27" y="88"/>
                  <a:pt x="27" y="84"/>
                </a:cubicBezTo>
                <a:cubicBezTo>
                  <a:pt x="28" y="83"/>
                  <a:pt x="28" y="82"/>
                  <a:pt x="28" y="82"/>
                </a:cubicBezTo>
                <a:cubicBezTo>
                  <a:pt x="28" y="81"/>
                  <a:pt x="29" y="80"/>
                  <a:pt x="30" y="79"/>
                </a:cubicBezTo>
                <a:cubicBezTo>
                  <a:pt x="40" y="72"/>
                  <a:pt x="60" y="59"/>
                  <a:pt x="84" y="47"/>
                </a:cubicBezTo>
                <a:cubicBezTo>
                  <a:pt x="109" y="36"/>
                  <a:pt x="137" y="27"/>
                  <a:pt x="163" y="27"/>
                </a:cubicBezTo>
                <a:cubicBezTo>
                  <a:pt x="163" y="27"/>
                  <a:pt x="163" y="27"/>
                  <a:pt x="163" y="27"/>
                </a:cubicBezTo>
                <a:cubicBezTo>
                  <a:pt x="192" y="27"/>
                  <a:pt x="225" y="39"/>
                  <a:pt x="251" y="52"/>
                </a:cubicBezTo>
                <a:cubicBezTo>
                  <a:pt x="264" y="59"/>
                  <a:pt x="276" y="66"/>
                  <a:pt x="284" y="72"/>
                </a:cubicBezTo>
                <a:cubicBezTo>
                  <a:pt x="289" y="75"/>
                  <a:pt x="292" y="77"/>
                  <a:pt x="295" y="79"/>
                </a:cubicBezTo>
                <a:cubicBezTo>
                  <a:pt x="297" y="81"/>
                  <a:pt x="299" y="83"/>
                  <a:pt x="299" y="83"/>
                </a:cubicBezTo>
                <a:cubicBezTo>
                  <a:pt x="305" y="88"/>
                  <a:pt x="313" y="88"/>
                  <a:pt x="318" y="83"/>
                </a:cubicBezTo>
                <a:cubicBezTo>
                  <a:pt x="323" y="78"/>
                  <a:pt x="323" y="70"/>
                  <a:pt x="318" y="64"/>
                </a:cubicBezTo>
                <a:cubicBezTo>
                  <a:pt x="318" y="64"/>
                  <a:pt x="318" y="64"/>
                  <a:pt x="318" y="64"/>
                </a:cubicBezTo>
                <a:cubicBezTo>
                  <a:pt x="316" y="62"/>
                  <a:pt x="314" y="61"/>
                  <a:pt x="311" y="58"/>
                </a:cubicBezTo>
                <a:cubicBezTo>
                  <a:pt x="300" y="50"/>
                  <a:pt x="279" y="36"/>
                  <a:pt x="252" y="23"/>
                </a:cubicBezTo>
                <a:cubicBezTo>
                  <a:pt x="226" y="11"/>
                  <a:pt x="194" y="0"/>
                  <a:pt x="163" y="0"/>
                </a:cubicBezTo>
                <a:cubicBezTo>
                  <a:pt x="163" y="0"/>
                  <a:pt x="163" y="0"/>
                  <a:pt x="163" y="0"/>
                </a:cubicBezTo>
                <a:cubicBezTo>
                  <a:pt x="126" y="0"/>
                  <a:pt x="91" y="14"/>
                  <a:pt x="62" y="29"/>
                </a:cubicBezTo>
                <a:cubicBezTo>
                  <a:pt x="48" y="36"/>
                  <a:pt x="36" y="44"/>
                  <a:pt x="26" y="50"/>
                </a:cubicBezTo>
                <a:cubicBezTo>
                  <a:pt x="21" y="53"/>
                  <a:pt x="17" y="56"/>
                  <a:pt x="14" y="58"/>
                </a:cubicBezTo>
                <a:cubicBezTo>
                  <a:pt x="11" y="61"/>
                  <a:pt x="9" y="62"/>
                  <a:pt x="7" y="64"/>
                </a:cubicBezTo>
                <a:cubicBezTo>
                  <a:pt x="5" y="66"/>
                  <a:pt x="4" y="68"/>
                  <a:pt x="3" y="70"/>
                </a:cubicBezTo>
                <a:cubicBezTo>
                  <a:pt x="2" y="72"/>
                  <a:pt x="2" y="74"/>
                  <a:pt x="2" y="76"/>
                </a:cubicBezTo>
                <a:cubicBezTo>
                  <a:pt x="1" y="83"/>
                  <a:pt x="0" y="90"/>
                  <a:pt x="0" y="100"/>
                </a:cubicBezTo>
                <a:cubicBezTo>
                  <a:pt x="0" y="145"/>
                  <a:pt x="8" y="228"/>
                  <a:pt x="12" y="261"/>
                </a:cubicBezTo>
                <a:cubicBezTo>
                  <a:pt x="25" y="347"/>
                  <a:pt x="66" y="398"/>
                  <a:pt x="97" y="425"/>
                </a:cubicBezTo>
                <a:cubicBezTo>
                  <a:pt x="110" y="436"/>
                  <a:pt x="122" y="443"/>
                  <a:pt x="133" y="448"/>
                </a:cubicBezTo>
                <a:cubicBezTo>
                  <a:pt x="143" y="452"/>
                  <a:pt x="153" y="453"/>
                  <a:pt x="162" y="453"/>
                </a:cubicBezTo>
                <a:cubicBezTo>
                  <a:pt x="162" y="453"/>
                  <a:pt x="162" y="453"/>
                  <a:pt x="163" y="453"/>
                </a:cubicBezTo>
                <a:cubicBezTo>
                  <a:pt x="163" y="453"/>
                  <a:pt x="163" y="453"/>
                  <a:pt x="163" y="453"/>
                </a:cubicBezTo>
                <a:cubicBezTo>
                  <a:pt x="172" y="454"/>
                  <a:pt x="182" y="452"/>
                  <a:pt x="193" y="448"/>
                </a:cubicBezTo>
                <a:cubicBezTo>
                  <a:pt x="204" y="443"/>
                  <a:pt x="215" y="436"/>
                  <a:pt x="228" y="425"/>
                </a:cubicBezTo>
                <a:cubicBezTo>
                  <a:pt x="259" y="398"/>
                  <a:pt x="300" y="347"/>
                  <a:pt x="313" y="261"/>
                </a:cubicBezTo>
                <a:cubicBezTo>
                  <a:pt x="317" y="235"/>
                  <a:pt x="322" y="176"/>
                  <a:pt x="324" y="131"/>
                </a:cubicBezTo>
                <a:cubicBezTo>
                  <a:pt x="324" y="125"/>
                  <a:pt x="321" y="119"/>
                  <a:pt x="315" y="117"/>
                </a:cubicBezTo>
                <a:close/>
                <a:moveTo>
                  <a:pt x="111" y="227"/>
                </a:moveTo>
                <a:cubicBezTo>
                  <a:pt x="113" y="236"/>
                  <a:pt x="118" y="244"/>
                  <a:pt x="125" y="250"/>
                </a:cubicBezTo>
                <a:cubicBezTo>
                  <a:pt x="131" y="257"/>
                  <a:pt x="140" y="262"/>
                  <a:pt x="149" y="264"/>
                </a:cubicBezTo>
                <a:cubicBezTo>
                  <a:pt x="149" y="279"/>
                  <a:pt x="149" y="279"/>
                  <a:pt x="149" y="279"/>
                </a:cubicBezTo>
                <a:cubicBezTo>
                  <a:pt x="135" y="276"/>
                  <a:pt x="123" y="269"/>
                  <a:pt x="113" y="260"/>
                </a:cubicBezTo>
                <a:cubicBezTo>
                  <a:pt x="104" y="251"/>
                  <a:pt x="97" y="240"/>
                  <a:pt x="95" y="227"/>
                </a:cubicBezTo>
                <a:lnTo>
                  <a:pt x="111" y="227"/>
                </a:lnTo>
                <a:close/>
                <a:moveTo>
                  <a:pt x="176" y="227"/>
                </a:moveTo>
                <a:cubicBezTo>
                  <a:pt x="185" y="227"/>
                  <a:pt x="185" y="227"/>
                  <a:pt x="185" y="227"/>
                </a:cubicBezTo>
                <a:cubicBezTo>
                  <a:pt x="184" y="228"/>
                  <a:pt x="183" y="230"/>
                  <a:pt x="181" y="231"/>
                </a:cubicBezTo>
                <a:cubicBezTo>
                  <a:pt x="180" y="233"/>
                  <a:pt x="178" y="234"/>
                  <a:pt x="176" y="235"/>
                </a:cubicBezTo>
                <a:lnTo>
                  <a:pt x="176" y="227"/>
                </a:lnTo>
                <a:close/>
                <a:moveTo>
                  <a:pt x="176" y="200"/>
                </a:moveTo>
                <a:cubicBezTo>
                  <a:pt x="176" y="191"/>
                  <a:pt x="176" y="191"/>
                  <a:pt x="176" y="191"/>
                </a:cubicBezTo>
                <a:cubicBezTo>
                  <a:pt x="178" y="192"/>
                  <a:pt x="180" y="194"/>
                  <a:pt x="181" y="195"/>
                </a:cubicBezTo>
                <a:cubicBezTo>
                  <a:pt x="183" y="197"/>
                  <a:pt x="184" y="198"/>
                  <a:pt x="185" y="200"/>
                </a:cubicBezTo>
                <a:lnTo>
                  <a:pt x="176" y="200"/>
                </a:lnTo>
                <a:close/>
                <a:moveTo>
                  <a:pt x="149" y="200"/>
                </a:moveTo>
                <a:cubicBezTo>
                  <a:pt x="139" y="200"/>
                  <a:pt x="139" y="200"/>
                  <a:pt x="139" y="200"/>
                </a:cubicBezTo>
                <a:cubicBezTo>
                  <a:pt x="140" y="198"/>
                  <a:pt x="142" y="197"/>
                  <a:pt x="143" y="195"/>
                </a:cubicBezTo>
                <a:cubicBezTo>
                  <a:pt x="145" y="194"/>
                  <a:pt x="147" y="192"/>
                  <a:pt x="149" y="191"/>
                </a:cubicBezTo>
                <a:lnTo>
                  <a:pt x="149" y="200"/>
                </a:lnTo>
                <a:close/>
                <a:moveTo>
                  <a:pt x="149" y="227"/>
                </a:moveTo>
                <a:cubicBezTo>
                  <a:pt x="149" y="235"/>
                  <a:pt x="149" y="235"/>
                  <a:pt x="149" y="235"/>
                </a:cubicBezTo>
                <a:cubicBezTo>
                  <a:pt x="147" y="234"/>
                  <a:pt x="145" y="233"/>
                  <a:pt x="143" y="231"/>
                </a:cubicBezTo>
                <a:cubicBezTo>
                  <a:pt x="142" y="230"/>
                  <a:pt x="140" y="228"/>
                  <a:pt x="139" y="227"/>
                </a:cubicBezTo>
                <a:lnTo>
                  <a:pt x="149" y="227"/>
                </a:lnTo>
                <a:close/>
                <a:moveTo>
                  <a:pt x="176" y="264"/>
                </a:moveTo>
                <a:cubicBezTo>
                  <a:pt x="185" y="262"/>
                  <a:pt x="193" y="257"/>
                  <a:pt x="200" y="250"/>
                </a:cubicBezTo>
                <a:cubicBezTo>
                  <a:pt x="207" y="244"/>
                  <a:pt x="211" y="236"/>
                  <a:pt x="214" y="227"/>
                </a:cubicBezTo>
                <a:cubicBezTo>
                  <a:pt x="230" y="227"/>
                  <a:pt x="230" y="227"/>
                  <a:pt x="230" y="227"/>
                </a:cubicBezTo>
                <a:cubicBezTo>
                  <a:pt x="227" y="240"/>
                  <a:pt x="221" y="251"/>
                  <a:pt x="211" y="260"/>
                </a:cubicBezTo>
                <a:cubicBezTo>
                  <a:pt x="202" y="269"/>
                  <a:pt x="189" y="276"/>
                  <a:pt x="176" y="279"/>
                </a:cubicBezTo>
                <a:lnTo>
                  <a:pt x="176" y="264"/>
                </a:lnTo>
                <a:close/>
                <a:moveTo>
                  <a:pt x="211" y="167"/>
                </a:moveTo>
                <a:cubicBezTo>
                  <a:pt x="221" y="176"/>
                  <a:pt x="227" y="187"/>
                  <a:pt x="230" y="200"/>
                </a:cubicBezTo>
                <a:cubicBezTo>
                  <a:pt x="214" y="200"/>
                  <a:pt x="214" y="200"/>
                  <a:pt x="214" y="200"/>
                </a:cubicBezTo>
                <a:cubicBezTo>
                  <a:pt x="211" y="191"/>
                  <a:pt x="207" y="183"/>
                  <a:pt x="200" y="176"/>
                </a:cubicBezTo>
                <a:cubicBezTo>
                  <a:pt x="193" y="170"/>
                  <a:pt x="185" y="165"/>
                  <a:pt x="176" y="163"/>
                </a:cubicBezTo>
                <a:cubicBezTo>
                  <a:pt x="176" y="148"/>
                  <a:pt x="176" y="148"/>
                  <a:pt x="176" y="148"/>
                </a:cubicBezTo>
                <a:cubicBezTo>
                  <a:pt x="189" y="151"/>
                  <a:pt x="202" y="157"/>
                  <a:pt x="211" y="167"/>
                </a:cubicBezTo>
                <a:close/>
                <a:moveTo>
                  <a:pt x="113" y="167"/>
                </a:moveTo>
                <a:cubicBezTo>
                  <a:pt x="123" y="157"/>
                  <a:pt x="135" y="151"/>
                  <a:pt x="149" y="148"/>
                </a:cubicBezTo>
                <a:cubicBezTo>
                  <a:pt x="149" y="163"/>
                  <a:pt x="149" y="163"/>
                  <a:pt x="149" y="163"/>
                </a:cubicBezTo>
                <a:cubicBezTo>
                  <a:pt x="140" y="165"/>
                  <a:pt x="131" y="170"/>
                  <a:pt x="125" y="176"/>
                </a:cubicBezTo>
                <a:cubicBezTo>
                  <a:pt x="118" y="183"/>
                  <a:pt x="113" y="191"/>
                  <a:pt x="111" y="200"/>
                </a:cubicBezTo>
                <a:cubicBezTo>
                  <a:pt x="95" y="200"/>
                  <a:pt x="95" y="200"/>
                  <a:pt x="95" y="200"/>
                </a:cubicBezTo>
                <a:cubicBezTo>
                  <a:pt x="97" y="187"/>
                  <a:pt x="104" y="176"/>
                  <a:pt x="113" y="167"/>
                </a:cubicBezTo>
                <a:close/>
                <a:moveTo>
                  <a:pt x="286" y="257"/>
                </a:moveTo>
                <a:cubicBezTo>
                  <a:pt x="274" y="337"/>
                  <a:pt x="238" y="381"/>
                  <a:pt x="211" y="405"/>
                </a:cubicBezTo>
                <a:cubicBezTo>
                  <a:pt x="200" y="414"/>
                  <a:pt x="190" y="420"/>
                  <a:pt x="183" y="423"/>
                </a:cubicBezTo>
                <a:cubicBezTo>
                  <a:pt x="175" y="426"/>
                  <a:pt x="169" y="427"/>
                  <a:pt x="163" y="427"/>
                </a:cubicBezTo>
                <a:cubicBezTo>
                  <a:pt x="163" y="427"/>
                  <a:pt x="163" y="427"/>
                  <a:pt x="163" y="427"/>
                </a:cubicBezTo>
                <a:cubicBezTo>
                  <a:pt x="162" y="427"/>
                  <a:pt x="162" y="427"/>
                  <a:pt x="162" y="427"/>
                </a:cubicBezTo>
                <a:cubicBezTo>
                  <a:pt x="156" y="427"/>
                  <a:pt x="150" y="426"/>
                  <a:pt x="143" y="423"/>
                </a:cubicBezTo>
                <a:cubicBezTo>
                  <a:pt x="135" y="420"/>
                  <a:pt x="126" y="414"/>
                  <a:pt x="114" y="405"/>
                </a:cubicBezTo>
                <a:cubicBezTo>
                  <a:pt x="88" y="381"/>
                  <a:pt x="51" y="337"/>
                  <a:pt x="39" y="257"/>
                </a:cubicBezTo>
                <a:cubicBezTo>
                  <a:pt x="38" y="248"/>
                  <a:pt x="36" y="235"/>
                  <a:pt x="34" y="219"/>
                </a:cubicBezTo>
                <a:cubicBezTo>
                  <a:pt x="36" y="223"/>
                  <a:pt x="41" y="227"/>
                  <a:pt x="47" y="227"/>
                </a:cubicBezTo>
                <a:cubicBezTo>
                  <a:pt x="67" y="227"/>
                  <a:pt x="67" y="227"/>
                  <a:pt x="67" y="227"/>
                </a:cubicBezTo>
                <a:cubicBezTo>
                  <a:pt x="71" y="247"/>
                  <a:pt x="80" y="266"/>
                  <a:pt x="95" y="279"/>
                </a:cubicBezTo>
                <a:cubicBezTo>
                  <a:pt x="109" y="293"/>
                  <a:pt x="128" y="303"/>
                  <a:pt x="149" y="306"/>
                </a:cubicBezTo>
                <a:cubicBezTo>
                  <a:pt x="149" y="329"/>
                  <a:pt x="149" y="329"/>
                  <a:pt x="149" y="329"/>
                </a:cubicBezTo>
                <a:cubicBezTo>
                  <a:pt x="149" y="336"/>
                  <a:pt x="155" y="342"/>
                  <a:pt x="162" y="342"/>
                </a:cubicBezTo>
                <a:cubicBezTo>
                  <a:pt x="170" y="342"/>
                  <a:pt x="176" y="336"/>
                  <a:pt x="176" y="329"/>
                </a:cubicBezTo>
                <a:cubicBezTo>
                  <a:pt x="176" y="306"/>
                  <a:pt x="176" y="306"/>
                  <a:pt x="176" y="306"/>
                </a:cubicBezTo>
                <a:cubicBezTo>
                  <a:pt x="197" y="303"/>
                  <a:pt x="215" y="293"/>
                  <a:pt x="230" y="279"/>
                </a:cubicBezTo>
                <a:cubicBezTo>
                  <a:pt x="244" y="266"/>
                  <a:pt x="254" y="247"/>
                  <a:pt x="257" y="227"/>
                </a:cubicBezTo>
                <a:cubicBezTo>
                  <a:pt x="266" y="227"/>
                  <a:pt x="266" y="227"/>
                  <a:pt x="266" y="227"/>
                </a:cubicBezTo>
                <a:cubicBezTo>
                  <a:pt x="270" y="227"/>
                  <a:pt x="273" y="225"/>
                  <a:pt x="275" y="223"/>
                </a:cubicBezTo>
                <a:cubicBezTo>
                  <a:pt x="277" y="221"/>
                  <a:pt x="278" y="220"/>
                  <a:pt x="279" y="219"/>
                </a:cubicBezTo>
                <a:cubicBezTo>
                  <a:pt x="282" y="214"/>
                  <a:pt x="286" y="207"/>
                  <a:pt x="291" y="198"/>
                </a:cubicBezTo>
                <a:cubicBezTo>
                  <a:pt x="292" y="197"/>
                  <a:pt x="292" y="196"/>
                  <a:pt x="293" y="194"/>
                </a:cubicBezTo>
                <a:cubicBezTo>
                  <a:pt x="291" y="220"/>
                  <a:pt x="288" y="244"/>
                  <a:pt x="286" y="25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0" name="Freeform 556"/>
          <p:cNvSpPr>
            <a:spLocks/>
          </p:cNvSpPr>
          <p:nvPr userDrawn="1"/>
        </p:nvSpPr>
        <p:spPr bwMode="auto">
          <a:xfrm>
            <a:off x="7534454" y="5128621"/>
            <a:ext cx="460375" cy="388939"/>
          </a:xfrm>
          <a:custGeom>
            <a:avLst/>
            <a:gdLst/>
            <a:ahLst/>
            <a:cxnLst>
              <a:cxn ang="0">
                <a:pos x="304" y="345"/>
              </a:cxn>
              <a:cxn ang="0">
                <a:pos x="262" y="194"/>
              </a:cxn>
              <a:cxn ang="0">
                <a:pos x="262" y="191"/>
              </a:cxn>
              <a:cxn ang="0">
                <a:pos x="144" y="191"/>
              </a:cxn>
              <a:cxn ang="0">
                <a:pos x="144" y="194"/>
              </a:cxn>
              <a:cxn ang="0">
                <a:pos x="103" y="345"/>
              </a:cxn>
              <a:cxn ang="0">
                <a:pos x="0" y="303"/>
              </a:cxn>
              <a:cxn ang="0">
                <a:pos x="33" y="134"/>
              </a:cxn>
              <a:cxn ang="0">
                <a:pos x="78" y="31"/>
              </a:cxn>
              <a:cxn ang="0">
                <a:pos x="149" y="63"/>
              </a:cxn>
              <a:cxn ang="0">
                <a:pos x="202" y="0"/>
              </a:cxn>
              <a:cxn ang="0">
                <a:pos x="257" y="63"/>
              </a:cxn>
              <a:cxn ang="0">
                <a:pos x="328" y="31"/>
              </a:cxn>
              <a:cxn ang="0">
                <a:pos x="374" y="133"/>
              </a:cxn>
              <a:cxn ang="0">
                <a:pos x="409" y="315"/>
              </a:cxn>
              <a:cxn ang="0">
                <a:pos x="382" y="315"/>
              </a:cxn>
              <a:cxn ang="0">
                <a:pos x="367" y="160"/>
              </a:cxn>
              <a:cxn ang="0">
                <a:pos x="336" y="146"/>
              </a:cxn>
              <a:cxn ang="0">
                <a:pos x="343" y="124"/>
              </a:cxn>
              <a:cxn ang="0">
                <a:pos x="328" y="58"/>
              </a:cxn>
              <a:cxn ang="0">
                <a:pos x="309" y="121"/>
              </a:cxn>
              <a:cxn ang="0">
                <a:pos x="315" y="141"/>
              </a:cxn>
              <a:cxn ang="0">
                <a:pos x="292" y="150"/>
              </a:cxn>
              <a:cxn ang="0">
                <a:pos x="232" y="74"/>
              </a:cxn>
              <a:cxn ang="0">
                <a:pos x="219" y="35"/>
              </a:cxn>
              <a:cxn ang="0">
                <a:pos x="187" y="37"/>
              </a:cxn>
              <a:cxn ang="0">
                <a:pos x="174" y="74"/>
              </a:cxn>
              <a:cxn ang="0">
                <a:pos x="115" y="150"/>
              </a:cxn>
              <a:cxn ang="0">
                <a:pos x="91" y="141"/>
              </a:cxn>
              <a:cxn ang="0">
                <a:pos x="97" y="121"/>
              </a:cxn>
              <a:cxn ang="0">
                <a:pos x="78" y="58"/>
              </a:cxn>
              <a:cxn ang="0">
                <a:pos x="63" y="124"/>
              </a:cxn>
              <a:cxn ang="0">
                <a:pos x="71" y="146"/>
              </a:cxn>
              <a:cxn ang="0">
                <a:pos x="42" y="160"/>
              </a:cxn>
              <a:cxn ang="0">
                <a:pos x="27" y="303"/>
              </a:cxn>
              <a:cxn ang="0">
                <a:pos x="103" y="318"/>
              </a:cxn>
              <a:cxn ang="0">
                <a:pos x="117" y="194"/>
              </a:cxn>
              <a:cxn ang="0">
                <a:pos x="118" y="188"/>
              </a:cxn>
              <a:cxn ang="0">
                <a:pos x="187" y="97"/>
              </a:cxn>
              <a:cxn ang="0">
                <a:pos x="193" y="89"/>
              </a:cxn>
              <a:cxn ang="0">
                <a:pos x="203" y="85"/>
              </a:cxn>
              <a:cxn ang="0">
                <a:pos x="219" y="96"/>
              </a:cxn>
              <a:cxn ang="0">
                <a:pos x="286" y="178"/>
              </a:cxn>
              <a:cxn ang="0">
                <a:pos x="289" y="189"/>
              </a:cxn>
              <a:cxn ang="0">
                <a:pos x="289" y="303"/>
              </a:cxn>
              <a:cxn ang="0">
                <a:pos x="367" y="318"/>
              </a:cxn>
              <a:cxn ang="0">
                <a:pos x="367" y="345"/>
              </a:cxn>
            </a:cxnLst>
            <a:rect l="0" t="0" r="r" b="b"/>
            <a:pathLst>
              <a:path w="409" h="345">
                <a:moveTo>
                  <a:pt x="367" y="345"/>
                </a:moveTo>
                <a:cubicBezTo>
                  <a:pt x="304" y="345"/>
                  <a:pt x="304" y="345"/>
                  <a:pt x="304" y="345"/>
                </a:cubicBezTo>
                <a:cubicBezTo>
                  <a:pt x="281" y="345"/>
                  <a:pt x="262" y="326"/>
                  <a:pt x="262" y="303"/>
                </a:cubicBezTo>
                <a:cubicBezTo>
                  <a:pt x="262" y="194"/>
                  <a:pt x="262" y="194"/>
                  <a:pt x="262" y="194"/>
                </a:cubicBezTo>
                <a:cubicBezTo>
                  <a:pt x="262" y="193"/>
                  <a:pt x="262" y="193"/>
                  <a:pt x="262" y="193"/>
                </a:cubicBezTo>
                <a:cubicBezTo>
                  <a:pt x="262" y="192"/>
                  <a:pt x="262" y="191"/>
                  <a:pt x="262" y="191"/>
                </a:cubicBezTo>
                <a:cubicBezTo>
                  <a:pt x="203" y="119"/>
                  <a:pt x="203" y="119"/>
                  <a:pt x="203" y="119"/>
                </a:cubicBezTo>
                <a:cubicBezTo>
                  <a:pt x="144" y="191"/>
                  <a:pt x="144" y="191"/>
                  <a:pt x="144" y="191"/>
                </a:cubicBezTo>
                <a:cubicBezTo>
                  <a:pt x="144" y="191"/>
                  <a:pt x="144" y="192"/>
                  <a:pt x="144" y="193"/>
                </a:cubicBezTo>
                <a:cubicBezTo>
                  <a:pt x="144" y="193"/>
                  <a:pt x="144" y="193"/>
                  <a:pt x="144" y="194"/>
                </a:cubicBezTo>
                <a:cubicBezTo>
                  <a:pt x="144" y="303"/>
                  <a:pt x="144" y="303"/>
                  <a:pt x="144" y="303"/>
                </a:cubicBezTo>
                <a:cubicBezTo>
                  <a:pt x="144" y="326"/>
                  <a:pt x="125" y="345"/>
                  <a:pt x="103" y="345"/>
                </a:cubicBezTo>
                <a:cubicBezTo>
                  <a:pt x="42" y="345"/>
                  <a:pt x="42" y="345"/>
                  <a:pt x="42" y="345"/>
                </a:cubicBezTo>
                <a:cubicBezTo>
                  <a:pt x="19" y="345"/>
                  <a:pt x="0" y="326"/>
                  <a:pt x="0" y="303"/>
                </a:cubicBezTo>
                <a:cubicBezTo>
                  <a:pt x="0" y="174"/>
                  <a:pt x="0" y="174"/>
                  <a:pt x="0" y="174"/>
                </a:cubicBezTo>
                <a:cubicBezTo>
                  <a:pt x="0" y="154"/>
                  <a:pt x="14" y="138"/>
                  <a:pt x="33" y="134"/>
                </a:cubicBezTo>
                <a:cubicBezTo>
                  <a:pt x="23" y="123"/>
                  <a:pt x="17" y="108"/>
                  <a:pt x="17" y="92"/>
                </a:cubicBezTo>
                <a:cubicBezTo>
                  <a:pt x="17" y="59"/>
                  <a:pt x="44" y="31"/>
                  <a:pt x="78" y="31"/>
                </a:cubicBezTo>
                <a:cubicBezTo>
                  <a:pt x="107" y="31"/>
                  <a:pt x="131" y="51"/>
                  <a:pt x="137" y="78"/>
                </a:cubicBezTo>
                <a:cubicBezTo>
                  <a:pt x="149" y="63"/>
                  <a:pt x="149" y="63"/>
                  <a:pt x="149" y="63"/>
                </a:cubicBezTo>
                <a:cubicBezTo>
                  <a:pt x="161" y="30"/>
                  <a:pt x="161" y="30"/>
                  <a:pt x="161" y="30"/>
                </a:cubicBezTo>
                <a:cubicBezTo>
                  <a:pt x="164" y="19"/>
                  <a:pt x="176" y="0"/>
                  <a:pt x="202" y="0"/>
                </a:cubicBezTo>
                <a:cubicBezTo>
                  <a:pt x="230" y="0"/>
                  <a:pt x="242" y="18"/>
                  <a:pt x="245" y="28"/>
                </a:cubicBezTo>
                <a:cubicBezTo>
                  <a:pt x="257" y="63"/>
                  <a:pt x="257" y="63"/>
                  <a:pt x="257" y="63"/>
                </a:cubicBezTo>
                <a:cubicBezTo>
                  <a:pt x="269" y="78"/>
                  <a:pt x="269" y="78"/>
                  <a:pt x="269" y="78"/>
                </a:cubicBezTo>
                <a:cubicBezTo>
                  <a:pt x="275" y="51"/>
                  <a:pt x="300" y="31"/>
                  <a:pt x="328" y="31"/>
                </a:cubicBezTo>
                <a:cubicBezTo>
                  <a:pt x="362" y="31"/>
                  <a:pt x="390" y="59"/>
                  <a:pt x="390" y="92"/>
                </a:cubicBezTo>
                <a:cubicBezTo>
                  <a:pt x="390" y="108"/>
                  <a:pt x="384" y="122"/>
                  <a:pt x="374" y="133"/>
                </a:cubicBezTo>
                <a:cubicBezTo>
                  <a:pt x="394" y="136"/>
                  <a:pt x="409" y="154"/>
                  <a:pt x="409" y="174"/>
                </a:cubicBezTo>
                <a:cubicBezTo>
                  <a:pt x="409" y="315"/>
                  <a:pt x="409" y="315"/>
                  <a:pt x="409" y="315"/>
                </a:cubicBezTo>
                <a:cubicBezTo>
                  <a:pt x="409" y="323"/>
                  <a:pt x="403" y="329"/>
                  <a:pt x="395" y="329"/>
                </a:cubicBezTo>
                <a:cubicBezTo>
                  <a:pt x="388" y="329"/>
                  <a:pt x="382" y="323"/>
                  <a:pt x="382" y="315"/>
                </a:cubicBezTo>
                <a:cubicBezTo>
                  <a:pt x="382" y="174"/>
                  <a:pt x="382" y="174"/>
                  <a:pt x="382" y="174"/>
                </a:cubicBezTo>
                <a:cubicBezTo>
                  <a:pt x="382" y="166"/>
                  <a:pt x="375" y="160"/>
                  <a:pt x="367" y="160"/>
                </a:cubicBezTo>
                <a:cubicBezTo>
                  <a:pt x="349" y="160"/>
                  <a:pt x="349" y="160"/>
                  <a:pt x="349" y="160"/>
                </a:cubicBezTo>
                <a:cubicBezTo>
                  <a:pt x="342" y="160"/>
                  <a:pt x="336" y="154"/>
                  <a:pt x="336" y="146"/>
                </a:cubicBezTo>
                <a:cubicBezTo>
                  <a:pt x="336" y="136"/>
                  <a:pt x="336" y="136"/>
                  <a:pt x="336" y="136"/>
                </a:cubicBezTo>
                <a:cubicBezTo>
                  <a:pt x="336" y="131"/>
                  <a:pt x="339" y="126"/>
                  <a:pt x="343" y="124"/>
                </a:cubicBezTo>
                <a:cubicBezTo>
                  <a:pt x="355" y="118"/>
                  <a:pt x="363" y="106"/>
                  <a:pt x="363" y="92"/>
                </a:cubicBezTo>
                <a:cubicBezTo>
                  <a:pt x="363" y="73"/>
                  <a:pt x="347" y="58"/>
                  <a:pt x="328" y="58"/>
                </a:cubicBezTo>
                <a:cubicBezTo>
                  <a:pt x="309" y="58"/>
                  <a:pt x="294" y="73"/>
                  <a:pt x="294" y="92"/>
                </a:cubicBezTo>
                <a:cubicBezTo>
                  <a:pt x="294" y="104"/>
                  <a:pt x="300" y="115"/>
                  <a:pt x="309" y="121"/>
                </a:cubicBezTo>
                <a:cubicBezTo>
                  <a:pt x="313" y="124"/>
                  <a:pt x="315" y="128"/>
                  <a:pt x="315" y="132"/>
                </a:cubicBezTo>
                <a:cubicBezTo>
                  <a:pt x="315" y="141"/>
                  <a:pt x="315" y="141"/>
                  <a:pt x="315" y="141"/>
                </a:cubicBezTo>
                <a:cubicBezTo>
                  <a:pt x="315" y="147"/>
                  <a:pt x="312" y="152"/>
                  <a:pt x="306" y="154"/>
                </a:cubicBezTo>
                <a:cubicBezTo>
                  <a:pt x="301" y="156"/>
                  <a:pt x="295" y="154"/>
                  <a:pt x="292" y="150"/>
                </a:cubicBezTo>
                <a:cubicBezTo>
                  <a:pt x="235" y="78"/>
                  <a:pt x="235" y="78"/>
                  <a:pt x="235" y="78"/>
                </a:cubicBezTo>
                <a:cubicBezTo>
                  <a:pt x="234" y="77"/>
                  <a:pt x="233" y="75"/>
                  <a:pt x="232" y="74"/>
                </a:cubicBezTo>
                <a:cubicBezTo>
                  <a:pt x="219" y="37"/>
                  <a:pt x="219" y="37"/>
                  <a:pt x="219" y="37"/>
                </a:cubicBezTo>
                <a:cubicBezTo>
                  <a:pt x="219" y="36"/>
                  <a:pt x="219" y="36"/>
                  <a:pt x="219" y="35"/>
                </a:cubicBezTo>
                <a:cubicBezTo>
                  <a:pt x="218" y="33"/>
                  <a:pt x="215" y="27"/>
                  <a:pt x="202" y="27"/>
                </a:cubicBezTo>
                <a:cubicBezTo>
                  <a:pt x="189" y="27"/>
                  <a:pt x="187" y="36"/>
                  <a:pt x="187" y="37"/>
                </a:cubicBezTo>
                <a:cubicBezTo>
                  <a:pt x="187" y="37"/>
                  <a:pt x="187" y="38"/>
                  <a:pt x="187" y="39"/>
                </a:cubicBezTo>
                <a:cubicBezTo>
                  <a:pt x="174" y="74"/>
                  <a:pt x="174" y="74"/>
                  <a:pt x="174" y="74"/>
                </a:cubicBezTo>
                <a:cubicBezTo>
                  <a:pt x="173" y="75"/>
                  <a:pt x="173" y="77"/>
                  <a:pt x="172" y="78"/>
                </a:cubicBezTo>
                <a:cubicBezTo>
                  <a:pt x="115" y="150"/>
                  <a:pt x="115" y="150"/>
                  <a:pt x="115" y="150"/>
                </a:cubicBezTo>
                <a:cubicBezTo>
                  <a:pt x="111" y="154"/>
                  <a:pt x="105" y="156"/>
                  <a:pt x="100" y="154"/>
                </a:cubicBezTo>
                <a:cubicBezTo>
                  <a:pt x="95" y="152"/>
                  <a:pt x="91" y="147"/>
                  <a:pt x="91" y="141"/>
                </a:cubicBezTo>
                <a:cubicBezTo>
                  <a:pt x="91" y="132"/>
                  <a:pt x="91" y="132"/>
                  <a:pt x="91" y="132"/>
                </a:cubicBezTo>
                <a:cubicBezTo>
                  <a:pt x="91" y="128"/>
                  <a:pt x="93" y="124"/>
                  <a:pt x="97" y="121"/>
                </a:cubicBezTo>
                <a:cubicBezTo>
                  <a:pt x="106" y="115"/>
                  <a:pt x="112" y="104"/>
                  <a:pt x="112" y="92"/>
                </a:cubicBezTo>
                <a:cubicBezTo>
                  <a:pt x="112" y="73"/>
                  <a:pt x="97" y="58"/>
                  <a:pt x="78" y="58"/>
                </a:cubicBezTo>
                <a:cubicBezTo>
                  <a:pt x="59" y="58"/>
                  <a:pt x="43" y="73"/>
                  <a:pt x="43" y="92"/>
                </a:cubicBezTo>
                <a:cubicBezTo>
                  <a:pt x="43" y="106"/>
                  <a:pt x="51" y="118"/>
                  <a:pt x="63" y="124"/>
                </a:cubicBezTo>
                <a:cubicBezTo>
                  <a:pt x="68" y="126"/>
                  <a:pt x="71" y="131"/>
                  <a:pt x="71" y="136"/>
                </a:cubicBezTo>
                <a:cubicBezTo>
                  <a:pt x="71" y="146"/>
                  <a:pt x="71" y="146"/>
                  <a:pt x="71" y="146"/>
                </a:cubicBezTo>
                <a:cubicBezTo>
                  <a:pt x="71" y="154"/>
                  <a:pt x="65" y="160"/>
                  <a:pt x="57" y="160"/>
                </a:cubicBezTo>
                <a:cubicBezTo>
                  <a:pt x="42" y="160"/>
                  <a:pt x="42" y="160"/>
                  <a:pt x="42" y="160"/>
                </a:cubicBezTo>
                <a:cubicBezTo>
                  <a:pt x="34" y="160"/>
                  <a:pt x="27" y="166"/>
                  <a:pt x="27" y="174"/>
                </a:cubicBezTo>
                <a:cubicBezTo>
                  <a:pt x="27" y="303"/>
                  <a:pt x="27" y="303"/>
                  <a:pt x="27" y="303"/>
                </a:cubicBezTo>
                <a:cubicBezTo>
                  <a:pt x="27" y="311"/>
                  <a:pt x="34" y="318"/>
                  <a:pt x="42" y="318"/>
                </a:cubicBezTo>
                <a:cubicBezTo>
                  <a:pt x="103" y="318"/>
                  <a:pt x="103" y="318"/>
                  <a:pt x="103" y="318"/>
                </a:cubicBezTo>
                <a:cubicBezTo>
                  <a:pt x="111" y="318"/>
                  <a:pt x="117" y="311"/>
                  <a:pt x="117" y="303"/>
                </a:cubicBezTo>
                <a:cubicBezTo>
                  <a:pt x="117" y="194"/>
                  <a:pt x="117" y="194"/>
                  <a:pt x="117" y="194"/>
                </a:cubicBezTo>
                <a:cubicBezTo>
                  <a:pt x="117" y="192"/>
                  <a:pt x="117" y="190"/>
                  <a:pt x="118" y="189"/>
                </a:cubicBezTo>
                <a:cubicBezTo>
                  <a:pt x="118" y="189"/>
                  <a:pt x="118" y="189"/>
                  <a:pt x="118" y="188"/>
                </a:cubicBezTo>
                <a:cubicBezTo>
                  <a:pt x="117" y="185"/>
                  <a:pt x="118" y="181"/>
                  <a:pt x="120" y="178"/>
                </a:cubicBezTo>
                <a:cubicBezTo>
                  <a:pt x="187" y="97"/>
                  <a:pt x="187" y="97"/>
                  <a:pt x="187" y="97"/>
                </a:cubicBezTo>
                <a:cubicBezTo>
                  <a:pt x="187" y="96"/>
                  <a:pt x="187" y="96"/>
                  <a:pt x="187" y="96"/>
                </a:cubicBezTo>
                <a:cubicBezTo>
                  <a:pt x="193" y="89"/>
                  <a:pt x="193" y="89"/>
                  <a:pt x="193" y="89"/>
                </a:cubicBezTo>
                <a:cubicBezTo>
                  <a:pt x="196" y="86"/>
                  <a:pt x="199" y="85"/>
                  <a:pt x="203" y="85"/>
                </a:cubicBezTo>
                <a:cubicBezTo>
                  <a:pt x="203" y="85"/>
                  <a:pt x="203" y="85"/>
                  <a:pt x="203" y="85"/>
                </a:cubicBezTo>
                <a:cubicBezTo>
                  <a:pt x="207" y="85"/>
                  <a:pt x="211" y="86"/>
                  <a:pt x="213" y="89"/>
                </a:cubicBezTo>
                <a:cubicBezTo>
                  <a:pt x="219" y="96"/>
                  <a:pt x="219" y="96"/>
                  <a:pt x="219" y="96"/>
                </a:cubicBezTo>
                <a:cubicBezTo>
                  <a:pt x="219" y="96"/>
                  <a:pt x="219" y="96"/>
                  <a:pt x="220" y="97"/>
                </a:cubicBezTo>
                <a:cubicBezTo>
                  <a:pt x="286" y="178"/>
                  <a:pt x="286" y="178"/>
                  <a:pt x="286" y="178"/>
                </a:cubicBezTo>
                <a:cubicBezTo>
                  <a:pt x="288" y="181"/>
                  <a:pt x="289" y="185"/>
                  <a:pt x="289" y="188"/>
                </a:cubicBezTo>
                <a:cubicBezTo>
                  <a:pt x="289" y="189"/>
                  <a:pt x="289" y="189"/>
                  <a:pt x="289" y="189"/>
                </a:cubicBezTo>
                <a:cubicBezTo>
                  <a:pt x="289" y="190"/>
                  <a:pt x="289" y="192"/>
                  <a:pt x="289" y="194"/>
                </a:cubicBezTo>
                <a:cubicBezTo>
                  <a:pt x="289" y="303"/>
                  <a:pt x="289" y="303"/>
                  <a:pt x="289" y="303"/>
                </a:cubicBezTo>
                <a:cubicBezTo>
                  <a:pt x="289" y="311"/>
                  <a:pt x="296" y="318"/>
                  <a:pt x="304" y="318"/>
                </a:cubicBezTo>
                <a:cubicBezTo>
                  <a:pt x="367" y="318"/>
                  <a:pt x="367" y="318"/>
                  <a:pt x="367" y="318"/>
                </a:cubicBezTo>
                <a:cubicBezTo>
                  <a:pt x="374" y="318"/>
                  <a:pt x="380" y="324"/>
                  <a:pt x="380" y="331"/>
                </a:cubicBezTo>
                <a:cubicBezTo>
                  <a:pt x="380" y="339"/>
                  <a:pt x="374" y="345"/>
                  <a:pt x="367" y="34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1" name="Freeform 163"/>
          <p:cNvSpPr>
            <a:spLocks/>
          </p:cNvSpPr>
          <p:nvPr userDrawn="1"/>
        </p:nvSpPr>
        <p:spPr bwMode="auto">
          <a:xfrm>
            <a:off x="8135280" y="1183096"/>
            <a:ext cx="474662" cy="477837"/>
          </a:xfrm>
          <a:custGeom>
            <a:avLst/>
            <a:gdLst/>
            <a:ahLst/>
            <a:cxnLst>
              <a:cxn ang="0">
                <a:pos x="72" y="307"/>
              </a:cxn>
              <a:cxn ang="0">
                <a:pos x="272" y="307"/>
              </a:cxn>
              <a:cxn ang="0">
                <a:pos x="271" y="371"/>
              </a:cxn>
              <a:cxn ang="0">
                <a:pos x="72" y="371"/>
              </a:cxn>
              <a:cxn ang="0">
                <a:pos x="72" y="424"/>
              </a:cxn>
              <a:cxn ang="0">
                <a:pos x="332" y="424"/>
              </a:cxn>
              <a:cxn ang="0">
                <a:pos x="332" y="227"/>
              </a:cxn>
              <a:cxn ang="0">
                <a:pos x="420" y="174"/>
              </a:cxn>
              <a:cxn ang="0">
                <a:pos x="420" y="123"/>
              </a:cxn>
              <a:cxn ang="0">
                <a:pos x="328" y="177"/>
              </a:cxn>
              <a:cxn ang="0">
                <a:pos x="327" y="109"/>
              </a:cxn>
              <a:cxn ang="0">
                <a:pos x="102" y="109"/>
              </a:cxn>
              <a:cxn ang="0">
                <a:pos x="251" y="0"/>
              </a:cxn>
              <a:cxn ang="0">
                <a:pos x="183" y="0"/>
              </a:cxn>
              <a:cxn ang="0">
                <a:pos x="60" y="89"/>
              </a:cxn>
              <a:cxn ang="0">
                <a:pos x="46" y="82"/>
              </a:cxn>
              <a:cxn ang="0">
                <a:pos x="0" y="90"/>
              </a:cxn>
              <a:cxn ang="0">
                <a:pos x="1" y="423"/>
              </a:cxn>
            </a:cxnLst>
            <a:rect l="0" t="0" r="r" b="b"/>
            <a:pathLst>
              <a:path w="420" h="424">
                <a:moveTo>
                  <a:pt x="72" y="307"/>
                </a:moveTo>
                <a:cubicBezTo>
                  <a:pt x="272" y="307"/>
                  <a:pt x="272" y="307"/>
                  <a:pt x="272" y="307"/>
                </a:cubicBezTo>
                <a:cubicBezTo>
                  <a:pt x="271" y="371"/>
                  <a:pt x="271" y="371"/>
                  <a:pt x="271" y="371"/>
                </a:cubicBezTo>
                <a:cubicBezTo>
                  <a:pt x="72" y="371"/>
                  <a:pt x="72" y="371"/>
                  <a:pt x="72" y="371"/>
                </a:cubicBezTo>
                <a:cubicBezTo>
                  <a:pt x="72" y="424"/>
                  <a:pt x="72" y="424"/>
                  <a:pt x="72" y="424"/>
                </a:cubicBezTo>
                <a:cubicBezTo>
                  <a:pt x="332" y="424"/>
                  <a:pt x="332" y="424"/>
                  <a:pt x="332" y="424"/>
                </a:cubicBezTo>
                <a:cubicBezTo>
                  <a:pt x="332" y="227"/>
                  <a:pt x="332" y="227"/>
                  <a:pt x="332" y="227"/>
                </a:cubicBezTo>
                <a:cubicBezTo>
                  <a:pt x="420" y="174"/>
                  <a:pt x="420" y="174"/>
                  <a:pt x="420" y="174"/>
                </a:cubicBezTo>
                <a:cubicBezTo>
                  <a:pt x="420" y="123"/>
                  <a:pt x="420" y="123"/>
                  <a:pt x="420" y="123"/>
                </a:cubicBezTo>
                <a:cubicBezTo>
                  <a:pt x="328" y="177"/>
                  <a:pt x="328" y="177"/>
                  <a:pt x="328" y="177"/>
                </a:cubicBezTo>
                <a:cubicBezTo>
                  <a:pt x="327" y="109"/>
                  <a:pt x="327" y="109"/>
                  <a:pt x="327" y="109"/>
                </a:cubicBezTo>
                <a:cubicBezTo>
                  <a:pt x="102" y="109"/>
                  <a:pt x="102" y="109"/>
                  <a:pt x="102" y="109"/>
                </a:cubicBezTo>
                <a:cubicBezTo>
                  <a:pt x="251" y="0"/>
                  <a:pt x="251" y="0"/>
                  <a:pt x="251" y="0"/>
                </a:cubicBezTo>
                <a:cubicBezTo>
                  <a:pt x="183" y="0"/>
                  <a:pt x="183" y="0"/>
                  <a:pt x="183" y="0"/>
                </a:cubicBezTo>
                <a:cubicBezTo>
                  <a:pt x="183" y="0"/>
                  <a:pt x="103" y="65"/>
                  <a:pt x="60" y="89"/>
                </a:cubicBezTo>
                <a:cubicBezTo>
                  <a:pt x="55" y="92"/>
                  <a:pt x="49" y="85"/>
                  <a:pt x="46" y="82"/>
                </a:cubicBezTo>
                <a:cubicBezTo>
                  <a:pt x="21" y="55"/>
                  <a:pt x="0" y="90"/>
                  <a:pt x="0" y="90"/>
                </a:cubicBezTo>
                <a:cubicBezTo>
                  <a:pt x="1" y="423"/>
                  <a:pt x="1" y="423"/>
                  <a:pt x="1" y="423"/>
                </a:cubicBezTo>
              </a:path>
            </a:pathLst>
          </a:custGeom>
          <a:noFill/>
          <a:ln w="30163"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2" name="Freeform 425"/>
          <p:cNvSpPr>
            <a:spLocks/>
          </p:cNvSpPr>
          <p:nvPr userDrawn="1"/>
        </p:nvSpPr>
        <p:spPr bwMode="auto">
          <a:xfrm>
            <a:off x="8170994" y="4488941"/>
            <a:ext cx="403226" cy="344488"/>
          </a:xfrm>
          <a:custGeom>
            <a:avLst/>
            <a:gdLst/>
            <a:ahLst/>
            <a:cxnLst>
              <a:cxn ang="0">
                <a:pos x="144" y="305"/>
              </a:cxn>
              <a:cxn ang="0">
                <a:pos x="23" y="305"/>
              </a:cxn>
              <a:cxn ang="0">
                <a:pos x="0" y="273"/>
              </a:cxn>
              <a:cxn ang="0">
                <a:pos x="0" y="102"/>
              </a:cxn>
              <a:cxn ang="0">
                <a:pos x="72" y="42"/>
              </a:cxn>
              <a:cxn ang="0">
                <a:pos x="100" y="42"/>
              </a:cxn>
              <a:cxn ang="0">
                <a:pos x="179" y="0"/>
              </a:cxn>
              <a:cxn ang="0">
                <a:pos x="265" y="42"/>
              </a:cxn>
              <a:cxn ang="0">
                <a:pos x="301" y="42"/>
              </a:cxn>
              <a:cxn ang="0">
                <a:pos x="358" y="102"/>
              </a:cxn>
              <a:cxn ang="0">
                <a:pos x="358" y="275"/>
              </a:cxn>
              <a:cxn ang="0">
                <a:pos x="331" y="305"/>
              </a:cxn>
              <a:cxn ang="0">
                <a:pos x="205" y="305"/>
              </a:cxn>
              <a:cxn ang="0">
                <a:pos x="170" y="269"/>
              </a:cxn>
              <a:cxn ang="0">
                <a:pos x="90" y="178"/>
              </a:cxn>
              <a:cxn ang="0">
                <a:pos x="175" y="88"/>
              </a:cxn>
              <a:cxn ang="0">
                <a:pos x="269" y="172"/>
              </a:cxn>
              <a:cxn ang="0">
                <a:pos x="218" y="257"/>
              </a:cxn>
            </a:cxnLst>
            <a:rect l="0" t="0" r="r" b="b"/>
            <a:pathLst>
              <a:path w="358" h="305">
                <a:moveTo>
                  <a:pt x="144" y="305"/>
                </a:moveTo>
                <a:cubicBezTo>
                  <a:pt x="144" y="305"/>
                  <a:pt x="45" y="305"/>
                  <a:pt x="23" y="305"/>
                </a:cubicBezTo>
                <a:cubicBezTo>
                  <a:pt x="1" y="305"/>
                  <a:pt x="0" y="304"/>
                  <a:pt x="0" y="273"/>
                </a:cubicBezTo>
                <a:cubicBezTo>
                  <a:pt x="0" y="242"/>
                  <a:pt x="0" y="114"/>
                  <a:pt x="0" y="102"/>
                </a:cubicBezTo>
                <a:cubicBezTo>
                  <a:pt x="0" y="60"/>
                  <a:pt x="24" y="42"/>
                  <a:pt x="72" y="42"/>
                </a:cubicBezTo>
                <a:cubicBezTo>
                  <a:pt x="80" y="42"/>
                  <a:pt x="89" y="42"/>
                  <a:pt x="100" y="42"/>
                </a:cubicBezTo>
                <a:cubicBezTo>
                  <a:pt x="153" y="42"/>
                  <a:pt x="112" y="0"/>
                  <a:pt x="179" y="0"/>
                </a:cubicBezTo>
                <a:cubicBezTo>
                  <a:pt x="251" y="0"/>
                  <a:pt x="208" y="42"/>
                  <a:pt x="265" y="42"/>
                </a:cubicBezTo>
                <a:cubicBezTo>
                  <a:pt x="274" y="42"/>
                  <a:pt x="279" y="42"/>
                  <a:pt x="301" y="42"/>
                </a:cubicBezTo>
                <a:cubicBezTo>
                  <a:pt x="338" y="42"/>
                  <a:pt x="358" y="70"/>
                  <a:pt x="358" y="102"/>
                </a:cubicBezTo>
                <a:cubicBezTo>
                  <a:pt x="358" y="117"/>
                  <a:pt x="358" y="245"/>
                  <a:pt x="358" y="275"/>
                </a:cubicBezTo>
                <a:cubicBezTo>
                  <a:pt x="358" y="304"/>
                  <a:pt x="358" y="305"/>
                  <a:pt x="331" y="305"/>
                </a:cubicBezTo>
                <a:cubicBezTo>
                  <a:pt x="305" y="305"/>
                  <a:pt x="205" y="305"/>
                  <a:pt x="205" y="305"/>
                </a:cubicBezTo>
                <a:cubicBezTo>
                  <a:pt x="205" y="305"/>
                  <a:pt x="184" y="283"/>
                  <a:pt x="170" y="269"/>
                </a:cubicBezTo>
                <a:cubicBezTo>
                  <a:pt x="127" y="260"/>
                  <a:pt x="90" y="230"/>
                  <a:pt x="90" y="178"/>
                </a:cubicBezTo>
                <a:cubicBezTo>
                  <a:pt x="90" y="121"/>
                  <a:pt x="133" y="88"/>
                  <a:pt x="175" y="88"/>
                </a:cubicBezTo>
                <a:cubicBezTo>
                  <a:pt x="227" y="88"/>
                  <a:pt x="269" y="126"/>
                  <a:pt x="269" y="172"/>
                </a:cubicBezTo>
                <a:cubicBezTo>
                  <a:pt x="269" y="239"/>
                  <a:pt x="218" y="257"/>
                  <a:pt x="218" y="257"/>
                </a:cubicBezTo>
              </a:path>
            </a:pathLst>
          </a:custGeom>
          <a:noFill/>
          <a:ln w="31750"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3" name="Freeform 473"/>
          <p:cNvSpPr>
            <a:spLocks/>
          </p:cNvSpPr>
          <p:nvPr userDrawn="1"/>
        </p:nvSpPr>
        <p:spPr bwMode="auto">
          <a:xfrm>
            <a:off x="8110674" y="2506097"/>
            <a:ext cx="523876" cy="271463"/>
          </a:xfrm>
          <a:custGeom>
            <a:avLst/>
            <a:gdLst/>
            <a:ahLst/>
            <a:cxnLst>
              <a:cxn ang="0">
                <a:pos x="110" y="87"/>
              </a:cxn>
              <a:cxn ang="0">
                <a:pos x="190" y="100"/>
              </a:cxn>
              <a:cxn ang="0">
                <a:pos x="325" y="158"/>
              </a:cxn>
              <a:cxn ang="0">
                <a:pos x="265" y="119"/>
              </a:cxn>
              <a:cxn ang="0">
                <a:pos x="244" y="130"/>
              </a:cxn>
              <a:cxn ang="0">
                <a:pos x="301" y="185"/>
              </a:cxn>
              <a:cxn ang="0">
                <a:pos x="228" y="138"/>
              </a:cxn>
              <a:cxn ang="0">
                <a:pos x="207" y="149"/>
              </a:cxn>
              <a:cxn ang="0">
                <a:pos x="258" y="202"/>
              </a:cxn>
              <a:cxn ang="0">
                <a:pos x="191" y="158"/>
              </a:cxn>
              <a:cxn ang="0">
                <a:pos x="170" y="169"/>
              </a:cxn>
              <a:cxn ang="0">
                <a:pos x="207" y="210"/>
              </a:cxn>
              <a:cxn ang="0">
                <a:pos x="114" y="157"/>
              </a:cxn>
              <a:cxn ang="0">
                <a:pos x="32" y="154"/>
              </a:cxn>
              <a:cxn ang="0">
                <a:pos x="98" y="68"/>
              </a:cxn>
              <a:cxn ang="0">
                <a:pos x="98" y="42"/>
              </a:cxn>
              <a:cxn ang="0">
                <a:pos x="33" y="51"/>
              </a:cxn>
              <a:cxn ang="0">
                <a:pos x="3" y="176"/>
              </a:cxn>
              <a:cxn ang="0">
                <a:pos x="101" y="181"/>
              </a:cxn>
              <a:cxn ang="0">
                <a:pos x="222" y="234"/>
              </a:cxn>
              <a:cxn ang="0">
                <a:pos x="277" y="225"/>
              </a:cxn>
              <a:cxn ang="0">
                <a:pos x="325" y="204"/>
              </a:cxn>
              <a:cxn ang="0">
                <a:pos x="330" y="185"/>
              </a:cxn>
              <a:cxn ang="0">
                <a:pos x="353" y="160"/>
              </a:cxn>
              <a:cxn ang="0">
                <a:pos x="287" y="84"/>
              </a:cxn>
              <a:cxn ang="0">
                <a:pos x="138" y="88"/>
              </a:cxn>
              <a:cxn ang="0">
                <a:pos x="162" y="59"/>
              </a:cxn>
              <a:cxn ang="0">
                <a:pos x="341" y="68"/>
              </a:cxn>
              <a:cxn ang="0">
                <a:pos x="431" y="68"/>
              </a:cxn>
              <a:cxn ang="0">
                <a:pos x="377" y="154"/>
              </a:cxn>
              <a:cxn ang="0">
                <a:pos x="377" y="181"/>
              </a:cxn>
              <a:cxn ang="0">
                <a:pos x="428" y="172"/>
              </a:cxn>
              <a:cxn ang="0">
                <a:pos x="459" y="47"/>
              </a:cxn>
              <a:cxn ang="0">
                <a:pos x="345" y="42"/>
              </a:cxn>
              <a:cxn ang="0">
                <a:pos x="147" y="37"/>
              </a:cxn>
            </a:cxnLst>
            <a:rect l="0" t="0" r="r" b="b"/>
            <a:pathLst>
              <a:path w="463" h="241">
                <a:moveTo>
                  <a:pt x="147" y="37"/>
                </a:moveTo>
                <a:cubicBezTo>
                  <a:pt x="124" y="52"/>
                  <a:pt x="110" y="70"/>
                  <a:pt x="110" y="87"/>
                </a:cubicBezTo>
                <a:cubicBezTo>
                  <a:pt x="110" y="97"/>
                  <a:pt x="115" y="105"/>
                  <a:pt x="124" y="111"/>
                </a:cubicBezTo>
                <a:cubicBezTo>
                  <a:pt x="144" y="124"/>
                  <a:pt x="166" y="113"/>
                  <a:pt x="190" y="100"/>
                </a:cubicBezTo>
                <a:cubicBezTo>
                  <a:pt x="217" y="85"/>
                  <a:pt x="248" y="87"/>
                  <a:pt x="270" y="104"/>
                </a:cubicBezTo>
                <a:cubicBezTo>
                  <a:pt x="311" y="138"/>
                  <a:pt x="322" y="152"/>
                  <a:pt x="325" y="158"/>
                </a:cubicBezTo>
                <a:cubicBezTo>
                  <a:pt x="323" y="158"/>
                  <a:pt x="319" y="156"/>
                  <a:pt x="311" y="152"/>
                </a:cubicBezTo>
                <a:cubicBezTo>
                  <a:pt x="301" y="146"/>
                  <a:pt x="287" y="136"/>
                  <a:pt x="265" y="119"/>
                </a:cubicBezTo>
                <a:cubicBezTo>
                  <a:pt x="260" y="114"/>
                  <a:pt x="251" y="116"/>
                  <a:pt x="247" y="121"/>
                </a:cubicBezTo>
                <a:cubicBezTo>
                  <a:pt x="245" y="124"/>
                  <a:pt x="244" y="127"/>
                  <a:pt x="244" y="130"/>
                </a:cubicBezTo>
                <a:cubicBezTo>
                  <a:pt x="244" y="133"/>
                  <a:pt x="246" y="137"/>
                  <a:pt x="249" y="140"/>
                </a:cubicBezTo>
                <a:cubicBezTo>
                  <a:pt x="264" y="152"/>
                  <a:pt x="292" y="174"/>
                  <a:pt x="301" y="185"/>
                </a:cubicBezTo>
                <a:cubicBezTo>
                  <a:pt x="297" y="184"/>
                  <a:pt x="291" y="181"/>
                  <a:pt x="281" y="175"/>
                </a:cubicBezTo>
                <a:cubicBezTo>
                  <a:pt x="268" y="168"/>
                  <a:pt x="251" y="155"/>
                  <a:pt x="228" y="138"/>
                </a:cubicBezTo>
                <a:cubicBezTo>
                  <a:pt x="222" y="134"/>
                  <a:pt x="214" y="135"/>
                  <a:pt x="209" y="141"/>
                </a:cubicBezTo>
                <a:cubicBezTo>
                  <a:pt x="208" y="143"/>
                  <a:pt x="207" y="146"/>
                  <a:pt x="207" y="149"/>
                </a:cubicBezTo>
                <a:cubicBezTo>
                  <a:pt x="207" y="153"/>
                  <a:pt x="209" y="157"/>
                  <a:pt x="212" y="159"/>
                </a:cubicBezTo>
                <a:cubicBezTo>
                  <a:pt x="244" y="184"/>
                  <a:pt x="255" y="197"/>
                  <a:pt x="258" y="202"/>
                </a:cubicBezTo>
                <a:cubicBezTo>
                  <a:pt x="255" y="202"/>
                  <a:pt x="250" y="200"/>
                  <a:pt x="240" y="194"/>
                </a:cubicBezTo>
                <a:cubicBezTo>
                  <a:pt x="228" y="187"/>
                  <a:pt x="212" y="175"/>
                  <a:pt x="191" y="158"/>
                </a:cubicBezTo>
                <a:cubicBezTo>
                  <a:pt x="186" y="154"/>
                  <a:pt x="177" y="154"/>
                  <a:pt x="173" y="160"/>
                </a:cubicBezTo>
                <a:cubicBezTo>
                  <a:pt x="171" y="163"/>
                  <a:pt x="170" y="166"/>
                  <a:pt x="170" y="169"/>
                </a:cubicBezTo>
                <a:cubicBezTo>
                  <a:pt x="170" y="172"/>
                  <a:pt x="171" y="176"/>
                  <a:pt x="174" y="179"/>
                </a:cubicBezTo>
                <a:cubicBezTo>
                  <a:pt x="196" y="196"/>
                  <a:pt x="204" y="206"/>
                  <a:pt x="207" y="210"/>
                </a:cubicBezTo>
                <a:cubicBezTo>
                  <a:pt x="202" y="210"/>
                  <a:pt x="192" y="208"/>
                  <a:pt x="170" y="196"/>
                </a:cubicBezTo>
                <a:cubicBezTo>
                  <a:pt x="152" y="186"/>
                  <a:pt x="131" y="171"/>
                  <a:pt x="114" y="157"/>
                </a:cubicBezTo>
                <a:cubicBezTo>
                  <a:pt x="111" y="155"/>
                  <a:pt x="108" y="154"/>
                  <a:pt x="105" y="154"/>
                </a:cubicBezTo>
                <a:cubicBezTo>
                  <a:pt x="105" y="154"/>
                  <a:pt x="55" y="154"/>
                  <a:pt x="32" y="154"/>
                </a:cubicBezTo>
                <a:cubicBezTo>
                  <a:pt x="38" y="132"/>
                  <a:pt x="52" y="82"/>
                  <a:pt x="56" y="68"/>
                </a:cubicBezTo>
                <a:cubicBezTo>
                  <a:pt x="69" y="68"/>
                  <a:pt x="98" y="68"/>
                  <a:pt x="98" y="68"/>
                </a:cubicBezTo>
                <a:cubicBezTo>
                  <a:pt x="105" y="68"/>
                  <a:pt x="111" y="62"/>
                  <a:pt x="111" y="55"/>
                </a:cubicBezTo>
                <a:cubicBezTo>
                  <a:pt x="111" y="48"/>
                  <a:pt x="105" y="42"/>
                  <a:pt x="98" y="42"/>
                </a:cubicBezTo>
                <a:cubicBezTo>
                  <a:pt x="46" y="42"/>
                  <a:pt x="46" y="42"/>
                  <a:pt x="46" y="42"/>
                </a:cubicBezTo>
                <a:cubicBezTo>
                  <a:pt x="40" y="42"/>
                  <a:pt x="35" y="46"/>
                  <a:pt x="33" y="51"/>
                </a:cubicBezTo>
                <a:cubicBezTo>
                  <a:pt x="1" y="164"/>
                  <a:pt x="1" y="164"/>
                  <a:pt x="1" y="164"/>
                </a:cubicBezTo>
                <a:cubicBezTo>
                  <a:pt x="0" y="168"/>
                  <a:pt x="1" y="172"/>
                  <a:pt x="3" y="176"/>
                </a:cubicBezTo>
                <a:cubicBezTo>
                  <a:pt x="6" y="179"/>
                  <a:pt x="10" y="181"/>
                  <a:pt x="14" y="181"/>
                </a:cubicBezTo>
                <a:cubicBezTo>
                  <a:pt x="14" y="181"/>
                  <a:pt x="92" y="181"/>
                  <a:pt x="101" y="181"/>
                </a:cubicBezTo>
                <a:cubicBezTo>
                  <a:pt x="119" y="196"/>
                  <a:pt x="141" y="210"/>
                  <a:pt x="160" y="221"/>
                </a:cubicBezTo>
                <a:cubicBezTo>
                  <a:pt x="190" y="237"/>
                  <a:pt x="209" y="241"/>
                  <a:pt x="222" y="234"/>
                </a:cubicBezTo>
                <a:cubicBezTo>
                  <a:pt x="229" y="230"/>
                  <a:pt x="232" y="225"/>
                  <a:pt x="233" y="221"/>
                </a:cubicBezTo>
                <a:cubicBezTo>
                  <a:pt x="252" y="230"/>
                  <a:pt x="266" y="232"/>
                  <a:pt x="277" y="225"/>
                </a:cubicBezTo>
                <a:cubicBezTo>
                  <a:pt x="283" y="220"/>
                  <a:pt x="286" y="215"/>
                  <a:pt x="287" y="208"/>
                </a:cubicBezTo>
                <a:cubicBezTo>
                  <a:pt x="298" y="213"/>
                  <a:pt x="315" y="217"/>
                  <a:pt x="325" y="204"/>
                </a:cubicBezTo>
                <a:cubicBezTo>
                  <a:pt x="329" y="198"/>
                  <a:pt x="330" y="193"/>
                  <a:pt x="330" y="189"/>
                </a:cubicBezTo>
                <a:cubicBezTo>
                  <a:pt x="330" y="187"/>
                  <a:pt x="330" y="186"/>
                  <a:pt x="330" y="185"/>
                </a:cubicBezTo>
                <a:cubicBezTo>
                  <a:pt x="337" y="184"/>
                  <a:pt x="342" y="181"/>
                  <a:pt x="347" y="175"/>
                </a:cubicBezTo>
                <a:cubicBezTo>
                  <a:pt x="351" y="171"/>
                  <a:pt x="353" y="166"/>
                  <a:pt x="353" y="160"/>
                </a:cubicBezTo>
                <a:cubicBezTo>
                  <a:pt x="353" y="160"/>
                  <a:pt x="353" y="159"/>
                  <a:pt x="353" y="158"/>
                </a:cubicBezTo>
                <a:cubicBezTo>
                  <a:pt x="352" y="145"/>
                  <a:pt x="341" y="128"/>
                  <a:pt x="287" y="84"/>
                </a:cubicBezTo>
                <a:cubicBezTo>
                  <a:pt x="256" y="59"/>
                  <a:pt x="213" y="56"/>
                  <a:pt x="177" y="76"/>
                </a:cubicBezTo>
                <a:cubicBezTo>
                  <a:pt x="149" y="92"/>
                  <a:pt x="143" y="91"/>
                  <a:pt x="138" y="88"/>
                </a:cubicBezTo>
                <a:cubicBezTo>
                  <a:pt x="137" y="87"/>
                  <a:pt x="137" y="87"/>
                  <a:pt x="137" y="87"/>
                </a:cubicBezTo>
                <a:cubicBezTo>
                  <a:pt x="137" y="82"/>
                  <a:pt x="144" y="71"/>
                  <a:pt x="162" y="59"/>
                </a:cubicBezTo>
                <a:cubicBezTo>
                  <a:pt x="208" y="30"/>
                  <a:pt x="281" y="51"/>
                  <a:pt x="320" y="63"/>
                </a:cubicBezTo>
                <a:cubicBezTo>
                  <a:pt x="329" y="65"/>
                  <a:pt x="335" y="67"/>
                  <a:pt x="341" y="68"/>
                </a:cubicBezTo>
                <a:cubicBezTo>
                  <a:pt x="341" y="68"/>
                  <a:pt x="342" y="68"/>
                  <a:pt x="343" y="68"/>
                </a:cubicBezTo>
                <a:cubicBezTo>
                  <a:pt x="343" y="68"/>
                  <a:pt x="406" y="68"/>
                  <a:pt x="431" y="68"/>
                </a:cubicBezTo>
                <a:cubicBezTo>
                  <a:pt x="424" y="90"/>
                  <a:pt x="409" y="141"/>
                  <a:pt x="405" y="154"/>
                </a:cubicBezTo>
                <a:cubicBezTo>
                  <a:pt x="394" y="154"/>
                  <a:pt x="377" y="154"/>
                  <a:pt x="377" y="154"/>
                </a:cubicBezTo>
                <a:cubicBezTo>
                  <a:pt x="370" y="154"/>
                  <a:pt x="364" y="160"/>
                  <a:pt x="364" y="168"/>
                </a:cubicBezTo>
                <a:cubicBezTo>
                  <a:pt x="364" y="175"/>
                  <a:pt x="370" y="181"/>
                  <a:pt x="377" y="181"/>
                </a:cubicBezTo>
                <a:cubicBezTo>
                  <a:pt x="415" y="181"/>
                  <a:pt x="415" y="181"/>
                  <a:pt x="415" y="181"/>
                </a:cubicBezTo>
                <a:cubicBezTo>
                  <a:pt x="421" y="181"/>
                  <a:pt x="426" y="177"/>
                  <a:pt x="428" y="172"/>
                </a:cubicBezTo>
                <a:cubicBezTo>
                  <a:pt x="461" y="59"/>
                  <a:pt x="461" y="59"/>
                  <a:pt x="461" y="59"/>
                </a:cubicBezTo>
                <a:cubicBezTo>
                  <a:pt x="463" y="55"/>
                  <a:pt x="462" y="50"/>
                  <a:pt x="459" y="47"/>
                </a:cubicBezTo>
                <a:cubicBezTo>
                  <a:pt x="457" y="44"/>
                  <a:pt x="453" y="42"/>
                  <a:pt x="449" y="42"/>
                </a:cubicBezTo>
                <a:cubicBezTo>
                  <a:pt x="449" y="42"/>
                  <a:pt x="348" y="42"/>
                  <a:pt x="345" y="42"/>
                </a:cubicBezTo>
                <a:cubicBezTo>
                  <a:pt x="341" y="41"/>
                  <a:pt x="335" y="39"/>
                  <a:pt x="328" y="37"/>
                </a:cubicBezTo>
                <a:cubicBezTo>
                  <a:pt x="284" y="24"/>
                  <a:pt x="204" y="0"/>
                  <a:pt x="147" y="3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4" name="Freeform 501"/>
          <p:cNvSpPr>
            <a:spLocks/>
          </p:cNvSpPr>
          <p:nvPr userDrawn="1"/>
        </p:nvSpPr>
        <p:spPr bwMode="auto">
          <a:xfrm>
            <a:off x="8115432" y="3068757"/>
            <a:ext cx="514350" cy="358775"/>
          </a:xfrm>
          <a:custGeom>
            <a:avLst/>
            <a:gdLst/>
            <a:ahLst/>
            <a:cxnLst>
              <a:cxn ang="0">
                <a:pos x="208" y="55"/>
              </a:cxn>
              <a:cxn ang="0">
                <a:pos x="208" y="292"/>
              </a:cxn>
              <a:cxn ang="0">
                <a:pos x="164" y="292"/>
              </a:cxn>
              <a:cxn ang="0">
                <a:pos x="164" y="179"/>
              </a:cxn>
              <a:cxn ang="0">
                <a:pos x="134" y="149"/>
              </a:cxn>
              <a:cxn ang="0">
                <a:pos x="82" y="144"/>
              </a:cxn>
              <a:cxn ang="0">
                <a:pos x="30" y="149"/>
              </a:cxn>
              <a:cxn ang="0">
                <a:pos x="0" y="179"/>
              </a:cxn>
              <a:cxn ang="0">
                <a:pos x="0" y="306"/>
              </a:cxn>
              <a:cxn ang="0">
                <a:pos x="14" y="319"/>
              </a:cxn>
              <a:cxn ang="0">
                <a:pos x="44" y="319"/>
              </a:cxn>
              <a:cxn ang="0">
                <a:pos x="54" y="314"/>
              </a:cxn>
              <a:cxn ang="0">
                <a:pos x="94" y="261"/>
              </a:cxn>
              <a:cxn ang="0">
                <a:pos x="94" y="306"/>
              </a:cxn>
              <a:cxn ang="0">
                <a:pos x="107" y="319"/>
              </a:cxn>
              <a:cxn ang="0">
                <a:pos x="120" y="306"/>
              </a:cxn>
              <a:cxn ang="0">
                <a:pos x="120" y="220"/>
              </a:cxn>
              <a:cxn ang="0">
                <a:pos x="111" y="207"/>
              </a:cxn>
              <a:cxn ang="0">
                <a:pos x="96" y="212"/>
              </a:cxn>
              <a:cxn ang="0">
                <a:pos x="37" y="292"/>
              </a:cxn>
              <a:cxn ang="0">
                <a:pos x="27" y="292"/>
              </a:cxn>
              <a:cxn ang="0">
                <a:pos x="27" y="179"/>
              </a:cxn>
              <a:cxn ang="0">
                <a:pos x="82" y="170"/>
              </a:cxn>
              <a:cxn ang="0">
                <a:pos x="137" y="179"/>
              </a:cxn>
              <a:cxn ang="0">
                <a:pos x="137" y="306"/>
              </a:cxn>
              <a:cxn ang="0">
                <a:pos x="150" y="319"/>
              </a:cxn>
              <a:cxn ang="0">
                <a:pos x="221" y="319"/>
              </a:cxn>
              <a:cxn ang="0">
                <a:pos x="234" y="306"/>
              </a:cxn>
              <a:cxn ang="0">
                <a:pos x="234" y="55"/>
              </a:cxn>
              <a:cxn ang="0">
                <a:pos x="333" y="26"/>
              </a:cxn>
              <a:cxn ang="0">
                <a:pos x="432" y="55"/>
              </a:cxn>
              <a:cxn ang="0">
                <a:pos x="432" y="292"/>
              </a:cxn>
              <a:cxn ang="0">
                <a:pos x="294" y="292"/>
              </a:cxn>
              <a:cxn ang="0">
                <a:pos x="383" y="148"/>
              </a:cxn>
              <a:cxn ang="0">
                <a:pos x="383" y="262"/>
              </a:cxn>
              <a:cxn ang="0">
                <a:pos x="397" y="275"/>
              </a:cxn>
              <a:cxn ang="0">
                <a:pos x="410" y="262"/>
              </a:cxn>
              <a:cxn ang="0">
                <a:pos x="410" y="101"/>
              </a:cxn>
              <a:cxn ang="0">
                <a:pos x="400" y="88"/>
              </a:cxn>
              <a:cxn ang="0">
                <a:pos x="385" y="94"/>
              </a:cxn>
              <a:cxn ang="0">
                <a:pos x="259" y="299"/>
              </a:cxn>
              <a:cxn ang="0">
                <a:pos x="258" y="312"/>
              </a:cxn>
              <a:cxn ang="0">
                <a:pos x="270" y="319"/>
              </a:cxn>
              <a:cxn ang="0">
                <a:pos x="445" y="319"/>
              </a:cxn>
              <a:cxn ang="0">
                <a:pos x="458" y="306"/>
              </a:cxn>
              <a:cxn ang="0">
                <a:pos x="458" y="55"/>
              </a:cxn>
              <a:cxn ang="0">
                <a:pos x="333" y="0"/>
              </a:cxn>
              <a:cxn ang="0">
                <a:pos x="208" y="55"/>
              </a:cxn>
            </a:cxnLst>
            <a:rect l="0" t="0" r="r" b="b"/>
            <a:pathLst>
              <a:path w="458" h="319">
                <a:moveTo>
                  <a:pt x="208" y="55"/>
                </a:moveTo>
                <a:cubicBezTo>
                  <a:pt x="208" y="55"/>
                  <a:pt x="208" y="269"/>
                  <a:pt x="208" y="292"/>
                </a:cubicBezTo>
                <a:cubicBezTo>
                  <a:pt x="194" y="292"/>
                  <a:pt x="177" y="292"/>
                  <a:pt x="164" y="292"/>
                </a:cubicBezTo>
                <a:cubicBezTo>
                  <a:pt x="164" y="271"/>
                  <a:pt x="164" y="179"/>
                  <a:pt x="164" y="179"/>
                </a:cubicBezTo>
                <a:cubicBezTo>
                  <a:pt x="164" y="169"/>
                  <a:pt x="159" y="156"/>
                  <a:pt x="134" y="149"/>
                </a:cubicBezTo>
                <a:cubicBezTo>
                  <a:pt x="118" y="145"/>
                  <a:pt x="97" y="144"/>
                  <a:pt x="82" y="144"/>
                </a:cubicBezTo>
                <a:cubicBezTo>
                  <a:pt x="67" y="144"/>
                  <a:pt x="46" y="145"/>
                  <a:pt x="30" y="149"/>
                </a:cubicBezTo>
                <a:cubicBezTo>
                  <a:pt x="5" y="156"/>
                  <a:pt x="0" y="169"/>
                  <a:pt x="0" y="179"/>
                </a:cubicBezTo>
                <a:cubicBezTo>
                  <a:pt x="0" y="306"/>
                  <a:pt x="0" y="306"/>
                  <a:pt x="0" y="306"/>
                </a:cubicBezTo>
                <a:cubicBezTo>
                  <a:pt x="0" y="313"/>
                  <a:pt x="6" y="319"/>
                  <a:pt x="14" y="319"/>
                </a:cubicBezTo>
                <a:cubicBezTo>
                  <a:pt x="44" y="319"/>
                  <a:pt x="44" y="319"/>
                  <a:pt x="44" y="319"/>
                </a:cubicBezTo>
                <a:cubicBezTo>
                  <a:pt x="48" y="319"/>
                  <a:pt x="52" y="317"/>
                  <a:pt x="54" y="314"/>
                </a:cubicBezTo>
                <a:cubicBezTo>
                  <a:pt x="54" y="314"/>
                  <a:pt x="75" y="286"/>
                  <a:pt x="94" y="261"/>
                </a:cubicBezTo>
                <a:cubicBezTo>
                  <a:pt x="94" y="283"/>
                  <a:pt x="94" y="306"/>
                  <a:pt x="94" y="306"/>
                </a:cubicBezTo>
                <a:cubicBezTo>
                  <a:pt x="94" y="313"/>
                  <a:pt x="100" y="319"/>
                  <a:pt x="107" y="319"/>
                </a:cubicBezTo>
                <a:cubicBezTo>
                  <a:pt x="114" y="319"/>
                  <a:pt x="120" y="313"/>
                  <a:pt x="120" y="306"/>
                </a:cubicBezTo>
                <a:cubicBezTo>
                  <a:pt x="120" y="220"/>
                  <a:pt x="120" y="220"/>
                  <a:pt x="120" y="220"/>
                </a:cubicBezTo>
                <a:cubicBezTo>
                  <a:pt x="120" y="214"/>
                  <a:pt x="117" y="209"/>
                  <a:pt x="111" y="207"/>
                </a:cubicBezTo>
                <a:cubicBezTo>
                  <a:pt x="106" y="206"/>
                  <a:pt x="100" y="207"/>
                  <a:pt x="96" y="212"/>
                </a:cubicBezTo>
                <a:cubicBezTo>
                  <a:pt x="96" y="212"/>
                  <a:pt x="44" y="283"/>
                  <a:pt x="37" y="292"/>
                </a:cubicBezTo>
                <a:cubicBezTo>
                  <a:pt x="33" y="292"/>
                  <a:pt x="32" y="292"/>
                  <a:pt x="27" y="292"/>
                </a:cubicBezTo>
                <a:cubicBezTo>
                  <a:pt x="27" y="271"/>
                  <a:pt x="27" y="181"/>
                  <a:pt x="27" y="179"/>
                </a:cubicBezTo>
                <a:cubicBezTo>
                  <a:pt x="30" y="177"/>
                  <a:pt x="44" y="170"/>
                  <a:pt x="82" y="170"/>
                </a:cubicBezTo>
                <a:cubicBezTo>
                  <a:pt x="120" y="170"/>
                  <a:pt x="134" y="177"/>
                  <a:pt x="137" y="179"/>
                </a:cubicBezTo>
                <a:cubicBezTo>
                  <a:pt x="137" y="181"/>
                  <a:pt x="137" y="306"/>
                  <a:pt x="137" y="306"/>
                </a:cubicBezTo>
                <a:cubicBezTo>
                  <a:pt x="137" y="313"/>
                  <a:pt x="143" y="319"/>
                  <a:pt x="150" y="319"/>
                </a:cubicBezTo>
                <a:cubicBezTo>
                  <a:pt x="221" y="319"/>
                  <a:pt x="221" y="319"/>
                  <a:pt x="221" y="319"/>
                </a:cubicBezTo>
                <a:cubicBezTo>
                  <a:pt x="228" y="319"/>
                  <a:pt x="234" y="313"/>
                  <a:pt x="234" y="306"/>
                </a:cubicBezTo>
                <a:cubicBezTo>
                  <a:pt x="234" y="55"/>
                  <a:pt x="234" y="55"/>
                  <a:pt x="234" y="55"/>
                </a:cubicBezTo>
                <a:cubicBezTo>
                  <a:pt x="234" y="45"/>
                  <a:pt x="268" y="26"/>
                  <a:pt x="333" y="26"/>
                </a:cubicBezTo>
                <a:cubicBezTo>
                  <a:pt x="398" y="26"/>
                  <a:pt x="432" y="45"/>
                  <a:pt x="432" y="55"/>
                </a:cubicBezTo>
                <a:cubicBezTo>
                  <a:pt x="432" y="55"/>
                  <a:pt x="432" y="269"/>
                  <a:pt x="432" y="292"/>
                </a:cubicBezTo>
                <a:cubicBezTo>
                  <a:pt x="412" y="292"/>
                  <a:pt x="327" y="292"/>
                  <a:pt x="294" y="292"/>
                </a:cubicBezTo>
                <a:cubicBezTo>
                  <a:pt x="310" y="267"/>
                  <a:pt x="355" y="193"/>
                  <a:pt x="383" y="148"/>
                </a:cubicBezTo>
                <a:cubicBezTo>
                  <a:pt x="383" y="195"/>
                  <a:pt x="383" y="262"/>
                  <a:pt x="383" y="262"/>
                </a:cubicBezTo>
                <a:cubicBezTo>
                  <a:pt x="383" y="269"/>
                  <a:pt x="389" y="275"/>
                  <a:pt x="397" y="275"/>
                </a:cubicBezTo>
                <a:cubicBezTo>
                  <a:pt x="404" y="275"/>
                  <a:pt x="410" y="269"/>
                  <a:pt x="410" y="262"/>
                </a:cubicBezTo>
                <a:cubicBezTo>
                  <a:pt x="410" y="101"/>
                  <a:pt x="410" y="101"/>
                  <a:pt x="410" y="101"/>
                </a:cubicBezTo>
                <a:cubicBezTo>
                  <a:pt x="410" y="95"/>
                  <a:pt x="406" y="90"/>
                  <a:pt x="400" y="88"/>
                </a:cubicBezTo>
                <a:cubicBezTo>
                  <a:pt x="395" y="87"/>
                  <a:pt x="388" y="89"/>
                  <a:pt x="385" y="94"/>
                </a:cubicBezTo>
                <a:cubicBezTo>
                  <a:pt x="259" y="299"/>
                  <a:pt x="259" y="299"/>
                  <a:pt x="259" y="299"/>
                </a:cubicBezTo>
                <a:cubicBezTo>
                  <a:pt x="256" y="303"/>
                  <a:pt x="256" y="308"/>
                  <a:pt x="258" y="312"/>
                </a:cubicBezTo>
                <a:cubicBezTo>
                  <a:pt x="261" y="316"/>
                  <a:pt x="265" y="319"/>
                  <a:pt x="270" y="319"/>
                </a:cubicBezTo>
                <a:cubicBezTo>
                  <a:pt x="445" y="319"/>
                  <a:pt x="445" y="319"/>
                  <a:pt x="445" y="319"/>
                </a:cubicBezTo>
                <a:cubicBezTo>
                  <a:pt x="452" y="319"/>
                  <a:pt x="458" y="313"/>
                  <a:pt x="458" y="306"/>
                </a:cubicBezTo>
                <a:cubicBezTo>
                  <a:pt x="458" y="55"/>
                  <a:pt x="458" y="55"/>
                  <a:pt x="458" y="55"/>
                </a:cubicBezTo>
                <a:cubicBezTo>
                  <a:pt x="458" y="17"/>
                  <a:pt x="395" y="0"/>
                  <a:pt x="333" y="0"/>
                </a:cubicBezTo>
                <a:cubicBezTo>
                  <a:pt x="271" y="0"/>
                  <a:pt x="208" y="17"/>
                  <a:pt x="208" y="5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5" name="Freeform 521"/>
          <p:cNvSpPr>
            <a:spLocks/>
          </p:cNvSpPr>
          <p:nvPr userDrawn="1"/>
        </p:nvSpPr>
        <p:spPr bwMode="auto">
          <a:xfrm>
            <a:off x="8192432" y="1835058"/>
            <a:ext cx="360363" cy="338137"/>
          </a:xfrm>
          <a:custGeom>
            <a:avLst/>
            <a:gdLst/>
            <a:ahLst/>
            <a:cxnLst>
              <a:cxn ang="0">
                <a:pos x="176" y="0"/>
              </a:cxn>
              <a:cxn ang="0">
                <a:pos x="143" y="5"/>
              </a:cxn>
              <a:cxn ang="0">
                <a:pos x="133" y="21"/>
              </a:cxn>
              <a:cxn ang="0">
                <a:pos x="149" y="31"/>
              </a:cxn>
              <a:cxn ang="0">
                <a:pos x="176" y="27"/>
              </a:cxn>
              <a:cxn ang="0">
                <a:pos x="291" y="154"/>
              </a:cxn>
              <a:cxn ang="0">
                <a:pos x="176" y="274"/>
              </a:cxn>
              <a:cxn ang="0">
                <a:pos x="62" y="154"/>
              </a:cxn>
              <a:cxn ang="0">
                <a:pos x="76" y="92"/>
              </a:cxn>
              <a:cxn ang="0">
                <a:pos x="88" y="123"/>
              </a:cxn>
              <a:cxn ang="0">
                <a:pos x="88" y="123"/>
              </a:cxn>
              <a:cxn ang="0">
                <a:pos x="105" y="131"/>
              </a:cxn>
              <a:cxn ang="0">
                <a:pos x="113" y="114"/>
              </a:cxn>
              <a:cxn ang="0">
                <a:pos x="93" y="60"/>
              </a:cxn>
              <a:cxn ang="0">
                <a:pos x="91" y="55"/>
              </a:cxn>
              <a:cxn ang="0">
                <a:pos x="75" y="48"/>
              </a:cxn>
              <a:cxn ang="0">
                <a:pos x="11" y="67"/>
              </a:cxn>
              <a:cxn ang="0">
                <a:pos x="2" y="83"/>
              </a:cxn>
              <a:cxn ang="0">
                <a:pos x="18" y="92"/>
              </a:cxn>
              <a:cxn ang="0">
                <a:pos x="51" y="83"/>
              </a:cxn>
              <a:cxn ang="0">
                <a:pos x="35" y="154"/>
              </a:cxn>
              <a:cxn ang="0">
                <a:pos x="76" y="259"/>
              </a:cxn>
              <a:cxn ang="0">
                <a:pos x="176" y="300"/>
              </a:cxn>
              <a:cxn ang="0">
                <a:pos x="276" y="259"/>
              </a:cxn>
              <a:cxn ang="0">
                <a:pos x="318" y="154"/>
              </a:cxn>
              <a:cxn ang="0">
                <a:pos x="176" y="0"/>
              </a:cxn>
            </a:cxnLst>
            <a:rect l="0" t="0" r="r" b="b"/>
            <a:pathLst>
              <a:path w="318" h="300">
                <a:moveTo>
                  <a:pt x="176" y="0"/>
                </a:moveTo>
                <a:cubicBezTo>
                  <a:pt x="165" y="0"/>
                  <a:pt x="154" y="2"/>
                  <a:pt x="143" y="5"/>
                </a:cubicBezTo>
                <a:cubicBezTo>
                  <a:pt x="135" y="7"/>
                  <a:pt x="131" y="14"/>
                  <a:pt x="133" y="21"/>
                </a:cubicBezTo>
                <a:cubicBezTo>
                  <a:pt x="135" y="28"/>
                  <a:pt x="142" y="32"/>
                  <a:pt x="149" y="31"/>
                </a:cubicBezTo>
                <a:cubicBezTo>
                  <a:pt x="158" y="28"/>
                  <a:pt x="167" y="27"/>
                  <a:pt x="176" y="27"/>
                </a:cubicBezTo>
                <a:cubicBezTo>
                  <a:pt x="240" y="27"/>
                  <a:pt x="291" y="84"/>
                  <a:pt x="291" y="154"/>
                </a:cubicBezTo>
                <a:cubicBezTo>
                  <a:pt x="291" y="222"/>
                  <a:pt x="242" y="274"/>
                  <a:pt x="176" y="274"/>
                </a:cubicBezTo>
                <a:cubicBezTo>
                  <a:pt x="111" y="274"/>
                  <a:pt x="62" y="222"/>
                  <a:pt x="62" y="154"/>
                </a:cubicBezTo>
                <a:cubicBezTo>
                  <a:pt x="62" y="132"/>
                  <a:pt x="67" y="111"/>
                  <a:pt x="76" y="92"/>
                </a:cubicBezTo>
                <a:cubicBezTo>
                  <a:pt x="88" y="123"/>
                  <a:pt x="88" y="123"/>
                  <a:pt x="88" y="123"/>
                </a:cubicBezTo>
                <a:cubicBezTo>
                  <a:pt x="88" y="123"/>
                  <a:pt x="88" y="123"/>
                  <a:pt x="88" y="123"/>
                </a:cubicBezTo>
                <a:cubicBezTo>
                  <a:pt x="91" y="130"/>
                  <a:pt x="98" y="134"/>
                  <a:pt x="105" y="131"/>
                </a:cubicBezTo>
                <a:cubicBezTo>
                  <a:pt x="112" y="128"/>
                  <a:pt x="115" y="121"/>
                  <a:pt x="113" y="114"/>
                </a:cubicBezTo>
                <a:cubicBezTo>
                  <a:pt x="93" y="60"/>
                  <a:pt x="93" y="60"/>
                  <a:pt x="93" y="60"/>
                </a:cubicBezTo>
                <a:cubicBezTo>
                  <a:pt x="92" y="58"/>
                  <a:pt x="92" y="56"/>
                  <a:pt x="91" y="55"/>
                </a:cubicBezTo>
                <a:cubicBezTo>
                  <a:pt x="88" y="49"/>
                  <a:pt x="81" y="46"/>
                  <a:pt x="75" y="48"/>
                </a:cubicBezTo>
                <a:cubicBezTo>
                  <a:pt x="11" y="67"/>
                  <a:pt x="11" y="67"/>
                  <a:pt x="11" y="67"/>
                </a:cubicBezTo>
                <a:cubicBezTo>
                  <a:pt x="4" y="69"/>
                  <a:pt x="0" y="76"/>
                  <a:pt x="2" y="83"/>
                </a:cubicBezTo>
                <a:cubicBezTo>
                  <a:pt x="4" y="90"/>
                  <a:pt x="11" y="94"/>
                  <a:pt x="18" y="92"/>
                </a:cubicBezTo>
                <a:cubicBezTo>
                  <a:pt x="51" y="83"/>
                  <a:pt x="51" y="83"/>
                  <a:pt x="51" y="83"/>
                </a:cubicBezTo>
                <a:cubicBezTo>
                  <a:pt x="41" y="104"/>
                  <a:pt x="35" y="129"/>
                  <a:pt x="35" y="154"/>
                </a:cubicBezTo>
                <a:cubicBezTo>
                  <a:pt x="35" y="194"/>
                  <a:pt x="50" y="231"/>
                  <a:pt x="76" y="259"/>
                </a:cubicBezTo>
                <a:cubicBezTo>
                  <a:pt x="103" y="286"/>
                  <a:pt x="138" y="300"/>
                  <a:pt x="176" y="300"/>
                </a:cubicBezTo>
                <a:cubicBezTo>
                  <a:pt x="215" y="300"/>
                  <a:pt x="250" y="286"/>
                  <a:pt x="276" y="259"/>
                </a:cubicBezTo>
                <a:cubicBezTo>
                  <a:pt x="303" y="231"/>
                  <a:pt x="318" y="194"/>
                  <a:pt x="318" y="154"/>
                </a:cubicBezTo>
                <a:cubicBezTo>
                  <a:pt x="318" y="69"/>
                  <a:pt x="254" y="0"/>
                  <a:pt x="176" y="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6" name="Freeform 560"/>
          <p:cNvSpPr>
            <a:spLocks/>
          </p:cNvSpPr>
          <p:nvPr userDrawn="1"/>
        </p:nvSpPr>
        <p:spPr bwMode="auto">
          <a:xfrm>
            <a:off x="8246407" y="5065121"/>
            <a:ext cx="252413" cy="515939"/>
          </a:xfrm>
          <a:custGeom>
            <a:avLst/>
            <a:gdLst/>
            <a:ahLst/>
            <a:cxnLst>
              <a:cxn ang="0">
                <a:pos x="98" y="14"/>
              </a:cxn>
              <a:cxn ang="0">
                <a:pos x="98" y="14"/>
              </a:cxn>
              <a:cxn ang="0">
                <a:pos x="111" y="27"/>
              </a:cxn>
              <a:cxn ang="0">
                <a:pos x="168" y="36"/>
              </a:cxn>
              <a:cxn ang="0">
                <a:pos x="111" y="41"/>
              </a:cxn>
              <a:cxn ang="0">
                <a:pos x="44" y="32"/>
              </a:cxn>
              <a:cxn ang="0">
                <a:pos x="39" y="28"/>
              </a:cxn>
              <a:cxn ang="0">
                <a:pos x="25" y="28"/>
              </a:cxn>
              <a:cxn ang="0">
                <a:pos x="18" y="40"/>
              </a:cxn>
              <a:cxn ang="0">
                <a:pos x="14" y="62"/>
              </a:cxn>
              <a:cxn ang="0">
                <a:pos x="12" y="66"/>
              </a:cxn>
              <a:cxn ang="0">
                <a:pos x="0" y="111"/>
              </a:cxn>
              <a:cxn ang="0">
                <a:pos x="0" y="372"/>
              </a:cxn>
              <a:cxn ang="0">
                <a:pos x="0" y="372"/>
              </a:cxn>
              <a:cxn ang="0">
                <a:pos x="0" y="372"/>
              </a:cxn>
              <a:cxn ang="0">
                <a:pos x="22" y="424"/>
              </a:cxn>
              <a:cxn ang="0">
                <a:pos x="110" y="454"/>
              </a:cxn>
              <a:cxn ang="0">
                <a:pos x="200" y="429"/>
              </a:cxn>
              <a:cxn ang="0">
                <a:pos x="223" y="375"/>
              </a:cxn>
              <a:cxn ang="0">
                <a:pos x="223" y="113"/>
              </a:cxn>
              <a:cxn ang="0">
                <a:pos x="209" y="100"/>
              </a:cxn>
              <a:cxn ang="0">
                <a:pos x="196" y="113"/>
              </a:cxn>
              <a:cxn ang="0">
                <a:pos x="196" y="375"/>
              </a:cxn>
              <a:cxn ang="0">
                <a:pos x="182" y="409"/>
              </a:cxn>
              <a:cxn ang="0">
                <a:pos x="112" y="428"/>
              </a:cxn>
              <a:cxn ang="0">
                <a:pos x="110" y="428"/>
              </a:cxn>
              <a:cxn ang="0">
                <a:pos x="42" y="406"/>
              </a:cxn>
              <a:cxn ang="0">
                <a:pos x="27" y="372"/>
              </a:cxn>
              <a:cxn ang="0">
                <a:pos x="27" y="111"/>
              </a:cxn>
              <a:cxn ang="0">
                <a:pos x="35" y="79"/>
              </a:cxn>
              <a:cxn ang="0">
                <a:pos x="37" y="75"/>
              </a:cxn>
              <a:cxn ang="0">
                <a:pos x="43" y="60"/>
              </a:cxn>
              <a:cxn ang="0">
                <a:pos x="111" y="67"/>
              </a:cxn>
              <a:cxn ang="0">
                <a:pos x="171" y="62"/>
              </a:cxn>
              <a:cxn ang="0">
                <a:pos x="205" y="37"/>
              </a:cxn>
              <a:cxn ang="0">
                <a:pos x="111" y="0"/>
              </a:cxn>
              <a:cxn ang="0">
                <a:pos x="98" y="14"/>
              </a:cxn>
            </a:cxnLst>
            <a:rect l="0" t="0" r="r" b="b"/>
            <a:pathLst>
              <a:path w="223" h="458">
                <a:moveTo>
                  <a:pt x="98" y="14"/>
                </a:moveTo>
                <a:cubicBezTo>
                  <a:pt x="98" y="14"/>
                  <a:pt x="98" y="14"/>
                  <a:pt x="98" y="14"/>
                </a:cubicBezTo>
                <a:cubicBezTo>
                  <a:pt x="98" y="21"/>
                  <a:pt x="104" y="27"/>
                  <a:pt x="111" y="27"/>
                </a:cubicBezTo>
                <a:cubicBezTo>
                  <a:pt x="136" y="27"/>
                  <a:pt x="156" y="31"/>
                  <a:pt x="168" y="36"/>
                </a:cubicBezTo>
                <a:cubicBezTo>
                  <a:pt x="156" y="38"/>
                  <a:pt x="137" y="41"/>
                  <a:pt x="111" y="41"/>
                </a:cubicBezTo>
                <a:cubicBezTo>
                  <a:pt x="73" y="41"/>
                  <a:pt x="50" y="35"/>
                  <a:pt x="44" y="32"/>
                </a:cubicBezTo>
                <a:cubicBezTo>
                  <a:pt x="44" y="31"/>
                  <a:pt x="39" y="28"/>
                  <a:pt x="39" y="28"/>
                </a:cubicBezTo>
                <a:cubicBezTo>
                  <a:pt x="35" y="25"/>
                  <a:pt x="30" y="25"/>
                  <a:pt x="25" y="28"/>
                </a:cubicBezTo>
                <a:cubicBezTo>
                  <a:pt x="21" y="30"/>
                  <a:pt x="18" y="35"/>
                  <a:pt x="18" y="40"/>
                </a:cubicBezTo>
                <a:cubicBezTo>
                  <a:pt x="18" y="40"/>
                  <a:pt x="19" y="52"/>
                  <a:pt x="14" y="62"/>
                </a:cubicBezTo>
                <a:cubicBezTo>
                  <a:pt x="12" y="66"/>
                  <a:pt x="12" y="66"/>
                  <a:pt x="12" y="66"/>
                </a:cubicBezTo>
                <a:cubicBezTo>
                  <a:pt x="4" y="79"/>
                  <a:pt x="0" y="88"/>
                  <a:pt x="0" y="111"/>
                </a:cubicBezTo>
                <a:cubicBezTo>
                  <a:pt x="0" y="372"/>
                  <a:pt x="0" y="372"/>
                  <a:pt x="0" y="372"/>
                </a:cubicBezTo>
                <a:cubicBezTo>
                  <a:pt x="0" y="372"/>
                  <a:pt x="0" y="372"/>
                  <a:pt x="0" y="372"/>
                </a:cubicBezTo>
                <a:cubicBezTo>
                  <a:pt x="0" y="372"/>
                  <a:pt x="0" y="372"/>
                  <a:pt x="0" y="372"/>
                </a:cubicBezTo>
                <a:cubicBezTo>
                  <a:pt x="0" y="376"/>
                  <a:pt x="1" y="402"/>
                  <a:pt x="22" y="424"/>
                </a:cubicBezTo>
                <a:cubicBezTo>
                  <a:pt x="42" y="444"/>
                  <a:pt x="71" y="454"/>
                  <a:pt x="110" y="454"/>
                </a:cubicBezTo>
                <a:cubicBezTo>
                  <a:pt x="114" y="454"/>
                  <a:pt x="168" y="458"/>
                  <a:pt x="200" y="429"/>
                </a:cubicBezTo>
                <a:cubicBezTo>
                  <a:pt x="215" y="415"/>
                  <a:pt x="223" y="397"/>
                  <a:pt x="223" y="375"/>
                </a:cubicBezTo>
                <a:cubicBezTo>
                  <a:pt x="223" y="113"/>
                  <a:pt x="223" y="113"/>
                  <a:pt x="223" y="113"/>
                </a:cubicBezTo>
                <a:cubicBezTo>
                  <a:pt x="223" y="106"/>
                  <a:pt x="217" y="100"/>
                  <a:pt x="209" y="100"/>
                </a:cubicBezTo>
                <a:cubicBezTo>
                  <a:pt x="202" y="100"/>
                  <a:pt x="196" y="106"/>
                  <a:pt x="196" y="113"/>
                </a:cubicBezTo>
                <a:cubicBezTo>
                  <a:pt x="196" y="375"/>
                  <a:pt x="196" y="375"/>
                  <a:pt x="196" y="375"/>
                </a:cubicBezTo>
                <a:cubicBezTo>
                  <a:pt x="196" y="389"/>
                  <a:pt x="192" y="401"/>
                  <a:pt x="182" y="409"/>
                </a:cubicBezTo>
                <a:cubicBezTo>
                  <a:pt x="158" y="431"/>
                  <a:pt x="112" y="428"/>
                  <a:pt x="112" y="428"/>
                </a:cubicBezTo>
                <a:cubicBezTo>
                  <a:pt x="111" y="428"/>
                  <a:pt x="111" y="428"/>
                  <a:pt x="110" y="428"/>
                </a:cubicBezTo>
                <a:cubicBezTo>
                  <a:pt x="79" y="428"/>
                  <a:pt x="56" y="420"/>
                  <a:pt x="42" y="406"/>
                </a:cubicBezTo>
                <a:cubicBezTo>
                  <a:pt x="27" y="391"/>
                  <a:pt x="27" y="373"/>
                  <a:pt x="27" y="372"/>
                </a:cubicBezTo>
                <a:cubicBezTo>
                  <a:pt x="27" y="372"/>
                  <a:pt x="27" y="111"/>
                  <a:pt x="27" y="111"/>
                </a:cubicBezTo>
                <a:cubicBezTo>
                  <a:pt x="27" y="94"/>
                  <a:pt x="29" y="89"/>
                  <a:pt x="35" y="79"/>
                </a:cubicBezTo>
                <a:cubicBezTo>
                  <a:pt x="37" y="75"/>
                  <a:pt x="37" y="75"/>
                  <a:pt x="37" y="75"/>
                </a:cubicBezTo>
                <a:cubicBezTo>
                  <a:pt x="40" y="70"/>
                  <a:pt x="42" y="65"/>
                  <a:pt x="43" y="60"/>
                </a:cubicBezTo>
                <a:cubicBezTo>
                  <a:pt x="59" y="65"/>
                  <a:pt x="83" y="67"/>
                  <a:pt x="111" y="67"/>
                </a:cubicBezTo>
                <a:cubicBezTo>
                  <a:pt x="134" y="67"/>
                  <a:pt x="155" y="66"/>
                  <a:pt x="171" y="62"/>
                </a:cubicBezTo>
                <a:cubicBezTo>
                  <a:pt x="180" y="60"/>
                  <a:pt x="205" y="55"/>
                  <a:pt x="205" y="37"/>
                </a:cubicBezTo>
                <a:cubicBezTo>
                  <a:pt x="205" y="12"/>
                  <a:pt x="150" y="0"/>
                  <a:pt x="111" y="0"/>
                </a:cubicBezTo>
                <a:cubicBezTo>
                  <a:pt x="104" y="0"/>
                  <a:pt x="98" y="6"/>
                  <a:pt x="98" y="1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7" name="Freeform 580"/>
          <p:cNvSpPr>
            <a:spLocks/>
          </p:cNvSpPr>
          <p:nvPr userDrawn="1"/>
        </p:nvSpPr>
        <p:spPr bwMode="auto">
          <a:xfrm>
            <a:off x="8124167" y="3689010"/>
            <a:ext cx="496888" cy="495300"/>
          </a:xfrm>
          <a:custGeom>
            <a:avLst/>
            <a:gdLst/>
            <a:ahLst/>
            <a:cxnLst>
              <a:cxn ang="0">
                <a:pos x="415" y="114"/>
              </a:cxn>
              <a:cxn ang="0">
                <a:pos x="387" y="114"/>
              </a:cxn>
              <a:cxn ang="0">
                <a:pos x="415" y="60"/>
              </a:cxn>
              <a:cxn ang="0">
                <a:pos x="295" y="60"/>
              </a:cxn>
              <a:cxn ang="0">
                <a:pos x="334" y="104"/>
              </a:cxn>
              <a:cxn ang="0">
                <a:pos x="320" y="60"/>
              </a:cxn>
              <a:cxn ang="0">
                <a:pos x="389" y="60"/>
              </a:cxn>
              <a:cxn ang="0">
                <a:pos x="365" y="93"/>
              </a:cxn>
              <a:cxn ang="0">
                <a:pos x="363" y="94"/>
              </a:cxn>
              <a:cxn ang="0">
                <a:pos x="361" y="95"/>
              </a:cxn>
              <a:cxn ang="0">
                <a:pos x="360" y="97"/>
              </a:cxn>
              <a:cxn ang="0">
                <a:pos x="359" y="99"/>
              </a:cxn>
              <a:cxn ang="0">
                <a:pos x="358" y="102"/>
              </a:cxn>
              <a:cxn ang="0">
                <a:pos x="358" y="104"/>
              </a:cxn>
              <a:cxn ang="0">
                <a:pos x="358" y="107"/>
              </a:cxn>
              <a:cxn ang="0">
                <a:pos x="365" y="130"/>
              </a:cxn>
              <a:cxn ang="0">
                <a:pos x="409" y="139"/>
              </a:cxn>
              <a:cxn ang="0">
                <a:pos x="415" y="143"/>
              </a:cxn>
              <a:cxn ang="0">
                <a:pos x="382" y="413"/>
              </a:cxn>
              <a:cxn ang="0">
                <a:pos x="399" y="203"/>
              </a:cxn>
              <a:cxn ang="0">
                <a:pos x="353" y="132"/>
              </a:cxn>
              <a:cxn ang="0">
                <a:pos x="351" y="131"/>
              </a:cxn>
              <a:cxn ang="0">
                <a:pos x="349" y="129"/>
              </a:cxn>
              <a:cxn ang="0">
                <a:pos x="347" y="128"/>
              </a:cxn>
              <a:cxn ang="0">
                <a:pos x="345" y="127"/>
              </a:cxn>
              <a:cxn ang="0">
                <a:pos x="342" y="127"/>
              </a:cxn>
              <a:cxn ang="0">
                <a:pos x="316" y="131"/>
              </a:cxn>
              <a:cxn ang="0">
                <a:pos x="191" y="154"/>
              </a:cxn>
              <a:cxn ang="0">
                <a:pos x="202" y="413"/>
              </a:cxn>
              <a:cxn ang="0">
                <a:pos x="0" y="426"/>
              </a:cxn>
              <a:cxn ang="0">
                <a:pos x="216" y="439"/>
              </a:cxn>
              <a:cxn ang="0">
                <a:pos x="228" y="425"/>
              </a:cxn>
              <a:cxn ang="0">
                <a:pos x="337" y="153"/>
              </a:cxn>
              <a:cxn ang="0">
                <a:pos x="347" y="425"/>
              </a:cxn>
              <a:cxn ang="0">
                <a:pos x="360" y="439"/>
              </a:cxn>
              <a:cxn ang="0">
                <a:pos x="394" y="439"/>
              </a:cxn>
              <a:cxn ang="0">
                <a:pos x="396" y="438"/>
              </a:cxn>
              <a:cxn ang="0">
                <a:pos x="398" y="438"/>
              </a:cxn>
              <a:cxn ang="0">
                <a:pos x="400" y="437"/>
              </a:cxn>
              <a:cxn ang="0">
                <a:pos x="402" y="435"/>
              </a:cxn>
              <a:cxn ang="0">
                <a:pos x="404" y="433"/>
              </a:cxn>
              <a:cxn ang="0">
                <a:pos x="405" y="431"/>
              </a:cxn>
              <a:cxn ang="0">
                <a:pos x="406" y="429"/>
              </a:cxn>
              <a:cxn ang="0">
                <a:pos x="406" y="427"/>
              </a:cxn>
              <a:cxn ang="0">
                <a:pos x="440" y="146"/>
              </a:cxn>
              <a:cxn ang="0">
                <a:pos x="440" y="143"/>
              </a:cxn>
            </a:cxnLst>
            <a:rect l="0" t="0" r="r" b="b"/>
            <a:pathLst>
              <a:path w="440" h="439">
                <a:moveTo>
                  <a:pt x="440" y="143"/>
                </a:moveTo>
                <a:cubicBezTo>
                  <a:pt x="440" y="128"/>
                  <a:pt x="429" y="116"/>
                  <a:pt x="415" y="114"/>
                </a:cubicBezTo>
                <a:cubicBezTo>
                  <a:pt x="414" y="114"/>
                  <a:pt x="413" y="114"/>
                  <a:pt x="411" y="114"/>
                </a:cubicBezTo>
                <a:cubicBezTo>
                  <a:pt x="387" y="114"/>
                  <a:pt x="387" y="114"/>
                  <a:pt x="387" y="114"/>
                </a:cubicBezTo>
                <a:cubicBezTo>
                  <a:pt x="386" y="111"/>
                  <a:pt x="386" y="111"/>
                  <a:pt x="386" y="111"/>
                </a:cubicBezTo>
                <a:cubicBezTo>
                  <a:pt x="403" y="100"/>
                  <a:pt x="415" y="81"/>
                  <a:pt x="415" y="60"/>
                </a:cubicBezTo>
                <a:cubicBezTo>
                  <a:pt x="415" y="27"/>
                  <a:pt x="388" y="0"/>
                  <a:pt x="355" y="0"/>
                </a:cubicBezTo>
                <a:cubicBezTo>
                  <a:pt x="322" y="0"/>
                  <a:pt x="295" y="27"/>
                  <a:pt x="295" y="60"/>
                </a:cubicBezTo>
                <a:cubicBezTo>
                  <a:pt x="295" y="78"/>
                  <a:pt x="303" y="95"/>
                  <a:pt x="317" y="106"/>
                </a:cubicBezTo>
                <a:cubicBezTo>
                  <a:pt x="322" y="110"/>
                  <a:pt x="330" y="109"/>
                  <a:pt x="334" y="104"/>
                </a:cubicBezTo>
                <a:cubicBezTo>
                  <a:pt x="339" y="99"/>
                  <a:pt x="338" y="91"/>
                  <a:pt x="333" y="86"/>
                </a:cubicBezTo>
                <a:cubicBezTo>
                  <a:pt x="325" y="80"/>
                  <a:pt x="320" y="70"/>
                  <a:pt x="320" y="60"/>
                </a:cubicBezTo>
                <a:cubicBezTo>
                  <a:pt x="320" y="40"/>
                  <a:pt x="336" y="25"/>
                  <a:pt x="355" y="25"/>
                </a:cubicBezTo>
                <a:cubicBezTo>
                  <a:pt x="374" y="25"/>
                  <a:pt x="389" y="40"/>
                  <a:pt x="389" y="60"/>
                </a:cubicBezTo>
                <a:cubicBezTo>
                  <a:pt x="389" y="75"/>
                  <a:pt x="380" y="87"/>
                  <a:pt x="366" y="92"/>
                </a:cubicBezTo>
                <a:cubicBezTo>
                  <a:pt x="366" y="92"/>
                  <a:pt x="366" y="93"/>
                  <a:pt x="365" y="93"/>
                </a:cubicBezTo>
                <a:cubicBezTo>
                  <a:pt x="365" y="93"/>
                  <a:pt x="365" y="93"/>
                  <a:pt x="364" y="93"/>
                </a:cubicBezTo>
                <a:cubicBezTo>
                  <a:pt x="364" y="93"/>
                  <a:pt x="364" y="94"/>
                  <a:pt x="363" y="94"/>
                </a:cubicBezTo>
                <a:cubicBezTo>
                  <a:pt x="363" y="94"/>
                  <a:pt x="362" y="94"/>
                  <a:pt x="362" y="95"/>
                </a:cubicBezTo>
                <a:cubicBezTo>
                  <a:pt x="362" y="95"/>
                  <a:pt x="362" y="95"/>
                  <a:pt x="361" y="95"/>
                </a:cubicBezTo>
                <a:cubicBezTo>
                  <a:pt x="361" y="96"/>
                  <a:pt x="361" y="96"/>
                  <a:pt x="360" y="96"/>
                </a:cubicBezTo>
                <a:cubicBezTo>
                  <a:pt x="360" y="97"/>
                  <a:pt x="360" y="97"/>
                  <a:pt x="360" y="97"/>
                </a:cubicBezTo>
                <a:cubicBezTo>
                  <a:pt x="360" y="98"/>
                  <a:pt x="359" y="98"/>
                  <a:pt x="359" y="99"/>
                </a:cubicBezTo>
                <a:cubicBezTo>
                  <a:pt x="359" y="99"/>
                  <a:pt x="359" y="99"/>
                  <a:pt x="359" y="99"/>
                </a:cubicBezTo>
                <a:cubicBezTo>
                  <a:pt x="359" y="100"/>
                  <a:pt x="358" y="100"/>
                  <a:pt x="358" y="101"/>
                </a:cubicBezTo>
                <a:cubicBezTo>
                  <a:pt x="358" y="101"/>
                  <a:pt x="358" y="101"/>
                  <a:pt x="358" y="102"/>
                </a:cubicBezTo>
                <a:cubicBezTo>
                  <a:pt x="358" y="102"/>
                  <a:pt x="358" y="103"/>
                  <a:pt x="358" y="103"/>
                </a:cubicBezTo>
                <a:cubicBezTo>
                  <a:pt x="358" y="103"/>
                  <a:pt x="358" y="104"/>
                  <a:pt x="358" y="104"/>
                </a:cubicBezTo>
                <a:cubicBezTo>
                  <a:pt x="358" y="105"/>
                  <a:pt x="358" y="105"/>
                  <a:pt x="358" y="106"/>
                </a:cubicBezTo>
                <a:cubicBezTo>
                  <a:pt x="358" y="106"/>
                  <a:pt x="358" y="106"/>
                  <a:pt x="358" y="107"/>
                </a:cubicBezTo>
                <a:cubicBezTo>
                  <a:pt x="358" y="107"/>
                  <a:pt x="358" y="107"/>
                  <a:pt x="358" y="108"/>
                </a:cubicBezTo>
                <a:cubicBezTo>
                  <a:pt x="365" y="130"/>
                  <a:pt x="365" y="130"/>
                  <a:pt x="365" y="130"/>
                </a:cubicBezTo>
                <a:cubicBezTo>
                  <a:pt x="367" y="135"/>
                  <a:pt x="372" y="139"/>
                  <a:pt x="377" y="139"/>
                </a:cubicBezTo>
                <a:cubicBezTo>
                  <a:pt x="409" y="139"/>
                  <a:pt x="409" y="139"/>
                  <a:pt x="409" y="139"/>
                </a:cubicBezTo>
                <a:cubicBezTo>
                  <a:pt x="410" y="139"/>
                  <a:pt x="411" y="139"/>
                  <a:pt x="411" y="139"/>
                </a:cubicBezTo>
                <a:cubicBezTo>
                  <a:pt x="413" y="139"/>
                  <a:pt x="415" y="141"/>
                  <a:pt x="415" y="143"/>
                </a:cubicBezTo>
                <a:cubicBezTo>
                  <a:pt x="415" y="143"/>
                  <a:pt x="415" y="143"/>
                  <a:pt x="415" y="144"/>
                </a:cubicBezTo>
                <a:cubicBezTo>
                  <a:pt x="382" y="413"/>
                  <a:pt x="382" y="413"/>
                  <a:pt x="382" y="413"/>
                </a:cubicBezTo>
                <a:cubicBezTo>
                  <a:pt x="374" y="413"/>
                  <a:pt x="374" y="413"/>
                  <a:pt x="374" y="413"/>
                </a:cubicBezTo>
                <a:cubicBezTo>
                  <a:pt x="399" y="203"/>
                  <a:pt x="399" y="203"/>
                  <a:pt x="399" y="203"/>
                </a:cubicBezTo>
                <a:cubicBezTo>
                  <a:pt x="399" y="199"/>
                  <a:pt x="398" y="196"/>
                  <a:pt x="396" y="194"/>
                </a:cubicBezTo>
                <a:cubicBezTo>
                  <a:pt x="353" y="132"/>
                  <a:pt x="353" y="132"/>
                  <a:pt x="353" y="132"/>
                </a:cubicBezTo>
                <a:cubicBezTo>
                  <a:pt x="352" y="132"/>
                  <a:pt x="352" y="131"/>
                  <a:pt x="351" y="131"/>
                </a:cubicBezTo>
                <a:cubicBezTo>
                  <a:pt x="351" y="131"/>
                  <a:pt x="351" y="131"/>
                  <a:pt x="351" y="131"/>
                </a:cubicBezTo>
                <a:cubicBezTo>
                  <a:pt x="351" y="130"/>
                  <a:pt x="350" y="130"/>
                  <a:pt x="350" y="129"/>
                </a:cubicBezTo>
                <a:cubicBezTo>
                  <a:pt x="349" y="129"/>
                  <a:pt x="349" y="129"/>
                  <a:pt x="349" y="129"/>
                </a:cubicBezTo>
                <a:cubicBezTo>
                  <a:pt x="349" y="129"/>
                  <a:pt x="348" y="128"/>
                  <a:pt x="348" y="128"/>
                </a:cubicBezTo>
                <a:cubicBezTo>
                  <a:pt x="347" y="128"/>
                  <a:pt x="347" y="128"/>
                  <a:pt x="347" y="128"/>
                </a:cubicBezTo>
                <a:cubicBezTo>
                  <a:pt x="347" y="128"/>
                  <a:pt x="346" y="127"/>
                  <a:pt x="345" y="127"/>
                </a:cubicBezTo>
                <a:cubicBezTo>
                  <a:pt x="345" y="127"/>
                  <a:pt x="345" y="127"/>
                  <a:pt x="345" y="127"/>
                </a:cubicBezTo>
                <a:cubicBezTo>
                  <a:pt x="344" y="127"/>
                  <a:pt x="344" y="127"/>
                  <a:pt x="343" y="127"/>
                </a:cubicBezTo>
                <a:cubicBezTo>
                  <a:pt x="343" y="127"/>
                  <a:pt x="343" y="127"/>
                  <a:pt x="342" y="127"/>
                </a:cubicBezTo>
                <a:cubicBezTo>
                  <a:pt x="342" y="127"/>
                  <a:pt x="341" y="127"/>
                  <a:pt x="340" y="127"/>
                </a:cubicBezTo>
                <a:cubicBezTo>
                  <a:pt x="316" y="131"/>
                  <a:pt x="316" y="131"/>
                  <a:pt x="316" y="131"/>
                </a:cubicBezTo>
                <a:cubicBezTo>
                  <a:pt x="316" y="131"/>
                  <a:pt x="316" y="131"/>
                  <a:pt x="316" y="131"/>
                </a:cubicBezTo>
                <a:cubicBezTo>
                  <a:pt x="191" y="154"/>
                  <a:pt x="191" y="154"/>
                  <a:pt x="191" y="154"/>
                </a:cubicBezTo>
                <a:cubicBezTo>
                  <a:pt x="184" y="156"/>
                  <a:pt x="180" y="161"/>
                  <a:pt x="181" y="168"/>
                </a:cubicBezTo>
                <a:cubicBezTo>
                  <a:pt x="202" y="413"/>
                  <a:pt x="202" y="413"/>
                  <a:pt x="202" y="413"/>
                </a:cubicBezTo>
                <a:cubicBezTo>
                  <a:pt x="12" y="413"/>
                  <a:pt x="12" y="413"/>
                  <a:pt x="12" y="413"/>
                </a:cubicBezTo>
                <a:cubicBezTo>
                  <a:pt x="6" y="413"/>
                  <a:pt x="0" y="419"/>
                  <a:pt x="0" y="426"/>
                </a:cubicBezTo>
                <a:cubicBezTo>
                  <a:pt x="0" y="433"/>
                  <a:pt x="6" y="439"/>
                  <a:pt x="12" y="439"/>
                </a:cubicBezTo>
                <a:cubicBezTo>
                  <a:pt x="216" y="439"/>
                  <a:pt x="216" y="439"/>
                  <a:pt x="216" y="439"/>
                </a:cubicBezTo>
                <a:cubicBezTo>
                  <a:pt x="219" y="439"/>
                  <a:pt x="223" y="437"/>
                  <a:pt x="225" y="434"/>
                </a:cubicBezTo>
                <a:cubicBezTo>
                  <a:pt x="228" y="432"/>
                  <a:pt x="229" y="428"/>
                  <a:pt x="228" y="425"/>
                </a:cubicBezTo>
                <a:cubicBezTo>
                  <a:pt x="207" y="177"/>
                  <a:pt x="207" y="177"/>
                  <a:pt x="207" y="177"/>
                </a:cubicBezTo>
                <a:cubicBezTo>
                  <a:pt x="337" y="153"/>
                  <a:pt x="337" y="153"/>
                  <a:pt x="337" y="153"/>
                </a:cubicBezTo>
                <a:cubicBezTo>
                  <a:pt x="373" y="204"/>
                  <a:pt x="373" y="204"/>
                  <a:pt x="373" y="204"/>
                </a:cubicBezTo>
                <a:cubicBezTo>
                  <a:pt x="347" y="425"/>
                  <a:pt x="347" y="425"/>
                  <a:pt x="347" y="425"/>
                </a:cubicBezTo>
                <a:cubicBezTo>
                  <a:pt x="347" y="428"/>
                  <a:pt x="348" y="432"/>
                  <a:pt x="350" y="434"/>
                </a:cubicBezTo>
                <a:cubicBezTo>
                  <a:pt x="353" y="437"/>
                  <a:pt x="356" y="439"/>
                  <a:pt x="360" y="439"/>
                </a:cubicBezTo>
                <a:cubicBezTo>
                  <a:pt x="393" y="439"/>
                  <a:pt x="393" y="439"/>
                  <a:pt x="393" y="439"/>
                </a:cubicBezTo>
                <a:cubicBezTo>
                  <a:pt x="393" y="439"/>
                  <a:pt x="393" y="439"/>
                  <a:pt x="394" y="439"/>
                </a:cubicBezTo>
                <a:cubicBezTo>
                  <a:pt x="394" y="439"/>
                  <a:pt x="394" y="439"/>
                  <a:pt x="394" y="439"/>
                </a:cubicBezTo>
                <a:cubicBezTo>
                  <a:pt x="394" y="439"/>
                  <a:pt x="395" y="438"/>
                  <a:pt x="396" y="438"/>
                </a:cubicBezTo>
                <a:cubicBezTo>
                  <a:pt x="396" y="438"/>
                  <a:pt x="396" y="438"/>
                  <a:pt x="397" y="438"/>
                </a:cubicBezTo>
                <a:cubicBezTo>
                  <a:pt x="397" y="438"/>
                  <a:pt x="398" y="438"/>
                  <a:pt x="398" y="438"/>
                </a:cubicBezTo>
                <a:cubicBezTo>
                  <a:pt x="398" y="438"/>
                  <a:pt x="399" y="437"/>
                  <a:pt x="399" y="437"/>
                </a:cubicBezTo>
                <a:cubicBezTo>
                  <a:pt x="399" y="437"/>
                  <a:pt x="400" y="437"/>
                  <a:pt x="400" y="437"/>
                </a:cubicBezTo>
                <a:cubicBezTo>
                  <a:pt x="401" y="436"/>
                  <a:pt x="401" y="436"/>
                  <a:pt x="401" y="436"/>
                </a:cubicBezTo>
                <a:cubicBezTo>
                  <a:pt x="401" y="436"/>
                  <a:pt x="402" y="435"/>
                  <a:pt x="402" y="435"/>
                </a:cubicBezTo>
                <a:cubicBezTo>
                  <a:pt x="402" y="435"/>
                  <a:pt x="403" y="435"/>
                  <a:pt x="403" y="434"/>
                </a:cubicBezTo>
                <a:cubicBezTo>
                  <a:pt x="403" y="434"/>
                  <a:pt x="403" y="434"/>
                  <a:pt x="404" y="433"/>
                </a:cubicBezTo>
                <a:cubicBezTo>
                  <a:pt x="404" y="433"/>
                  <a:pt x="404" y="433"/>
                  <a:pt x="404" y="433"/>
                </a:cubicBezTo>
                <a:cubicBezTo>
                  <a:pt x="404" y="432"/>
                  <a:pt x="405" y="432"/>
                  <a:pt x="405" y="431"/>
                </a:cubicBezTo>
                <a:cubicBezTo>
                  <a:pt x="405" y="431"/>
                  <a:pt x="405" y="431"/>
                  <a:pt x="405" y="430"/>
                </a:cubicBezTo>
                <a:cubicBezTo>
                  <a:pt x="405" y="430"/>
                  <a:pt x="406" y="430"/>
                  <a:pt x="406" y="429"/>
                </a:cubicBezTo>
                <a:cubicBezTo>
                  <a:pt x="406" y="429"/>
                  <a:pt x="406" y="428"/>
                  <a:pt x="406" y="428"/>
                </a:cubicBezTo>
                <a:cubicBezTo>
                  <a:pt x="406" y="428"/>
                  <a:pt x="406" y="428"/>
                  <a:pt x="406" y="427"/>
                </a:cubicBezTo>
                <a:cubicBezTo>
                  <a:pt x="440" y="147"/>
                  <a:pt x="440" y="147"/>
                  <a:pt x="440" y="147"/>
                </a:cubicBezTo>
                <a:cubicBezTo>
                  <a:pt x="440" y="147"/>
                  <a:pt x="440" y="147"/>
                  <a:pt x="440" y="146"/>
                </a:cubicBezTo>
                <a:cubicBezTo>
                  <a:pt x="440" y="146"/>
                  <a:pt x="440" y="145"/>
                  <a:pt x="440" y="144"/>
                </a:cubicBezTo>
                <a:cubicBezTo>
                  <a:pt x="440" y="144"/>
                  <a:pt x="440" y="144"/>
                  <a:pt x="440" y="14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8" name="Freeform 159"/>
          <p:cNvSpPr>
            <a:spLocks/>
          </p:cNvSpPr>
          <p:nvPr userDrawn="1"/>
        </p:nvSpPr>
        <p:spPr bwMode="auto">
          <a:xfrm>
            <a:off x="1745239" y="1165625"/>
            <a:ext cx="711201" cy="512763"/>
          </a:xfrm>
          <a:custGeom>
            <a:avLst/>
            <a:gdLst/>
            <a:ahLst/>
            <a:cxnLst>
              <a:cxn ang="0">
                <a:pos x="218" y="426"/>
              </a:cxn>
              <a:cxn ang="0">
                <a:pos x="411" y="426"/>
              </a:cxn>
              <a:cxn ang="0">
                <a:pos x="354" y="398"/>
              </a:cxn>
              <a:cxn ang="0">
                <a:pos x="322" y="381"/>
              </a:cxn>
              <a:cxn ang="0">
                <a:pos x="322" y="15"/>
              </a:cxn>
              <a:cxn ang="0">
                <a:pos x="337" y="0"/>
              </a:cxn>
              <a:cxn ang="0">
                <a:pos x="514" y="0"/>
              </a:cxn>
              <a:cxn ang="0">
                <a:pos x="527" y="21"/>
              </a:cxn>
              <a:cxn ang="0">
                <a:pos x="437" y="256"/>
              </a:cxn>
              <a:cxn ang="0">
                <a:pos x="517" y="277"/>
              </a:cxn>
              <a:cxn ang="0">
                <a:pos x="597" y="250"/>
              </a:cxn>
              <a:cxn ang="0">
                <a:pos x="526" y="75"/>
              </a:cxn>
              <a:cxn ang="0">
                <a:pos x="552" y="61"/>
              </a:cxn>
              <a:cxn ang="0">
                <a:pos x="628" y="245"/>
              </a:cxn>
              <a:cxn ang="0">
                <a:pos x="627" y="261"/>
              </a:cxn>
              <a:cxn ang="0">
                <a:pos x="517" y="306"/>
              </a:cxn>
              <a:cxn ang="0">
                <a:pos x="435" y="288"/>
              </a:cxn>
              <a:cxn ang="0">
                <a:pos x="406" y="253"/>
              </a:cxn>
              <a:cxn ang="0">
                <a:pos x="491" y="29"/>
              </a:cxn>
              <a:cxn ang="0">
                <a:pos x="351" y="29"/>
              </a:cxn>
              <a:cxn ang="0">
                <a:pos x="351" y="368"/>
              </a:cxn>
              <a:cxn ang="0">
                <a:pos x="436" y="410"/>
              </a:cxn>
              <a:cxn ang="0">
                <a:pos x="441" y="456"/>
              </a:cxn>
              <a:cxn ang="0">
                <a:pos x="189" y="456"/>
              </a:cxn>
              <a:cxn ang="0">
                <a:pos x="193" y="410"/>
              </a:cxn>
              <a:cxn ang="0">
                <a:pos x="278" y="368"/>
              </a:cxn>
              <a:cxn ang="0">
                <a:pos x="278" y="29"/>
              </a:cxn>
              <a:cxn ang="0">
                <a:pos x="139" y="29"/>
              </a:cxn>
              <a:cxn ang="0">
                <a:pos x="224" y="253"/>
              </a:cxn>
              <a:cxn ang="0">
                <a:pos x="194" y="288"/>
              </a:cxn>
              <a:cxn ang="0">
                <a:pos x="112" y="306"/>
              </a:cxn>
              <a:cxn ang="0">
                <a:pos x="3" y="261"/>
              </a:cxn>
              <a:cxn ang="0">
                <a:pos x="2" y="245"/>
              </a:cxn>
              <a:cxn ang="0">
                <a:pos x="78" y="61"/>
              </a:cxn>
              <a:cxn ang="0">
                <a:pos x="103" y="75"/>
              </a:cxn>
              <a:cxn ang="0">
                <a:pos x="33" y="250"/>
              </a:cxn>
              <a:cxn ang="0">
                <a:pos x="112" y="277"/>
              </a:cxn>
              <a:cxn ang="0">
                <a:pos x="192" y="256"/>
              </a:cxn>
              <a:cxn ang="0">
                <a:pos x="102" y="21"/>
              </a:cxn>
              <a:cxn ang="0">
                <a:pos x="115" y="0"/>
              </a:cxn>
              <a:cxn ang="0">
                <a:pos x="293" y="0"/>
              </a:cxn>
              <a:cxn ang="0">
                <a:pos x="307" y="15"/>
              </a:cxn>
              <a:cxn ang="0">
                <a:pos x="307" y="381"/>
              </a:cxn>
              <a:cxn ang="0">
                <a:pos x="275" y="398"/>
              </a:cxn>
              <a:cxn ang="0">
                <a:pos x="218" y="426"/>
              </a:cxn>
            </a:cxnLst>
            <a:rect l="0" t="0" r="r" b="b"/>
            <a:pathLst>
              <a:path w="630" h="456">
                <a:moveTo>
                  <a:pt x="218" y="426"/>
                </a:moveTo>
                <a:cubicBezTo>
                  <a:pt x="411" y="426"/>
                  <a:pt x="411" y="426"/>
                  <a:pt x="411" y="426"/>
                </a:cubicBezTo>
                <a:cubicBezTo>
                  <a:pt x="392" y="406"/>
                  <a:pt x="370" y="399"/>
                  <a:pt x="354" y="398"/>
                </a:cubicBezTo>
                <a:cubicBezTo>
                  <a:pt x="343" y="397"/>
                  <a:pt x="322" y="398"/>
                  <a:pt x="322" y="381"/>
                </a:cubicBezTo>
                <a:cubicBezTo>
                  <a:pt x="322" y="15"/>
                  <a:pt x="322" y="15"/>
                  <a:pt x="322" y="15"/>
                </a:cubicBezTo>
                <a:cubicBezTo>
                  <a:pt x="322" y="7"/>
                  <a:pt x="329" y="0"/>
                  <a:pt x="337" y="0"/>
                </a:cubicBezTo>
                <a:cubicBezTo>
                  <a:pt x="514" y="0"/>
                  <a:pt x="514" y="0"/>
                  <a:pt x="514" y="0"/>
                </a:cubicBezTo>
                <a:cubicBezTo>
                  <a:pt x="527" y="0"/>
                  <a:pt x="533" y="10"/>
                  <a:pt x="527" y="21"/>
                </a:cubicBezTo>
                <a:cubicBezTo>
                  <a:pt x="437" y="256"/>
                  <a:pt x="437" y="256"/>
                  <a:pt x="437" y="256"/>
                </a:cubicBezTo>
                <a:cubicBezTo>
                  <a:pt x="460" y="271"/>
                  <a:pt x="490" y="277"/>
                  <a:pt x="517" y="277"/>
                </a:cubicBezTo>
                <a:cubicBezTo>
                  <a:pt x="545" y="277"/>
                  <a:pt x="575" y="269"/>
                  <a:pt x="597" y="250"/>
                </a:cubicBezTo>
                <a:cubicBezTo>
                  <a:pt x="526" y="75"/>
                  <a:pt x="526" y="75"/>
                  <a:pt x="526" y="75"/>
                </a:cubicBezTo>
                <a:cubicBezTo>
                  <a:pt x="516" y="58"/>
                  <a:pt x="542" y="44"/>
                  <a:pt x="552" y="61"/>
                </a:cubicBezTo>
                <a:cubicBezTo>
                  <a:pt x="628" y="245"/>
                  <a:pt x="628" y="245"/>
                  <a:pt x="628" y="245"/>
                </a:cubicBezTo>
                <a:cubicBezTo>
                  <a:pt x="630" y="249"/>
                  <a:pt x="629" y="258"/>
                  <a:pt x="627" y="261"/>
                </a:cubicBezTo>
                <a:cubicBezTo>
                  <a:pt x="604" y="293"/>
                  <a:pt x="552" y="306"/>
                  <a:pt x="517" y="306"/>
                </a:cubicBezTo>
                <a:cubicBezTo>
                  <a:pt x="480" y="306"/>
                  <a:pt x="453" y="297"/>
                  <a:pt x="435" y="288"/>
                </a:cubicBezTo>
                <a:cubicBezTo>
                  <a:pt x="425" y="283"/>
                  <a:pt x="398" y="269"/>
                  <a:pt x="406" y="253"/>
                </a:cubicBezTo>
                <a:cubicBezTo>
                  <a:pt x="491" y="29"/>
                  <a:pt x="491" y="29"/>
                  <a:pt x="491" y="29"/>
                </a:cubicBezTo>
                <a:cubicBezTo>
                  <a:pt x="351" y="29"/>
                  <a:pt x="351" y="29"/>
                  <a:pt x="351" y="29"/>
                </a:cubicBezTo>
                <a:cubicBezTo>
                  <a:pt x="351" y="368"/>
                  <a:pt x="351" y="368"/>
                  <a:pt x="351" y="368"/>
                </a:cubicBezTo>
                <a:cubicBezTo>
                  <a:pt x="396" y="375"/>
                  <a:pt x="423" y="395"/>
                  <a:pt x="436" y="410"/>
                </a:cubicBezTo>
                <a:cubicBezTo>
                  <a:pt x="442" y="418"/>
                  <a:pt x="475" y="456"/>
                  <a:pt x="441" y="456"/>
                </a:cubicBezTo>
                <a:cubicBezTo>
                  <a:pt x="189" y="456"/>
                  <a:pt x="189" y="456"/>
                  <a:pt x="189" y="456"/>
                </a:cubicBezTo>
                <a:cubicBezTo>
                  <a:pt x="155" y="456"/>
                  <a:pt x="186" y="417"/>
                  <a:pt x="193" y="410"/>
                </a:cubicBezTo>
                <a:cubicBezTo>
                  <a:pt x="211" y="394"/>
                  <a:pt x="242" y="373"/>
                  <a:pt x="278" y="368"/>
                </a:cubicBezTo>
                <a:cubicBezTo>
                  <a:pt x="278" y="29"/>
                  <a:pt x="278" y="29"/>
                  <a:pt x="278" y="29"/>
                </a:cubicBezTo>
                <a:cubicBezTo>
                  <a:pt x="139" y="29"/>
                  <a:pt x="139" y="29"/>
                  <a:pt x="139" y="29"/>
                </a:cubicBezTo>
                <a:cubicBezTo>
                  <a:pt x="224" y="253"/>
                  <a:pt x="224" y="253"/>
                  <a:pt x="224" y="253"/>
                </a:cubicBezTo>
                <a:cubicBezTo>
                  <a:pt x="232" y="269"/>
                  <a:pt x="204" y="283"/>
                  <a:pt x="194" y="288"/>
                </a:cubicBezTo>
                <a:cubicBezTo>
                  <a:pt x="176" y="297"/>
                  <a:pt x="149" y="306"/>
                  <a:pt x="112" y="306"/>
                </a:cubicBezTo>
                <a:cubicBezTo>
                  <a:pt x="77" y="306"/>
                  <a:pt x="25" y="293"/>
                  <a:pt x="3" y="261"/>
                </a:cubicBezTo>
                <a:cubicBezTo>
                  <a:pt x="0" y="258"/>
                  <a:pt x="0" y="249"/>
                  <a:pt x="2" y="245"/>
                </a:cubicBezTo>
                <a:cubicBezTo>
                  <a:pt x="78" y="61"/>
                  <a:pt x="78" y="61"/>
                  <a:pt x="78" y="61"/>
                </a:cubicBezTo>
                <a:cubicBezTo>
                  <a:pt x="87" y="44"/>
                  <a:pt x="113" y="58"/>
                  <a:pt x="103" y="75"/>
                </a:cubicBezTo>
                <a:cubicBezTo>
                  <a:pt x="33" y="250"/>
                  <a:pt x="33" y="250"/>
                  <a:pt x="33" y="250"/>
                </a:cubicBezTo>
                <a:cubicBezTo>
                  <a:pt x="54" y="269"/>
                  <a:pt x="84" y="277"/>
                  <a:pt x="112" y="277"/>
                </a:cubicBezTo>
                <a:cubicBezTo>
                  <a:pt x="140" y="277"/>
                  <a:pt x="169" y="271"/>
                  <a:pt x="192" y="256"/>
                </a:cubicBezTo>
                <a:cubicBezTo>
                  <a:pt x="102" y="21"/>
                  <a:pt x="102" y="21"/>
                  <a:pt x="102" y="21"/>
                </a:cubicBezTo>
                <a:cubicBezTo>
                  <a:pt x="96" y="10"/>
                  <a:pt x="102" y="0"/>
                  <a:pt x="115" y="0"/>
                </a:cubicBezTo>
                <a:cubicBezTo>
                  <a:pt x="293" y="0"/>
                  <a:pt x="293" y="0"/>
                  <a:pt x="293" y="0"/>
                </a:cubicBezTo>
                <a:cubicBezTo>
                  <a:pt x="300" y="0"/>
                  <a:pt x="307" y="7"/>
                  <a:pt x="307" y="15"/>
                </a:cubicBezTo>
                <a:cubicBezTo>
                  <a:pt x="307" y="381"/>
                  <a:pt x="307" y="381"/>
                  <a:pt x="307" y="381"/>
                </a:cubicBezTo>
                <a:cubicBezTo>
                  <a:pt x="307" y="398"/>
                  <a:pt x="286" y="396"/>
                  <a:pt x="275" y="398"/>
                </a:cubicBezTo>
                <a:cubicBezTo>
                  <a:pt x="256" y="402"/>
                  <a:pt x="234" y="412"/>
                  <a:pt x="218" y="42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9" name="Freeform 226"/>
          <p:cNvSpPr>
            <a:spLocks/>
          </p:cNvSpPr>
          <p:nvPr userDrawn="1"/>
        </p:nvSpPr>
        <p:spPr bwMode="auto">
          <a:xfrm>
            <a:off x="1845248" y="4401641"/>
            <a:ext cx="511175" cy="519113"/>
          </a:xfrm>
          <a:custGeom>
            <a:avLst/>
            <a:gdLst/>
            <a:ahLst/>
            <a:cxnLst>
              <a:cxn ang="0">
                <a:pos x="167" y="32"/>
              </a:cxn>
              <a:cxn ang="0">
                <a:pos x="110" y="81"/>
              </a:cxn>
              <a:cxn ang="0">
                <a:pos x="42" y="119"/>
              </a:cxn>
              <a:cxn ang="0">
                <a:pos x="68" y="178"/>
              </a:cxn>
              <a:cxn ang="0">
                <a:pos x="38" y="206"/>
              </a:cxn>
              <a:cxn ang="0">
                <a:pos x="7" y="267"/>
              </a:cxn>
              <a:cxn ang="0">
                <a:pos x="79" y="305"/>
              </a:cxn>
              <a:cxn ang="0">
                <a:pos x="89" y="337"/>
              </a:cxn>
              <a:cxn ang="0">
                <a:pos x="68" y="386"/>
              </a:cxn>
              <a:cxn ang="0">
                <a:pos x="127" y="412"/>
              </a:cxn>
              <a:cxn ang="0">
                <a:pos x="205" y="402"/>
              </a:cxn>
              <a:cxn ang="0">
                <a:pos x="262" y="449"/>
              </a:cxn>
              <a:cxn ang="0">
                <a:pos x="300" y="378"/>
              </a:cxn>
              <a:cxn ang="0">
                <a:pos x="349" y="390"/>
              </a:cxn>
              <a:cxn ang="0">
                <a:pos x="407" y="329"/>
              </a:cxn>
              <a:cxn ang="0">
                <a:pos x="383" y="260"/>
              </a:cxn>
              <a:cxn ang="0">
                <a:pos x="444" y="194"/>
              </a:cxn>
              <a:cxn ang="0">
                <a:pos x="276" y="171"/>
              </a:cxn>
              <a:cxn ang="0">
                <a:pos x="271" y="190"/>
              </a:cxn>
              <a:cxn ang="0">
                <a:pos x="235" y="291"/>
              </a:cxn>
              <a:cxn ang="0">
                <a:pos x="227" y="155"/>
              </a:cxn>
              <a:cxn ang="0">
                <a:pos x="239" y="317"/>
              </a:cxn>
              <a:cxn ang="0">
                <a:pos x="302" y="189"/>
              </a:cxn>
              <a:cxn ang="0">
                <a:pos x="422" y="216"/>
              </a:cxn>
              <a:cxn ang="0">
                <a:pos x="353" y="272"/>
              </a:cxn>
              <a:cxn ang="0">
                <a:pos x="381" y="337"/>
              </a:cxn>
              <a:cxn ang="0">
                <a:pos x="364" y="365"/>
              </a:cxn>
              <a:cxn ang="0">
                <a:pos x="273" y="375"/>
              </a:cxn>
              <a:cxn ang="0">
                <a:pos x="250" y="425"/>
              </a:cxn>
              <a:cxn ang="0">
                <a:pos x="231" y="397"/>
              </a:cxn>
              <a:cxn ang="0">
                <a:pos x="159" y="365"/>
              </a:cxn>
              <a:cxn ang="0">
                <a:pos x="92" y="374"/>
              </a:cxn>
              <a:cxn ang="0">
                <a:pos x="120" y="325"/>
              </a:cxn>
              <a:cxn ang="0">
                <a:pos x="83" y="279"/>
              </a:cxn>
              <a:cxn ang="0">
                <a:pos x="28" y="244"/>
              </a:cxn>
              <a:cxn ang="0">
                <a:pos x="89" y="216"/>
              </a:cxn>
              <a:cxn ang="0">
                <a:pos x="90" y="164"/>
              </a:cxn>
              <a:cxn ang="0">
                <a:pos x="70" y="110"/>
              </a:cxn>
              <a:cxn ang="0">
                <a:pos x="177" y="89"/>
              </a:cxn>
              <a:cxn ang="0">
                <a:pos x="200" y="36"/>
              </a:cxn>
              <a:cxn ang="0">
                <a:pos x="220" y="64"/>
              </a:cxn>
              <a:cxn ang="0">
                <a:pos x="292" y="95"/>
              </a:cxn>
              <a:cxn ang="0">
                <a:pos x="359" y="87"/>
              </a:cxn>
              <a:cxn ang="0">
                <a:pos x="338" y="114"/>
              </a:cxn>
              <a:cxn ang="0">
                <a:pos x="375" y="115"/>
              </a:cxn>
              <a:cxn ang="0">
                <a:pos x="354" y="50"/>
              </a:cxn>
              <a:cxn ang="0">
                <a:pos x="278" y="72"/>
              </a:cxn>
              <a:cxn ang="0">
                <a:pos x="246" y="59"/>
              </a:cxn>
              <a:cxn ang="0">
                <a:pos x="189" y="12"/>
              </a:cxn>
            </a:cxnLst>
            <a:rect l="0" t="0" r="r" b="b"/>
            <a:pathLst>
              <a:path w="455" h="460">
                <a:moveTo>
                  <a:pt x="189" y="12"/>
                </a:moveTo>
                <a:cubicBezTo>
                  <a:pt x="180" y="16"/>
                  <a:pt x="172" y="23"/>
                  <a:pt x="167" y="31"/>
                </a:cubicBezTo>
                <a:cubicBezTo>
                  <a:pt x="167" y="32"/>
                  <a:pt x="167" y="32"/>
                  <a:pt x="167" y="32"/>
                </a:cubicBezTo>
                <a:cubicBezTo>
                  <a:pt x="159" y="49"/>
                  <a:pt x="153" y="66"/>
                  <a:pt x="151" y="83"/>
                </a:cubicBezTo>
                <a:cubicBezTo>
                  <a:pt x="148" y="90"/>
                  <a:pt x="142" y="96"/>
                  <a:pt x="135" y="98"/>
                </a:cubicBezTo>
                <a:cubicBezTo>
                  <a:pt x="123" y="100"/>
                  <a:pt x="112" y="92"/>
                  <a:pt x="110" y="81"/>
                </a:cubicBezTo>
                <a:cubicBezTo>
                  <a:pt x="109" y="76"/>
                  <a:pt x="106" y="72"/>
                  <a:pt x="101" y="71"/>
                </a:cubicBezTo>
                <a:cubicBezTo>
                  <a:pt x="79" y="63"/>
                  <a:pt x="54" y="77"/>
                  <a:pt x="45" y="101"/>
                </a:cubicBezTo>
                <a:cubicBezTo>
                  <a:pt x="43" y="107"/>
                  <a:pt x="42" y="113"/>
                  <a:pt x="42" y="119"/>
                </a:cubicBezTo>
                <a:cubicBezTo>
                  <a:pt x="42" y="123"/>
                  <a:pt x="42" y="127"/>
                  <a:pt x="43" y="131"/>
                </a:cubicBezTo>
                <a:cubicBezTo>
                  <a:pt x="44" y="131"/>
                  <a:pt x="44" y="132"/>
                  <a:pt x="44" y="132"/>
                </a:cubicBezTo>
                <a:cubicBezTo>
                  <a:pt x="50" y="149"/>
                  <a:pt x="58" y="165"/>
                  <a:pt x="68" y="178"/>
                </a:cubicBezTo>
                <a:cubicBezTo>
                  <a:pt x="70" y="182"/>
                  <a:pt x="71" y="185"/>
                  <a:pt x="71" y="189"/>
                </a:cubicBezTo>
                <a:cubicBezTo>
                  <a:pt x="71" y="193"/>
                  <a:pt x="70" y="197"/>
                  <a:pt x="67" y="201"/>
                </a:cubicBezTo>
                <a:cubicBezTo>
                  <a:pt x="61" y="210"/>
                  <a:pt x="48" y="213"/>
                  <a:pt x="38" y="206"/>
                </a:cubicBezTo>
                <a:cubicBezTo>
                  <a:pt x="34" y="204"/>
                  <a:pt x="29" y="203"/>
                  <a:pt x="25" y="205"/>
                </a:cubicBezTo>
                <a:cubicBezTo>
                  <a:pt x="15" y="210"/>
                  <a:pt x="8" y="218"/>
                  <a:pt x="4" y="229"/>
                </a:cubicBezTo>
                <a:cubicBezTo>
                  <a:pt x="0" y="241"/>
                  <a:pt x="1" y="255"/>
                  <a:pt x="7" y="267"/>
                </a:cubicBezTo>
                <a:cubicBezTo>
                  <a:pt x="11" y="276"/>
                  <a:pt x="18" y="283"/>
                  <a:pt x="26" y="289"/>
                </a:cubicBezTo>
                <a:cubicBezTo>
                  <a:pt x="27" y="289"/>
                  <a:pt x="27" y="289"/>
                  <a:pt x="27" y="289"/>
                </a:cubicBezTo>
                <a:cubicBezTo>
                  <a:pt x="44" y="297"/>
                  <a:pt x="62" y="303"/>
                  <a:pt x="79" y="305"/>
                </a:cubicBezTo>
                <a:cubicBezTo>
                  <a:pt x="78" y="305"/>
                  <a:pt x="78" y="305"/>
                  <a:pt x="77" y="305"/>
                </a:cubicBezTo>
                <a:cubicBezTo>
                  <a:pt x="85" y="307"/>
                  <a:pt x="91" y="313"/>
                  <a:pt x="93" y="321"/>
                </a:cubicBezTo>
                <a:cubicBezTo>
                  <a:pt x="94" y="327"/>
                  <a:pt x="93" y="332"/>
                  <a:pt x="89" y="337"/>
                </a:cubicBezTo>
                <a:cubicBezTo>
                  <a:pt x="86" y="342"/>
                  <a:pt x="81" y="345"/>
                  <a:pt x="76" y="346"/>
                </a:cubicBezTo>
                <a:cubicBezTo>
                  <a:pt x="71" y="347"/>
                  <a:pt x="67" y="350"/>
                  <a:pt x="66" y="355"/>
                </a:cubicBezTo>
                <a:cubicBezTo>
                  <a:pt x="62" y="365"/>
                  <a:pt x="63" y="376"/>
                  <a:pt x="68" y="386"/>
                </a:cubicBezTo>
                <a:cubicBezTo>
                  <a:pt x="73" y="397"/>
                  <a:pt x="84" y="406"/>
                  <a:pt x="96" y="411"/>
                </a:cubicBezTo>
                <a:cubicBezTo>
                  <a:pt x="106" y="414"/>
                  <a:pt x="116" y="415"/>
                  <a:pt x="126" y="412"/>
                </a:cubicBezTo>
                <a:cubicBezTo>
                  <a:pt x="126" y="412"/>
                  <a:pt x="127" y="412"/>
                  <a:pt x="127" y="412"/>
                </a:cubicBezTo>
                <a:cubicBezTo>
                  <a:pt x="144" y="406"/>
                  <a:pt x="159" y="398"/>
                  <a:pt x="173" y="388"/>
                </a:cubicBezTo>
                <a:cubicBezTo>
                  <a:pt x="180" y="384"/>
                  <a:pt x="189" y="384"/>
                  <a:pt x="196" y="388"/>
                </a:cubicBezTo>
                <a:cubicBezTo>
                  <a:pt x="200" y="392"/>
                  <a:pt x="204" y="396"/>
                  <a:pt x="205" y="402"/>
                </a:cubicBezTo>
                <a:cubicBezTo>
                  <a:pt x="206" y="407"/>
                  <a:pt x="205" y="413"/>
                  <a:pt x="201" y="418"/>
                </a:cubicBezTo>
                <a:cubicBezTo>
                  <a:pt x="199" y="422"/>
                  <a:pt x="198" y="427"/>
                  <a:pt x="200" y="431"/>
                </a:cubicBezTo>
                <a:cubicBezTo>
                  <a:pt x="211" y="452"/>
                  <a:pt x="238" y="460"/>
                  <a:pt x="262" y="449"/>
                </a:cubicBezTo>
                <a:cubicBezTo>
                  <a:pt x="271" y="445"/>
                  <a:pt x="278" y="438"/>
                  <a:pt x="284" y="429"/>
                </a:cubicBezTo>
                <a:cubicBezTo>
                  <a:pt x="284" y="429"/>
                  <a:pt x="284" y="429"/>
                  <a:pt x="284" y="428"/>
                </a:cubicBezTo>
                <a:cubicBezTo>
                  <a:pt x="292" y="412"/>
                  <a:pt x="297" y="396"/>
                  <a:pt x="300" y="378"/>
                </a:cubicBezTo>
                <a:cubicBezTo>
                  <a:pt x="302" y="370"/>
                  <a:pt x="308" y="365"/>
                  <a:pt x="316" y="363"/>
                </a:cubicBezTo>
                <a:cubicBezTo>
                  <a:pt x="327" y="361"/>
                  <a:pt x="338" y="368"/>
                  <a:pt x="341" y="380"/>
                </a:cubicBezTo>
                <a:cubicBezTo>
                  <a:pt x="342" y="384"/>
                  <a:pt x="345" y="388"/>
                  <a:pt x="349" y="390"/>
                </a:cubicBezTo>
                <a:cubicBezTo>
                  <a:pt x="372" y="398"/>
                  <a:pt x="397" y="384"/>
                  <a:pt x="405" y="359"/>
                </a:cubicBezTo>
                <a:cubicBezTo>
                  <a:pt x="409" y="350"/>
                  <a:pt x="409" y="339"/>
                  <a:pt x="407" y="330"/>
                </a:cubicBezTo>
                <a:cubicBezTo>
                  <a:pt x="407" y="330"/>
                  <a:pt x="407" y="329"/>
                  <a:pt x="407" y="329"/>
                </a:cubicBezTo>
                <a:cubicBezTo>
                  <a:pt x="400" y="311"/>
                  <a:pt x="392" y="295"/>
                  <a:pt x="382" y="281"/>
                </a:cubicBezTo>
                <a:cubicBezTo>
                  <a:pt x="382" y="282"/>
                  <a:pt x="382" y="282"/>
                  <a:pt x="383" y="282"/>
                </a:cubicBezTo>
                <a:cubicBezTo>
                  <a:pt x="379" y="275"/>
                  <a:pt x="379" y="267"/>
                  <a:pt x="383" y="260"/>
                </a:cubicBezTo>
                <a:cubicBezTo>
                  <a:pt x="390" y="250"/>
                  <a:pt x="403" y="248"/>
                  <a:pt x="413" y="254"/>
                </a:cubicBezTo>
                <a:cubicBezTo>
                  <a:pt x="417" y="257"/>
                  <a:pt x="422" y="257"/>
                  <a:pt x="426" y="255"/>
                </a:cubicBezTo>
                <a:cubicBezTo>
                  <a:pt x="447" y="245"/>
                  <a:pt x="455" y="218"/>
                  <a:pt x="444" y="194"/>
                </a:cubicBezTo>
                <a:cubicBezTo>
                  <a:pt x="440" y="185"/>
                  <a:pt x="433" y="177"/>
                  <a:pt x="424" y="172"/>
                </a:cubicBezTo>
                <a:cubicBezTo>
                  <a:pt x="424" y="172"/>
                  <a:pt x="424" y="172"/>
                  <a:pt x="423" y="172"/>
                </a:cubicBezTo>
                <a:cubicBezTo>
                  <a:pt x="373" y="148"/>
                  <a:pt x="322" y="148"/>
                  <a:pt x="276" y="171"/>
                </a:cubicBezTo>
                <a:cubicBezTo>
                  <a:pt x="273" y="173"/>
                  <a:pt x="271" y="176"/>
                  <a:pt x="270" y="180"/>
                </a:cubicBezTo>
                <a:cubicBezTo>
                  <a:pt x="269" y="183"/>
                  <a:pt x="269" y="187"/>
                  <a:pt x="271" y="190"/>
                </a:cubicBezTo>
                <a:cubicBezTo>
                  <a:pt x="271" y="190"/>
                  <a:pt x="271" y="190"/>
                  <a:pt x="271" y="190"/>
                </a:cubicBezTo>
                <a:cubicBezTo>
                  <a:pt x="272" y="191"/>
                  <a:pt x="272" y="191"/>
                  <a:pt x="272" y="192"/>
                </a:cubicBezTo>
                <a:cubicBezTo>
                  <a:pt x="279" y="200"/>
                  <a:pt x="284" y="210"/>
                  <a:pt x="285" y="221"/>
                </a:cubicBezTo>
                <a:cubicBezTo>
                  <a:pt x="291" y="254"/>
                  <a:pt x="268" y="285"/>
                  <a:pt x="235" y="291"/>
                </a:cubicBezTo>
                <a:cubicBezTo>
                  <a:pt x="202" y="296"/>
                  <a:pt x="171" y="273"/>
                  <a:pt x="165" y="240"/>
                </a:cubicBezTo>
                <a:cubicBezTo>
                  <a:pt x="160" y="207"/>
                  <a:pt x="182" y="176"/>
                  <a:pt x="216" y="170"/>
                </a:cubicBezTo>
                <a:cubicBezTo>
                  <a:pt x="223" y="169"/>
                  <a:pt x="228" y="162"/>
                  <a:pt x="227" y="155"/>
                </a:cubicBezTo>
                <a:cubicBezTo>
                  <a:pt x="225" y="148"/>
                  <a:pt x="218" y="143"/>
                  <a:pt x="211" y="144"/>
                </a:cubicBezTo>
                <a:cubicBezTo>
                  <a:pt x="164" y="152"/>
                  <a:pt x="131" y="197"/>
                  <a:pt x="139" y="245"/>
                </a:cubicBezTo>
                <a:cubicBezTo>
                  <a:pt x="147" y="292"/>
                  <a:pt x="192" y="325"/>
                  <a:pt x="239" y="317"/>
                </a:cubicBezTo>
                <a:cubicBezTo>
                  <a:pt x="282" y="310"/>
                  <a:pt x="313" y="273"/>
                  <a:pt x="313" y="230"/>
                </a:cubicBezTo>
                <a:cubicBezTo>
                  <a:pt x="313" y="226"/>
                  <a:pt x="312" y="221"/>
                  <a:pt x="312" y="216"/>
                </a:cubicBezTo>
                <a:cubicBezTo>
                  <a:pt x="310" y="207"/>
                  <a:pt x="307" y="197"/>
                  <a:pt x="302" y="189"/>
                </a:cubicBezTo>
                <a:cubicBezTo>
                  <a:pt x="337" y="176"/>
                  <a:pt x="373" y="178"/>
                  <a:pt x="411" y="195"/>
                </a:cubicBezTo>
                <a:cubicBezTo>
                  <a:pt x="415" y="197"/>
                  <a:pt x="418" y="201"/>
                  <a:pt x="420" y="205"/>
                </a:cubicBezTo>
                <a:cubicBezTo>
                  <a:pt x="422" y="209"/>
                  <a:pt x="422" y="213"/>
                  <a:pt x="422" y="216"/>
                </a:cubicBezTo>
                <a:cubicBezTo>
                  <a:pt x="422" y="221"/>
                  <a:pt x="421" y="225"/>
                  <a:pt x="419" y="228"/>
                </a:cubicBezTo>
                <a:cubicBezTo>
                  <a:pt x="398" y="219"/>
                  <a:pt x="374" y="226"/>
                  <a:pt x="361" y="245"/>
                </a:cubicBezTo>
                <a:cubicBezTo>
                  <a:pt x="356" y="253"/>
                  <a:pt x="353" y="262"/>
                  <a:pt x="353" y="272"/>
                </a:cubicBezTo>
                <a:cubicBezTo>
                  <a:pt x="353" y="280"/>
                  <a:pt x="355" y="288"/>
                  <a:pt x="360" y="296"/>
                </a:cubicBezTo>
                <a:cubicBezTo>
                  <a:pt x="360" y="296"/>
                  <a:pt x="360" y="297"/>
                  <a:pt x="360" y="297"/>
                </a:cubicBezTo>
                <a:cubicBezTo>
                  <a:pt x="369" y="308"/>
                  <a:pt x="376" y="322"/>
                  <a:pt x="381" y="337"/>
                </a:cubicBezTo>
                <a:cubicBezTo>
                  <a:pt x="382" y="338"/>
                  <a:pt x="382" y="340"/>
                  <a:pt x="382" y="342"/>
                </a:cubicBezTo>
                <a:cubicBezTo>
                  <a:pt x="382" y="345"/>
                  <a:pt x="381" y="348"/>
                  <a:pt x="380" y="350"/>
                </a:cubicBezTo>
                <a:cubicBezTo>
                  <a:pt x="377" y="359"/>
                  <a:pt x="371" y="364"/>
                  <a:pt x="364" y="365"/>
                </a:cubicBezTo>
                <a:cubicBezTo>
                  <a:pt x="355" y="345"/>
                  <a:pt x="333" y="332"/>
                  <a:pt x="311" y="337"/>
                </a:cubicBezTo>
                <a:cubicBezTo>
                  <a:pt x="293" y="340"/>
                  <a:pt x="278" y="354"/>
                  <a:pt x="274" y="372"/>
                </a:cubicBezTo>
                <a:cubicBezTo>
                  <a:pt x="273" y="373"/>
                  <a:pt x="273" y="374"/>
                  <a:pt x="273" y="375"/>
                </a:cubicBezTo>
                <a:cubicBezTo>
                  <a:pt x="273" y="374"/>
                  <a:pt x="273" y="374"/>
                  <a:pt x="273" y="373"/>
                </a:cubicBezTo>
                <a:cubicBezTo>
                  <a:pt x="271" y="388"/>
                  <a:pt x="267" y="402"/>
                  <a:pt x="261" y="416"/>
                </a:cubicBezTo>
                <a:cubicBezTo>
                  <a:pt x="258" y="420"/>
                  <a:pt x="255" y="423"/>
                  <a:pt x="250" y="425"/>
                </a:cubicBezTo>
                <a:cubicBezTo>
                  <a:pt x="242" y="429"/>
                  <a:pt x="233" y="428"/>
                  <a:pt x="228" y="424"/>
                </a:cubicBezTo>
                <a:cubicBezTo>
                  <a:pt x="230" y="418"/>
                  <a:pt x="232" y="412"/>
                  <a:pt x="232" y="406"/>
                </a:cubicBezTo>
                <a:cubicBezTo>
                  <a:pt x="232" y="403"/>
                  <a:pt x="231" y="400"/>
                  <a:pt x="231" y="397"/>
                </a:cubicBezTo>
                <a:cubicBezTo>
                  <a:pt x="228" y="384"/>
                  <a:pt x="221" y="373"/>
                  <a:pt x="211" y="366"/>
                </a:cubicBezTo>
                <a:cubicBezTo>
                  <a:pt x="195" y="356"/>
                  <a:pt x="176" y="355"/>
                  <a:pt x="160" y="365"/>
                </a:cubicBezTo>
                <a:cubicBezTo>
                  <a:pt x="159" y="365"/>
                  <a:pt x="159" y="365"/>
                  <a:pt x="159" y="365"/>
                </a:cubicBezTo>
                <a:cubicBezTo>
                  <a:pt x="147" y="374"/>
                  <a:pt x="133" y="381"/>
                  <a:pt x="119" y="386"/>
                </a:cubicBezTo>
                <a:cubicBezTo>
                  <a:pt x="115" y="387"/>
                  <a:pt x="110" y="387"/>
                  <a:pt x="105" y="386"/>
                </a:cubicBezTo>
                <a:cubicBezTo>
                  <a:pt x="99" y="383"/>
                  <a:pt x="94" y="379"/>
                  <a:pt x="92" y="374"/>
                </a:cubicBezTo>
                <a:cubicBezTo>
                  <a:pt x="91" y="373"/>
                  <a:pt x="91" y="371"/>
                  <a:pt x="91" y="369"/>
                </a:cubicBezTo>
                <a:cubicBezTo>
                  <a:pt x="99" y="366"/>
                  <a:pt x="106" y="360"/>
                  <a:pt x="112" y="352"/>
                </a:cubicBezTo>
                <a:cubicBezTo>
                  <a:pt x="117" y="344"/>
                  <a:pt x="120" y="335"/>
                  <a:pt x="120" y="325"/>
                </a:cubicBezTo>
                <a:cubicBezTo>
                  <a:pt x="120" y="322"/>
                  <a:pt x="119" y="319"/>
                  <a:pt x="119" y="316"/>
                </a:cubicBezTo>
                <a:cubicBezTo>
                  <a:pt x="115" y="298"/>
                  <a:pt x="102" y="284"/>
                  <a:pt x="84" y="279"/>
                </a:cubicBezTo>
                <a:cubicBezTo>
                  <a:pt x="84" y="279"/>
                  <a:pt x="83" y="279"/>
                  <a:pt x="83" y="279"/>
                </a:cubicBezTo>
                <a:cubicBezTo>
                  <a:pt x="69" y="277"/>
                  <a:pt x="54" y="272"/>
                  <a:pt x="40" y="265"/>
                </a:cubicBezTo>
                <a:cubicBezTo>
                  <a:pt x="36" y="263"/>
                  <a:pt x="33" y="260"/>
                  <a:pt x="31" y="255"/>
                </a:cubicBezTo>
                <a:cubicBezTo>
                  <a:pt x="29" y="252"/>
                  <a:pt x="28" y="248"/>
                  <a:pt x="28" y="244"/>
                </a:cubicBezTo>
                <a:cubicBezTo>
                  <a:pt x="28" y="242"/>
                  <a:pt x="29" y="240"/>
                  <a:pt x="29" y="238"/>
                </a:cubicBezTo>
                <a:cubicBezTo>
                  <a:pt x="30" y="236"/>
                  <a:pt x="31" y="235"/>
                  <a:pt x="32" y="233"/>
                </a:cubicBezTo>
                <a:cubicBezTo>
                  <a:pt x="52" y="241"/>
                  <a:pt x="77" y="235"/>
                  <a:pt x="89" y="216"/>
                </a:cubicBezTo>
                <a:cubicBezTo>
                  <a:pt x="95" y="208"/>
                  <a:pt x="97" y="198"/>
                  <a:pt x="97" y="189"/>
                </a:cubicBezTo>
                <a:cubicBezTo>
                  <a:pt x="97" y="181"/>
                  <a:pt x="95" y="172"/>
                  <a:pt x="91" y="165"/>
                </a:cubicBezTo>
                <a:cubicBezTo>
                  <a:pt x="91" y="164"/>
                  <a:pt x="90" y="164"/>
                  <a:pt x="90" y="164"/>
                </a:cubicBezTo>
                <a:cubicBezTo>
                  <a:pt x="82" y="152"/>
                  <a:pt x="75" y="139"/>
                  <a:pt x="69" y="124"/>
                </a:cubicBezTo>
                <a:cubicBezTo>
                  <a:pt x="69" y="122"/>
                  <a:pt x="69" y="121"/>
                  <a:pt x="69" y="119"/>
                </a:cubicBezTo>
                <a:cubicBezTo>
                  <a:pt x="69" y="116"/>
                  <a:pt x="69" y="113"/>
                  <a:pt x="70" y="110"/>
                </a:cubicBezTo>
                <a:cubicBezTo>
                  <a:pt x="73" y="102"/>
                  <a:pt x="80" y="96"/>
                  <a:pt x="87" y="96"/>
                </a:cubicBezTo>
                <a:cubicBezTo>
                  <a:pt x="95" y="116"/>
                  <a:pt x="117" y="128"/>
                  <a:pt x="140" y="124"/>
                </a:cubicBezTo>
                <a:cubicBezTo>
                  <a:pt x="158" y="120"/>
                  <a:pt x="172" y="107"/>
                  <a:pt x="177" y="89"/>
                </a:cubicBezTo>
                <a:cubicBezTo>
                  <a:pt x="177" y="89"/>
                  <a:pt x="177" y="88"/>
                  <a:pt x="177" y="88"/>
                </a:cubicBezTo>
                <a:cubicBezTo>
                  <a:pt x="179" y="74"/>
                  <a:pt x="183" y="59"/>
                  <a:pt x="190" y="45"/>
                </a:cubicBezTo>
                <a:cubicBezTo>
                  <a:pt x="193" y="41"/>
                  <a:pt x="196" y="38"/>
                  <a:pt x="200" y="36"/>
                </a:cubicBezTo>
                <a:cubicBezTo>
                  <a:pt x="208" y="32"/>
                  <a:pt x="217" y="33"/>
                  <a:pt x="223" y="37"/>
                </a:cubicBezTo>
                <a:cubicBezTo>
                  <a:pt x="220" y="43"/>
                  <a:pt x="219" y="49"/>
                  <a:pt x="219" y="55"/>
                </a:cubicBezTo>
                <a:cubicBezTo>
                  <a:pt x="219" y="58"/>
                  <a:pt x="219" y="61"/>
                  <a:pt x="220" y="64"/>
                </a:cubicBezTo>
                <a:cubicBezTo>
                  <a:pt x="222" y="77"/>
                  <a:pt x="230" y="87"/>
                  <a:pt x="240" y="94"/>
                </a:cubicBezTo>
                <a:cubicBezTo>
                  <a:pt x="254" y="104"/>
                  <a:pt x="273" y="105"/>
                  <a:pt x="288" y="97"/>
                </a:cubicBezTo>
                <a:cubicBezTo>
                  <a:pt x="289" y="97"/>
                  <a:pt x="291" y="96"/>
                  <a:pt x="292" y="95"/>
                </a:cubicBezTo>
                <a:cubicBezTo>
                  <a:pt x="303" y="87"/>
                  <a:pt x="317" y="80"/>
                  <a:pt x="332" y="74"/>
                </a:cubicBezTo>
                <a:cubicBezTo>
                  <a:pt x="336" y="73"/>
                  <a:pt x="341" y="74"/>
                  <a:pt x="345" y="75"/>
                </a:cubicBezTo>
                <a:cubicBezTo>
                  <a:pt x="351" y="77"/>
                  <a:pt x="356" y="81"/>
                  <a:pt x="359" y="87"/>
                </a:cubicBezTo>
                <a:cubicBezTo>
                  <a:pt x="359" y="88"/>
                  <a:pt x="360" y="90"/>
                  <a:pt x="360" y="92"/>
                </a:cubicBezTo>
                <a:cubicBezTo>
                  <a:pt x="353" y="95"/>
                  <a:pt x="346" y="100"/>
                  <a:pt x="341" y="106"/>
                </a:cubicBezTo>
                <a:cubicBezTo>
                  <a:pt x="339" y="108"/>
                  <a:pt x="338" y="111"/>
                  <a:pt x="338" y="114"/>
                </a:cubicBezTo>
                <a:cubicBezTo>
                  <a:pt x="338" y="118"/>
                  <a:pt x="340" y="122"/>
                  <a:pt x="344" y="125"/>
                </a:cubicBezTo>
                <a:cubicBezTo>
                  <a:pt x="349" y="129"/>
                  <a:pt x="358" y="128"/>
                  <a:pt x="362" y="122"/>
                </a:cubicBezTo>
                <a:cubicBezTo>
                  <a:pt x="365" y="118"/>
                  <a:pt x="370" y="116"/>
                  <a:pt x="375" y="115"/>
                </a:cubicBezTo>
                <a:cubicBezTo>
                  <a:pt x="379" y="114"/>
                  <a:pt x="383" y="111"/>
                  <a:pt x="385" y="106"/>
                </a:cubicBezTo>
                <a:cubicBezTo>
                  <a:pt x="388" y="96"/>
                  <a:pt x="388" y="85"/>
                  <a:pt x="383" y="75"/>
                </a:cubicBezTo>
                <a:cubicBezTo>
                  <a:pt x="377" y="64"/>
                  <a:pt x="367" y="54"/>
                  <a:pt x="354" y="50"/>
                </a:cubicBezTo>
                <a:cubicBezTo>
                  <a:pt x="345" y="47"/>
                  <a:pt x="334" y="46"/>
                  <a:pt x="325" y="48"/>
                </a:cubicBezTo>
                <a:cubicBezTo>
                  <a:pt x="325" y="49"/>
                  <a:pt x="324" y="49"/>
                  <a:pt x="324" y="49"/>
                </a:cubicBezTo>
                <a:cubicBezTo>
                  <a:pt x="307" y="55"/>
                  <a:pt x="291" y="63"/>
                  <a:pt x="278" y="72"/>
                </a:cubicBezTo>
                <a:cubicBezTo>
                  <a:pt x="278" y="73"/>
                  <a:pt x="278" y="73"/>
                  <a:pt x="277" y="73"/>
                </a:cubicBezTo>
                <a:cubicBezTo>
                  <a:pt x="270" y="77"/>
                  <a:pt x="262" y="77"/>
                  <a:pt x="255" y="72"/>
                </a:cubicBezTo>
                <a:cubicBezTo>
                  <a:pt x="250" y="69"/>
                  <a:pt x="247" y="64"/>
                  <a:pt x="246" y="59"/>
                </a:cubicBezTo>
                <a:cubicBezTo>
                  <a:pt x="245" y="53"/>
                  <a:pt x="246" y="48"/>
                  <a:pt x="249" y="43"/>
                </a:cubicBezTo>
                <a:cubicBezTo>
                  <a:pt x="252" y="39"/>
                  <a:pt x="252" y="34"/>
                  <a:pt x="250" y="30"/>
                </a:cubicBezTo>
                <a:cubicBezTo>
                  <a:pt x="240" y="8"/>
                  <a:pt x="213" y="0"/>
                  <a:pt x="189" y="1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3" name="Freeform 247"/>
          <p:cNvSpPr>
            <a:spLocks/>
          </p:cNvSpPr>
          <p:nvPr userDrawn="1"/>
        </p:nvSpPr>
        <p:spPr bwMode="auto">
          <a:xfrm>
            <a:off x="1892878" y="2385445"/>
            <a:ext cx="415925" cy="512763"/>
          </a:xfrm>
          <a:custGeom>
            <a:avLst/>
            <a:gdLst/>
            <a:ahLst/>
            <a:cxnLst>
              <a:cxn ang="0">
                <a:pos x="305" y="0"/>
              </a:cxn>
              <a:cxn ang="0">
                <a:pos x="292" y="13"/>
              </a:cxn>
              <a:cxn ang="0">
                <a:pos x="283" y="299"/>
              </a:cxn>
              <a:cxn ang="0">
                <a:pos x="208" y="299"/>
              </a:cxn>
              <a:cxn ang="0">
                <a:pos x="202" y="102"/>
              </a:cxn>
              <a:cxn ang="0">
                <a:pos x="189" y="89"/>
              </a:cxn>
              <a:cxn ang="0">
                <a:pos x="148" y="89"/>
              </a:cxn>
              <a:cxn ang="0">
                <a:pos x="134" y="102"/>
              </a:cxn>
              <a:cxn ang="0">
                <a:pos x="128" y="299"/>
              </a:cxn>
              <a:cxn ang="0">
                <a:pos x="66" y="299"/>
              </a:cxn>
              <a:cxn ang="0">
                <a:pos x="56" y="304"/>
              </a:cxn>
              <a:cxn ang="0">
                <a:pos x="3" y="376"/>
              </a:cxn>
              <a:cxn ang="0">
                <a:pos x="0" y="384"/>
              </a:cxn>
              <a:cxn ang="0">
                <a:pos x="0" y="443"/>
              </a:cxn>
              <a:cxn ang="0">
                <a:pos x="14" y="457"/>
              </a:cxn>
              <a:cxn ang="0">
                <a:pos x="27" y="443"/>
              </a:cxn>
              <a:cxn ang="0">
                <a:pos x="27" y="388"/>
              </a:cxn>
              <a:cxn ang="0">
                <a:pos x="73" y="326"/>
              </a:cxn>
              <a:cxn ang="0">
                <a:pos x="141" y="326"/>
              </a:cxn>
              <a:cxn ang="0">
                <a:pos x="155" y="313"/>
              </a:cxn>
              <a:cxn ang="0">
                <a:pos x="160" y="116"/>
              </a:cxn>
              <a:cxn ang="0">
                <a:pos x="176" y="116"/>
              </a:cxn>
              <a:cxn ang="0">
                <a:pos x="182" y="313"/>
              </a:cxn>
              <a:cxn ang="0">
                <a:pos x="195" y="326"/>
              </a:cxn>
              <a:cxn ang="0">
                <a:pos x="296" y="326"/>
              </a:cxn>
              <a:cxn ang="0">
                <a:pos x="310" y="313"/>
              </a:cxn>
              <a:cxn ang="0">
                <a:pos x="318" y="27"/>
              </a:cxn>
              <a:cxn ang="0">
                <a:pos x="333" y="27"/>
              </a:cxn>
              <a:cxn ang="0">
                <a:pos x="342" y="443"/>
              </a:cxn>
              <a:cxn ang="0">
                <a:pos x="355" y="457"/>
              </a:cxn>
              <a:cxn ang="0">
                <a:pos x="368" y="443"/>
              </a:cxn>
              <a:cxn ang="0">
                <a:pos x="360" y="13"/>
              </a:cxn>
              <a:cxn ang="0">
                <a:pos x="346" y="0"/>
              </a:cxn>
              <a:cxn ang="0">
                <a:pos x="305" y="0"/>
              </a:cxn>
            </a:cxnLst>
            <a:rect l="0" t="0" r="r" b="b"/>
            <a:pathLst>
              <a:path w="368" h="457">
                <a:moveTo>
                  <a:pt x="305" y="0"/>
                </a:moveTo>
                <a:cubicBezTo>
                  <a:pt x="298" y="0"/>
                  <a:pt x="292" y="6"/>
                  <a:pt x="292" y="13"/>
                </a:cubicBezTo>
                <a:cubicBezTo>
                  <a:pt x="292" y="13"/>
                  <a:pt x="284" y="275"/>
                  <a:pt x="283" y="299"/>
                </a:cubicBezTo>
                <a:cubicBezTo>
                  <a:pt x="267" y="299"/>
                  <a:pt x="225" y="299"/>
                  <a:pt x="208" y="299"/>
                </a:cubicBezTo>
                <a:cubicBezTo>
                  <a:pt x="207" y="276"/>
                  <a:pt x="202" y="102"/>
                  <a:pt x="202" y="102"/>
                </a:cubicBezTo>
                <a:cubicBezTo>
                  <a:pt x="202" y="95"/>
                  <a:pt x="196" y="89"/>
                  <a:pt x="189" y="89"/>
                </a:cubicBezTo>
                <a:cubicBezTo>
                  <a:pt x="148" y="89"/>
                  <a:pt x="148" y="89"/>
                  <a:pt x="148" y="89"/>
                </a:cubicBezTo>
                <a:cubicBezTo>
                  <a:pt x="140" y="89"/>
                  <a:pt x="134" y="95"/>
                  <a:pt x="134" y="102"/>
                </a:cubicBezTo>
                <a:cubicBezTo>
                  <a:pt x="134" y="102"/>
                  <a:pt x="129" y="276"/>
                  <a:pt x="128" y="299"/>
                </a:cubicBezTo>
                <a:cubicBezTo>
                  <a:pt x="111" y="299"/>
                  <a:pt x="66" y="299"/>
                  <a:pt x="66" y="299"/>
                </a:cubicBezTo>
                <a:cubicBezTo>
                  <a:pt x="62" y="299"/>
                  <a:pt x="58" y="301"/>
                  <a:pt x="56" y="304"/>
                </a:cubicBezTo>
                <a:cubicBezTo>
                  <a:pt x="3" y="376"/>
                  <a:pt x="3" y="376"/>
                  <a:pt x="3" y="376"/>
                </a:cubicBezTo>
                <a:cubicBezTo>
                  <a:pt x="1" y="378"/>
                  <a:pt x="0" y="381"/>
                  <a:pt x="0" y="384"/>
                </a:cubicBezTo>
                <a:cubicBezTo>
                  <a:pt x="0" y="443"/>
                  <a:pt x="0" y="443"/>
                  <a:pt x="0" y="443"/>
                </a:cubicBezTo>
                <a:cubicBezTo>
                  <a:pt x="0" y="451"/>
                  <a:pt x="6" y="457"/>
                  <a:pt x="14" y="457"/>
                </a:cubicBezTo>
                <a:cubicBezTo>
                  <a:pt x="21" y="457"/>
                  <a:pt x="27" y="451"/>
                  <a:pt x="27" y="443"/>
                </a:cubicBezTo>
                <a:cubicBezTo>
                  <a:pt x="27" y="443"/>
                  <a:pt x="27" y="396"/>
                  <a:pt x="27" y="388"/>
                </a:cubicBezTo>
                <a:cubicBezTo>
                  <a:pt x="31" y="382"/>
                  <a:pt x="67" y="334"/>
                  <a:pt x="73" y="326"/>
                </a:cubicBezTo>
                <a:cubicBezTo>
                  <a:pt x="84" y="326"/>
                  <a:pt x="141" y="326"/>
                  <a:pt x="141" y="326"/>
                </a:cubicBezTo>
                <a:cubicBezTo>
                  <a:pt x="149" y="326"/>
                  <a:pt x="155" y="320"/>
                  <a:pt x="155" y="313"/>
                </a:cubicBezTo>
                <a:cubicBezTo>
                  <a:pt x="155" y="313"/>
                  <a:pt x="160" y="138"/>
                  <a:pt x="160" y="116"/>
                </a:cubicBezTo>
                <a:cubicBezTo>
                  <a:pt x="167" y="116"/>
                  <a:pt x="169" y="116"/>
                  <a:pt x="176" y="116"/>
                </a:cubicBezTo>
                <a:cubicBezTo>
                  <a:pt x="176" y="138"/>
                  <a:pt x="182" y="313"/>
                  <a:pt x="182" y="313"/>
                </a:cubicBezTo>
                <a:cubicBezTo>
                  <a:pt x="182" y="320"/>
                  <a:pt x="188" y="326"/>
                  <a:pt x="195" y="326"/>
                </a:cubicBezTo>
                <a:cubicBezTo>
                  <a:pt x="296" y="326"/>
                  <a:pt x="296" y="326"/>
                  <a:pt x="296" y="326"/>
                </a:cubicBezTo>
                <a:cubicBezTo>
                  <a:pt x="304" y="326"/>
                  <a:pt x="309" y="320"/>
                  <a:pt x="310" y="313"/>
                </a:cubicBezTo>
                <a:cubicBezTo>
                  <a:pt x="310" y="313"/>
                  <a:pt x="317" y="50"/>
                  <a:pt x="318" y="27"/>
                </a:cubicBezTo>
                <a:cubicBezTo>
                  <a:pt x="325" y="27"/>
                  <a:pt x="327" y="27"/>
                  <a:pt x="333" y="27"/>
                </a:cubicBezTo>
                <a:cubicBezTo>
                  <a:pt x="334" y="51"/>
                  <a:pt x="342" y="443"/>
                  <a:pt x="342" y="443"/>
                </a:cubicBezTo>
                <a:cubicBezTo>
                  <a:pt x="342" y="451"/>
                  <a:pt x="348" y="457"/>
                  <a:pt x="355" y="457"/>
                </a:cubicBezTo>
                <a:cubicBezTo>
                  <a:pt x="363" y="456"/>
                  <a:pt x="368" y="450"/>
                  <a:pt x="368" y="443"/>
                </a:cubicBezTo>
                <a:cubicBezTo>
                  <a:pt x="360" y="13"/>
                  <a:pt x="360" y="13"/>
                  <a:pt x="360" y="13"/>
                </a:cubicBezTo>
                <a:cubicBezTo>
                  <a:pt x="359" y="6"/>
                  <a:pt x="354" y="0"/>
                  <a:pt x="346" y="0"/>
                </a:cubicBezTo>
                <a:lnTo>
                  <a:pt x="305" y="0"/>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grpSp>
        <p:nvGrpSpPr>
          <p:cNvPr id="55" name="Group 270"/>
          <p:cNvGrpSpPr>
            <a:grpSpLocks noChangeAspect="1"/>
          </p:cNvGrpSpPr>
          <p:nvPr userDrawn="1"/>
        </p:nvGrpSpPr>
        <p:grpSpPr bwMode="auto">
          <a:xfrm>
            <a:off x="1885733" y="3016359"/>
            <a:ext cx="430213" cy="463551"/>
            <a:chOff x="1543" y="1791"/>
            <a:chExt cx="271" cy="292"/>
          </a:xfrm>
          <a:noFill/>
        </p:grpSpPr>
        <p:sp>
          <p:nvSpPr>
            <p:cNvPr id="115" name="Line 271"/>
            <p:cNvSpPr>
              <a:spLocks noChangeShapeType="1"/>
            </p:cNvSpPr>
            <p:nvPr/>
          </p:nvSpPr>
          <p:spPr bwMode="auto">
            <a:xfrm>
              <a:off x="1581" y="1894"/>
              <a:ext cx="1" cy="1"/>
            </a:xfrm>
            <a:prstGeom prst="line">
              <a:avLst/>
            </a:pr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116" name="Freeform 272"/>
            <p:cNvSpPr>
              <a:spLocks/>
            </p:cNvSpPr>
            <p:nvPr/>
          </p:nvSpPr>
          <p:spPr bwMode="auto">
            <a:xfrm>
              <a:off x="1543" y="1791"/>
              <a:ext cx="271" cy="292"/>
            </a:xfrm>
            <a:custGeom>
              <a:avLst/>
              <a:gdLst/>
              <a:ahLst/>
              <a:cxnLst>
                <a:cxn ang="0">
                  <a:pos x="354" y="302"/>
                </a:cxn>
                <a:cxn ang="0">
                  <a:pos x="328" y="384"/>
                </a:cxn>
                <a:cxn ang="0">
                  <a:pos x="146" y="366"/>
                </a:cxn>
                <a:cxn ang="0">
                  <a:pos x="4" y="261"/>
                </a:cxn>
                <a:cxn ang="0">
                  <a:pos x="51" y="140"/>
                </a:cxn>
                <a:cxn ang="0">
                  <a:pos x="108" y="139"/>
                </a:cxn>
                <a:cxn ang="0">
                  <a:pos x="121" y="104"/>
                </a:cxn>
                <a:cxn ang="0">
                  <a:pos x="167" y="122"/>
                </a:cxn>
                <a:cxn ang="0">
                  <a:pos x="119" y="30"/>
                </a:cxn>
                <a:cxn ang="0">
                  <a:pos x="175" y="41"/>
                </a:cxn>
                <a:cxn ang="0">
                  <a:pos x="209" y="118"/>
                </a:cxn>
                <a:cxn ang="0">
                  <a:pos x="252" y="4"/>
                </a:cxn>
                <a:cxn ang="0">
                  <a:pos x="309" y="23"/>
                </a:cxn>
                <a:cxn ang="0">
                  <a:pos x="264" y="136"/>
                </a:cxn>
                <a:cxn ang="0">
                  <a:pos x="329" y="93"/>
                </a:cxn>
                <a:cxn ang="0">
                  <a:pos x="382" y="119"/>
                </a:cxn>
                <a:cxn ang="0">
                  <a:pos x="299" y="170"/>
                </a:cxn>
                <a:cxn ang="0">
                  <a:pos x="345" y="188"/>
                </a:cxn>
                <a:cxn ang="0">
                  <a:pos x="335" y="222"/>
                </a:cxn>
                <a:cxn ang="0">
                  <a:pos x="374" y="258"/>
                </a:cxn>
                <a:cxn ang="0">
                  <a:pos x="97" y="180"/>
                </a:cxn>
              </a:cxnLst>
              <a:rect l="0" t="0" r="r" b="b"/>
              <a:pathLst>
                <a:path w="382" h="410">
                  <a:moveTo>
                    <a:pt x="354" y="302"/>
                  </a:moveTo>
                  <a:cubicBezTo>
                    <a:pt x="328" y="384"/>
                    <a:pt x="328" y="384"/>
                    <a:pt x="328" y="384"/>
                  </a:cubicBezTo>
                  <a:cubicBezTo>
                    <a:pt x="328" y="384"/>
                    <a:pt x="252" y="410"/>
                    <a:pt x="146" y="366"/>
                  </a:cubicBezTo>
                  <a:cubicBezTo>
                    <a:pt x="44" y="324"/>
                    <a:pt x="0" y="267"/>
                    <a:pt x="4" y="261"/>
                  </a:cubicBezTo>
                  <a:cubicBezTo>
                    <a:pt x="7" y="255"/>
                    <a:pt x="51" y="140"/>
                    <a:pt x="51" y="140"/>
                  </a:cubicBezTo>
                  <a:cubicBezTo>
                    <a:pt x="51" y="140"/>
                    <a:pt x="49" y="129"/>
                    <a:pt x="108" y="139"/>
                  </a:cubicBezTo>
                  <a:cubicBezTo>
                    <a:pt x="121" y="104"/>
                    <a:pt x="121" y="104"/>
                    <a:pt x="121" y="104"/>
                  </a:cubicBezTo>
                  <a:cubicBezTo>
                    <a:pt x="121" y="104"/>
                    <a:pt x="165" y="123"/>
                    <a:pt x="167" y="122"/>
                  </a:cubicBezTo>
                  <a:cubicBezTo>
                    <a:pt x="166" y="122"/>
                    <a:pt x="119" y="30"/>
                    <a:pt x="119" y="30"/>
                  </a:cubicBezTo>
                  <a:cubicBezTo>
                    <a:pt x="119" y="30"/>
                    <a:pt x="158" y="32"/>
                    <a:pt x="175" y="41"/>
                  </a:cubicBezTo>
                  <a:cubicBezTo>
                    <a:pt x="180" y="52"/>
                    <a:pt x="209" y="118"/>
                    <a:pt x="209" y="118"/>
                  </a:cubicBezTo>
                  <a:cubicBezTo>
                    <a:pt x="252" y="4"/>
                    <a:pt x="252" y="4"/>
                    <a:pt x="252" y="4"/>
                  </a:cubicBezTo>
                  <a:cubicBezTo>
                    <a:pt x="252" y="4"/>
                    <a:pt x="280" y="0"/>
                    <a:pt x="309" y="23"/>
                  </a:cubicBezTo>
                  <a:cubicBezTo>
                    <a:pt x="305" y="36"/>
                    <a:pt x="264" y="136"/>
                    <a:pt x="264" y="136"/>
                  </a:cubicBezTo>
                  <a:cubicBezTo>
                    <a:pt x="329" y="93"/>
                    <a:pt x="329" y="93"/>
                    <a:pt x="329" y="93"/>
                  </a:cubicBezTo>
                  <a:cubicBezTo>
                    <a:pt x="329" y="93"/>
                    <a:pt x="361" y="98"/>
                    <a:pt x="382" y="119"/>
                  </a:cubicBezTo>
                  <a:cubicBezTo>
                    <a:pt x="369" y="126"/>
                    <a:pt x="299" y="170"/>
                    <a:pt x="299" y="170"/>
                  </a:cubicBezTo>
                  <a:cubicBezTo>
                    <a:pt x="299" y="170"/>
                    <a:pt x="345" y="189"/>
                    <a:pt x="345" y="188"/>
                  </a:cubicBezTo>
                  <a:cubicBezTo>
                    <a:pt x="345" y="186"/>
                    <a:pt x="335" y="222"/>
                    <a:pt x="335" y="222"/>
                  </a:cubicBezTo>
                  <a:cubicBezTo>
                    <a:pt x="335" y="222"/>
                    <a:pt x="355" y="238"/>
                    <a:pt x="374" y="258"/>
                  </a:cubicBezTo>
                  <a:cubicBezTo>
                    <a:pt x="372" y="260"/>
                    <a:pt x="231" y="293"/>
                    <a:pt x="97" y="180"/>
                  </a:cubicBezTo>
                </a:path>
              </a:pathLst>
            </a:custGeom>
            <a:grpFill/>
            <a:ln w="317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grpSp>
      <p:sp>
        <p:nvSpPr>
          <p:cNvPr id="117" name="Freeform 308"/>
          <p:cNvSpPr>
            <a:spLocks/>
          </p:cNvSpPr>
          <p:nvPr userDrawn="1"/>
        </p:nvSpPr>
        <p:spPr bwMode="auto">
          <a:xfrm>
            <a:off x="1842866" y="3673134"/>
            <a:ext cx="515938" cy="527051"/>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8" name="Freeform 636"/>
          <p:cNvSpPr>
            <a:spLocks/>
          </p:cNvSpPr>
          <p:nvPr userDrawn="1"/>
        </p:nvSpPr>
        <p:spPr bwMode="auto">
          <a:xfrm>
            <a:off x="1876997" y="1780287"/>
            <a:ext cx="447674" cy="447672"/>
          </a:xfrm>
          <a:custGeom>
            <a:avLst/>
            <a:gdLst/>
            <a:ahLst/>
            <a:cxnLst>
              <a:cxn ang="0">
                <a:pos x="126" y="251"/>
              </a:cxn>
              <a:cxn ang="0">
                <a:pos x="22" y="196"/>
              </a:cxn>
              <a:cxn ang="0">
                <a:pos x="24" y="186"/>
              </a:cxn>
              <a:cxn ang="0">
                <a:pos x="33" y="188"/>
              </a:cxn>
              <a:cxn ang="0">
                <a:pos x="126" y="238"/>
              </a:cxn>
              <a:cxn ang="0">
                <a:pos x="232" y="164"/>
              </a:cxn>
              <a:cxn ang="0">
                <a:pos x="196" y="164"/>
              </a:cxn>
              <a:cxn ang="0">
                <a:pos x="189" y="158"/>
              </a:cxn>
              <a:cxn ang="0">
                <a:pos x="189" y="120"/>
              </a:cxn>
              <a:cxn ang="0">
                <a:pos x="172" y="113"/>
              </a:cxn>
              <a:cxn ang="0">
                <a:pos x="172" y="149"/>
              </a:cxn>
              <a:cxn ang="0">
                <a:pos x="165" y="155"/>
              </a:cxn>
              <a:cxn ang="0">
                <a:pos x="144" y="155"/>
              </a:cxn>
              <a:cxn ang="0">
                <a:pos x="137" y="149"/>
              </a:cxn>
              <a:cxn ang="0">
                <a:pos x="137" y="59"/>
              </a:cxn>
              <a:cxn ang="0">
                <a:pos x="117" y="52"/>
              </a:cxn>
              <a:cxn ang="0">
                <a:pos x="117" y="133"/>
              </a:cxn>
              <a:cxn ang="0">
                <a:pos x="110" y="140"/>
              </a:cxn>
              <a:cxn ang="0">
                <a:pos x="89" y="140"/>
              </a:cxn>
              <a:cxn ang="0">
                <a:pos x="83" y="133"/>
              </a:cxn>
              <a:cxn ang="0">
                <a:pos x="83" y="106"/>
              </a:cxn>
              <a:cxn ang="0">
                <a:pos x="73" y="101"/>
              </a:cxn>
              <a:cxn ang="0">
                <a:pos x="62" y="107"/>
              </a:cxn>
              <a:cxn ang="0">
                <a:pos x="62" y="160"/>
              </a:cxn>
              <a:cxn ang="0">
                <a:pos x="55" y="167"/>
              </a:cxn>
              <a:cxn ang="0">
                <a:pos x="12" y="167"/>
              </a:cxn>
              <a:cxn ang="0">
                <a:pos x="6" y="162"/>
              </a:cxn>
              <a:cxn ang="0">
                <a:pos x="0" y="126"/>
              </a:cxn>
              <a:cxn ang="0">
                <a:pos x="126" y="0"/>
              </a:cxn>
              <a:cxn ang="0">
                <a:pos x="252" y="126"/>
              </a:cxn>
              <a:cxn ang="0">
                <a:pos x="245" y="132"/>
              </a:cxn>
              <a:cxn ang="0">
                <a:pos x="238" y="126"/>
              </a:cxn>
              <a:cxn ang="0">
                <a:pos x="126" y="13"/>
              </a:cxn>
              <a:cxn ang="0">
                <a:pos x="14" y="126"/>
              </a:cxn>
              <a:cxn ang="0">
                <a:pos x="17" y="154"/>
              </a:cxn>
              <a:cxn ang="0">
                <a:pos x="49" y="154"/>
              </a:cxn>
              <a:cxn ang="0">
                <a:pos x="49" y="103"/>
              </a:cxn>
              <a:cxn ang="0">
                <a:pos x="52" y="97"/>
              </a:cxn>
              <a:cxn ang="0">
                <a:pos x="69" y="88"/>
              </a:cxn>
              <a:cxn ang="0">
                <a:pos x="76" y="88"/>
              </a:cxn>
              <a:cxn ang="0">
                <a:pos x="93" y="96"/>
              </a:cxn>
              <a:cxn ang="0">
                <a:pos x="96" y="102"/>
              </a:cxn>
              <a:cxn ang="0">
                <a:pos x="96" y="127"/>
              </a:cxn>
              <a:cxn ang="0">
                <a:pos x="103" y="127"/>
              </a:cxn>
              <a:cxn ang="0">
                <a:pos x="103" y="42"/>
              </a:cxn>
              <a:cxn ang="0">
                <a:pos x="106" y="37"/>
              </a:cxn>
              <a:cxn ang="0">
                <a:pos x="112" y="36"/>
              </a:cxn>
              <a:cxn ang="0">
                <a:pos x="146" y="48"/>
              </a:cxn>
              <a:cxn ang="0">
                <a:pos x="150" y="55"/>
              </a:cxn>
              <a:cxn ang="0">
                <a:pos x="150" y="142"/>
              </a:cxn>
              <a:cxn ang="0">
                <a:pos x="159" y="142"/>
              </a:cxn>
              <a:cxn ang="0">
                <a:pos x="159" y="103"/>
              </a:cxn>
              <a:cxn ang="0">
                <a:pos x="162" y="98"/>
              </a:cxn>
              <a:cxn ang="0">
                <a:pos x="168" y="97"/>
              </a:cxn>
              <a:cxn ang="0">
                <a:pos x="198" y="109"/>
              </a:cxn>
              <a:cxn ang="0">
                <a:pos x="202" y="115"/>
              </a:cxn>
              <a:cxn ang="0">
                <a:pos x="202" y="151"/>
              </a:cxn>
              <a:cxn ang="0">
                <a:pos x="240" y="151"/>
              </a:cxn>
              <a:cxn ang="0">
                <a:pos x="246" y="153"/>
              </a:cxn>
              <a:cxn ang="0">
                <a:pos x="247" y="159"/>
              </a:cxn>
              <a:cxn ang="0">
                <a:pos x="126" y="251"/>
              </a:cxn>
            </a:cxnLst>
            <a:rect l="0" t="0" r="r" b="b"/>
            <a:pathLst>
              <a:path w="252" h="251">
                <a:moveTo>
                  <a:pt x="126" y="251"/>
                </a:moveTo>
                <a:cubicBezTo>
                  <a:pt x="84" y="251"/>
                  <a:pt x="45" y="231"/>
                  <a:pt x="22" y="196"/>
                </a:cubicBezTo>
                <a:cubicBezTo>
                  <a:pt x="20" y="193"/>
                  <a:pt x="20" y="188"/>
                  <a:pt x="24" y="186"/>
                </a:cubicBezTo>
                <a:cubicBezTo>
                  <a:pt x="27" y="184"/>
                  <a:pt x="31" y="185"/>
                  <a:pt x="33" y="188"/>
                </a:cubicBezTo>
                <a:cubicBezTo>
                  <a:pt x="54" y="219"/>
                  <a:pt x="89" y="238"/>
                  <a:pt x="126" y="238"/>
                </a:cubicBezTo>
                <a:cubicBezTo>
                  <a:pt x="173" y="238"/>
                  <a:pt x="216" y="208"/>
                  <a:pt x="232" y="164"/>
                </a:cubicBezTo>
                <a:cubicBezTo>
                  <a:pt x="196" y="164"/>
                  <a:pt x="196" y="164"/>
                  <a:pt x="196" y="164"/>
                </a:cubicBezTo>
                <a:cubicBezTo>
                  <a:pt x="192" y="164"/>
                  <a:pt x="189" y="161"/>
                  <a:pt x="189" y="158"/>
                </a:cubicBezTo>
                <a:cubicBezTo>
                  <a:pt x="189" y="120"/>
                  <a:pt x="189" y="120"/>
                  <a:pt x="189" y="120"/>
                </a:cubicBezTo>
                <a:cubicBezTo>
                  <a:pt x="172" y="113"/>
                  <a:pt x="172" y="113"/>
                  <a:pt x="172" y="113"/>
                </a:cubicBezTo>
                <a:cubicBezTo>
                  <a:pt x="172" y="149"/>
                  <a:pt x="172" y="149"/>
                  <a:pt x="172" y="149"/>
                </a:cubicBezTo>
                <a:cubicBezTo>
                  <a:pt x="172" y="152"/>
                  <a:pt x="169" y="155"/>
                  <a:pt x="165" y="155"/>
                </a:cubicBezTo>
                <a:cubicBezTo>
                  <a:pt x="144" y="155"/>
                  <a:pt x="144" y="155"/>
                  <a:pt x="144" y="155"/>
                </a:cubicBezTo>
                <a:cubicBezTo>
                  <a:pt x="140" y="155"/>
                  <a:pt x="137" y="152"/>
                  <a:pt x="137" y="149"/>
                </a:cubicBezTo>
                <a:cubicBezTo>
                  <a:pt x="137" y="59"/>
                  <a:pt x="137" y="59"/>
                  <a:pt x="137" y="59"/>
                </a:cubicBezTo>
                <a:cubicBezTo>
                  <a:pt x="117" y="52"/>
                  <a:pt x="117" y="52"/>
                  <a:pt x="117" y="52"/>
                </a:cubicBezTo>
                <a:cubicBezTo>
                  <a:pt x="117" y="133"/>
                  <a:pt x="117" y="133"/>
                  <a:pt x="117" y="133"/>
                </a:cubicBezTo>
                <a:cubicBezTo>
                  <a:pt x="117" y="137"/>
                  <a:pt x="114" y="140"/>
                  <a:pt x="110" y="140"/>
                </a:cubicBezTo>
                <a:cubicBezTo>
                  <a:pt x="89" y="140"/>
                  <a:pt x="89" y="140"/>
                  <a:pt x="89" y="140"/>
                </a:cubicBezTo>
                <a:cubicBezTo>
                  <a:pt x="86" y="140"/>
                  <a:pt x="83" y="137"/>
                  <a:pt x="83" y="133"/>
                </a:cubicBezTo>
                <a:cubicBezTo>
                  <a:pt x="83" y="106"/>
                  <a:pt x="83" y="106"/>
                  <a:pt x="83" y="106"/>
                </a:cubicBezTo>
                <a:cubicBezTo>
                  <a:pt x="73" y="101"/>
                  <a:pt x="73" y="101"/>
                  <a:pt x="73" y="101"/>
                </a:cubicBezTo>
                <a:cubicBezTo>
                  <a:pt x="62" y="107"/>
                  <a:pt x="62" y="107"/>
                  <a:pt x="62" y="107"/>
                </a:cubicBezTo>
                <a:cubicBezTo>
                  <a:pt x="62" y="160"/>
                  <a:pt x="62" y="160"/>
                  <a:pt x="62" y="160"/>
                </a:cubicBezTo>
                <a:cubicBezTo>
                  <a:pt x="62" y="164"/>
                  <a:pt x="59" y="167"/>
                  <a:pt x="55" y="167"/>
                </a:cubicBezTo>
                <a:cubicBezTo>
                  <a:pt x="12" y="167"/>
                  <a:pt x="12" y="167"/>
                  <a:pt x="12" y="167"/>
                </a:cubicBezTo>
                <a:cubicBezTo>
                  <a:pt x="10" y="167"/>
                  <a:pt x="7" y="165"/>
                  <a:pt x="6" y="162"/>
                </a:cubicBezTo>
                <a:cubicBezTo>
                  <a:pt x="2" y="150"/>
                  <a:pt x="0" y="138"/>
                  <a:pt x="0" y="126"/>
                </a:cubicBezTo>
                <a:cubicBezTo>
                  <a:pt x="0" y="56"/>
                  <a:pt x="57" y="0"/>
                  <a:pt x="126" y="0"/>
                </a:cubicBezTo>
                <a:cubicBezTo>
                  <a:pt x="195" y="0"/>
                  <a:pt x="252" y="56"/>
                  <a:pt x="252" y="126"/>
                </a:cubicBezTo>
                <a:cubicBezTo>
                  <a:pt x="252" y="129"/>
                  <a:pt x="249" y="132"/>
                  <a:pt x="245" y="132"/>
                </a:cubicBezTo>
                <a:cubicBezTo>
                  <a:pt x="241" y="132"/>
                  <a:pt x="238" y="129"/>
                  <a:pt x="238" y="126"/>
                </a:cubicBezTo>
                <a:cubicBezTo>
                  <a:pt x="238" y="64"/>
                  <a:pt x="188" y="13"/>
                  <a:pt x="126" y="13"/>
                </a:cubicBezTo>
                <a:cubicBezTo>
                  <a:pt x="64" y="13"/>
                  <a:pt x="14" y="64"/>
                  <a:pt x="14" y="126"/>
                </a:cubicBezTo>
                <a:cubicBezTo>
                  <a:pt x="14" y="135"/>
                  <a:pt x="15" y="145"/>
                  <a:pt x="17" y="154"/>
                </a:cubicBezTo>
                <a:cubicBezTo>
                  <a:pt x="49" y="154"/>
                  <a:pt x="49" y="154"/>
                  <a:pt x="49" y="154"/>
                </a:cubicBezTo>
                <a:cubicBezTo>
                  <a:pt x="49" y="103"/>
                  <a:pt x="49" y="103"/>
                  <a:pt x="49" y="103"/>
                </a:cubicBezTo>
                <a:cubicBezTo>
                  <a:pt x="49" y="101"/>
                  <a:pt x="50" y="99"/>
                  <a:pt x="52" y="97"/>
                </a:cubicBezTo>
                <a:cubicBezTo>
                  <a:pt x="69" y="88"/>
                  <a:pt x="69" y="88"/>
                  <a:pt x="69" y="88"/>
                </a:cubicBezTo>
                <a:cubicBezTo>
                  <a:pt x="71" y="87"/>
                  <a:pt x="74" y="87"/>
                  <a:pt x="76" y="88"/>
                </a:cubicBezTo>
                <a:cubicBezTo>
                  <a:pt x="93" y="96"/>
                  <a:pt x="93" y="96"/>
                  <a:pt x="93" y="96"/>
                </a:cubicBezTo>
                <a:cubicBezTo>
                  <a:pt x="95" y="98"/>
                  <a:pt x="96" y="100"/>
                  <a:pt x="96" y="102"/>
                </a:cubicBezTo>
                <a:cubicBezTo>
                  <a:pt x="96" y="127"/>
                  <a:pt x="96" y="127"/>
                  <a:pt x="96" y="127"/>
                </a:cubicBezTo>
                <a:cubicBezTo>
                  <a:pt x="103" y="127"/>
                  <a:pt x="103" y="127"/>
                  <a:pt x="103" y="127"/>
                </a:cubicBezTo>
                <a:cubicBezTo>
                  <a:pt x="103" y="42"/>
                  <a:pt x="103" y="42"/>
                  <a:pt x="103" y="42"/>
                </a:cubicBezTo>
                <a:cubicBezTo>
                  <a:pt x="103" y="40"/>
                  <a:pt x="104" y="38"/>
                  <a:pt x="106" y="37"/>
                </a:cubicBezTo>
                <a:cubicBezTo>
                  <a:pt x="108" y="36"/>
                  <a:pt x="110" y="35"/>
                  <a:pt x="112" y="36"/>
                </a:cubicBezTo>
                <a:cubicBezTo>
                  <a:pt x="146" y="48"/>
                  <a:pt x="146" y="48"/>
                  <a:pt x="146" y="48"/>
                </a:cubicBezTo>
                <a:cubicBezTo>
                  <a:pt x="149" y="49"/>
                  <a:pt x="150" y="52"/>
                  <a:pt x="150" y="55"/>
                </a:cubicBezTo>
                <a:cubicBezTo>
                  <a:pt x="150" y="142"/>
                  <a:pt x="150" y="142"/>
                  <a:pt x="150" y="142"/>
                </a:cubicBezTo>
                <a:cubicBezTo>
                  <a:pt x="159" y="142"/>
                  <a:pt x="159" y="142"/>
                  <a:pt x="159" y="142"/>
                </a:cubicBezTo>
                <a:cubicBezTo>
                  <a:pt x="159" y="103"/>
                  <a:pt x="159" y="103"/>
                  <a:pt x="159" y="103"/>
                </a:cubicBezTo>
                <a:cubicBezTo>
                  <a:pt x="159" y="101"/>
                  <a:pt x="160" y="99"/>
                  <a:pt x="162" y="98"/>
                </a:cubicBezTo>
                <a:cubicBezTo>
                  <a:pt x="163" y="97"/>
                  <a:pt x="166" y="96"/>
                  <a:pt x="168" y="97"/>
                </a:cubicBezTo>
                <a:cubicBezTo>
                  <a:pt x="198" y="109"/>
                  <a:pt x="198" y="109"/>
                  <a:pt x="198" y="109"/>
                </a:cubicBezTo>
                <a:cubicBezTo>
                  <a:pt x="201" y="110"/>
                  <a:pt x="202" y="112"/>
                  <a:pt x="202" y="115"/>
                </a:cubicBezTo>
                <a:cubicBezTo>
                  <a:pt x="202" y="151"/>
                  <a:pt x="202" y="151"/>
                  <a:pt x="202" y="151"/>
                </a:cubicBezTo>
                <a:cubicBezTo>
                  <a:pt x="240" y="151"/>
                  <a:pt x="240" y="151"/>
                  <a:pt x="240" y="151"/>
                </a:cubicBezTo>
                <a:cubicBezTo>
                  <a:pt x="242" y="151"/>
                  <a:pt x="244" y="152"/>
                  <a:pt x="246" y="153"/>
                </a:cubicBezTo>
                <a:cubicBezTo>
                  <a:pt x="247" y="155"/>
                  <a:pt x="248" y="157"/>
                  <a:pt x="247" y="159"/>
                </a:cubicBezTo>
                <a:cubicBezTo>
                  <a:pt x="232" y="214"/>
                  <a:pt x="182" y="251"/>
                  <a:pt x="126" y="25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9" name="Freeform 147"/>
          <p:cNvSpPr>
            <a:spLocks noEditPoints="1"/>
          </p:cNvSpPr>
          <p:nvPr userDrawn="1"/>
        </p:nvSpPr>
        <p:spPr bwMode="auto">
          <a:xfrm>
            <a:off x="8732925" y="1162461"/>
            <a:ext cx="492125" cy="519113"/>
          </a:xfrm>
          <a:custGeom>
            <a:avLst/>
            <a:gdLst/>
            <a:ahLst/>
            <a:cxnLst>
              <a:cxn ang="0">
                <a:pos x="396" y="240"/>
              </a:cxn>
              <a:cxn ang="0">
                <a:pos x="390" y="131"/>
              </a:cxn>
              <a:cxn ang="0">
                <a:pos x="425" y="72"/>
              </a:cxn>
              <a:cxn ang="0">
                <a:pos x="424" y="61"/>
              </a:cxn>
              <a:cxn ang="0">
                <a:pos x="375" y="1"/>
              </a:cxn>
              <a:cxn ang="0">
                <a:pos x="36" y="92"/>
              </a:cxn>
              <a:cxn ang="0">
                <a:pos x="0" y="151"/>
              </a:cxn>
              <a:cxn ang="0">
                <a:pos x="39" y="217"/>
              </a:cxn>
              <a:cxn ang="0">
                <a:pos x="203" y="288"/>
              </a:cxn>
              <a:cxn ang="0">
                <a:pos x="26" y="343"/>
              </a:cxn>
              <a:cxn ang="0">
                <a:pos x="36" y="452"/>
              </a:cxn>
              <a:cxn ang="0">
                <a:pos x="64" y="460"/>
              </a:cxn>
              <a:cxn ang="0">
                <a:pos x="70" y="458"/>
              </a:cxn>
              <a:cxn ang="0">
                <a:pos x="402" y="368"/>
              </a:cxn>
              <a:cxn ang="0">
                <a:pos x="436" y="300"/>
              </a:cxn>
              <a:cxn ang="0">
                <a:pos x="52" y="356"/>
              </a:cxn>
              <a:cxn ang="0">
                <a:pos x="57" y="358"/>
              </a:cxn>
              <a:cxn ang="0">
                <a:pos x="72" y="393"/>
              </a:cxn>
              <a:cxn ang="0">
                <a:pos x="72" y="397"/>
              </a:cxn>
              <a:cxn ang="0">
                <a:pos x="72" y="400"/>
              </a:cxn>
              <a:cxn ang="0">
                <a:pos x="72" y="403"/>
              </a:cxn>
              <a:cxn ang="0">
                <a:pos x="72" y="406"/>
              </a:cxn>
              <a:cxn ang="0">
                <a:pos x="72" y="409"/>
              </a:cxn>
              <a:cxn ang="0">
                <a:pos x="72" y="412"/>
              </a:cxn>
              <a:cxn ang="0">
                <a:pos x="71" y="414"/>
              </a:cxn>
              <a:cxn ang="0">
                <a:pos x="71" y="417"/>
              </a:cxn>
              <a:cxn ang="0">
                <a:pos x="70" y="419"/>
              </a:cxn>
              <a:cxn ang="0">
                <a:pos x="68" y="423"/>
              </a:cxn>
              <a:cxn ang="0">
                <a:pos x="68" y="425"/>
              </a:cxn>
              <a:cxn ang="0">
                <a:pos x="67" y="426"/>
              </a:cxn>
              <a:cxn ang="0">
                <a:pos x="66" y="428"/>
              </a:cxn>
              <a:cxn ang="0">
                <a:pos x="65" y="429"/>
              </a:cxn>
              <a:cxn ang="0">
                <a:pos x="61" y="433"/>
              </a:cxn>
              <a:cxn ang="0">
                <a:pos x="53" y="431"/>
              </a:cxn>
              <a:cxn ang="0">
                <a:pos x="46" y="360"/>
              </a:cxn>
              <a:cxn ang="0">
                <a:pos x="96" y="423"/>
              </a:cxn>
              <a:cxn ang="0">
                <a:pos x="99" y="406"/>
              </a:cxn>
              <a:cxn ang="0">
                <a:pos x="99" y="400"/>
              </a:cxn>
              <a:cxn ang="0">
                <a:pos x="98" y="387"/>
              </a:cxn>
              <a:cxn ang="0">
                <a:pos x="98" y="383"/>
              </a:cxn>
              <a:cxn ang="0">
                <a:pos x="97" y="378"/>
              </a:cxn>
              <a:cxn ang="0">
                <a:pos x="96" y="375"/>
              </a:cxn>
              <a:cxn ang="0">
                <a:pos x="95" y="371"/>
              </a:cxn>
              <a:cxn ang="0">
                <a:pos x="93" y="367"/>
              </a:cxn>
              <a:cxn ang="0">
                <a:pos x="92" y="364"/>
              </a:cxn>
              <a:cxn ang="0">
                <a:pos x="91" y="361"/>
              </a:cxn>
              <a:cxn ang="0">
                <a:pos x="89" y="357"/>
              </a:cxn>
              <a:cxn ang="0">
                <a:pos x="87" y="354"/>
              </a:cxn>
              <a:cxn ang="0">
                <a:pos x="86" y="351"/>
              </a:cxn>
              <a:cxn ang="0">
                <a:pos x="84" y="348"/>
              </a:cxn>
              <a:cxn ang="0">
                <a:pos x="247" y="303"/>
              </a:cxn>
              <a:cxn ang="0">
                <a:pos x="257" y="291"/>
              </a:cxn>
              <a:cxn ang="0">
                <a:pos x="50" y="193"/>
              </a:cxn>
              <a:cxn ang="0">
                <a:pos x="27" y="151"/>
              </a:cxn>
              <a:cxn ang="0">
                <a:pos x="378" y="27"/>
              </a:cxn>
              <a:cxn ang="0">
                <a:pos x="398" y="64"/>
              </a:cxn>
              <a:cxn ang="0">
                <a:pos x="399" y="73"/>
              </a:cxn>
              <a:cxn ang="0">
                <a:pos x="208" y="158"/>
              </a:cxn>
              <a:cxn ang="0">
                <a:pos x="127" y="138"/>
              </a:cxn>
              <a:cxn ang="0">
                <a:pos x="134" y="155"/>
              </a:cxn>
              <a:cxn ang="0">
                <a:pos x="386" y="265"/>
              </a:cxn>
              <a:cxn ang="0">
                <a:pos x="410" y="310"/>
              </a:cxn>
            </a:cxnLst>
            <a:rect l="0" t="0" r="r" b="b"/>
            <a:pathLst>
              <a:path w="436" h="461">
                <a:moveTo>
                  <a:pt x="436" y="300"/>
                </a:moveTo>
                <a:cubicBezTo>
                  <a:pt x="433" y="271"/>
                  <a:pt x="426" y="251"/>
                  <a:pt x="396" y="240"/>
                </a:cubicBezTo>
                <a:cubicBezTo>
                  <a:pt x="393" y="238"/>
                  <a:pt x="316" y="205"/>
                  <a:pt x="246" y="175"/>
                </a:cubicBezTo>
                <a:cubicBezTo>
                  <a:pt x="288" y="162"/>
                  <a:pt x="390" y="131"/>
                  <a:pt x="390" y="131"/>
                </a:cubicBezTo>
                <a:cubicBezTo>
                  <a:pt x="391" y="131"/>
                  <a:pt x="391" y="130"/>
                  <a:pt x="391" y="130"/>
                </a:cubicBezTo>
                <a:cubicBezTo>
                  <a:pt x="418" y="119"/>
                  <a:pt x="425" y="92"/>
                  <a:pt x="425" y="72"/>
                </a:cubicBezTo>
                <a:cubicBezTo>
                  <a:pt x="425" y="68"/>
                  <a:pt x="425" y="65"/>
                  <a:pt x="425" y="61"/>
                </a:cubicBezTo>
                <a:cubicBezTo>
                  <a:pt x="424" y="61"/>
                  <a:pt x="424" y="61"/>
                  <a:pt x="424" y="61"/>
                </a:cubicBezTo>
                <a:cubicBezTo>
                  <a:pt x="422" y="39"/>
                  <a:pt x="413" y="20"/>
                  <a:pt x="400" y="9"/>
                </a:cubicBezTo>
                <a:cubicBezTo>
                  <a:pt x="393" y="3"/>
                  <a:pt x="384" y="0"/>
                  <a:pt x="375" y="1"/>
                </a:cubicBezTo>
                <a:cubicBezTo>
                  <a:pt x="374" y="1"/>
                  <a:pt x="374" y="1"/>
                  <a:pt x="373" y="1"/>
                </a:cubicBezTo>
                <a:cubicBezTo>
                  <a:pt x="36" y="92"/>
                  <a:pt x="36" y="92"/>
                  <a:pt x="36" y="92"/>
                </a:cubicBezTo>
                <a:cubicBezTo>
                  <a:pt x="35" y="92"/>
                  <a:pt x="35" y="92"/>
                  <a:pt x="35" y="92"/>
                </a:cubicBezTo>
                <a:cubicBezTo>
                  <a:pt x="13" y="99"/>
                  <a:pt x="0" y="122"/>
                  <a:pt x="0" y="151"/>
                </a:cubicBezTo>
                <a:cubicBezTo>
                  <a:pt x="0" y="154"/>
                  <a:pt x="0" y="158"/>
                  <a:pt x="1" y="161"/>
                </a:cubicBezTo>
                <a:cubicBezTo>
                  <a:pt x="4" y="196"/>
                  <a:pt x="20" y="207"/>
                  <a:pt x="39" y="217"/>
                </a:cubicBezTo>
                <a:cubicBezTo>
                  <a:pt x="39" y="217"/>
                  <a:pt x="39" y="217"/>
                  <a:pt x="39" y="217"/>
                </a:cubicBezTo>
                <a:cubicBezTo>
                  <a:pt x="39" y="217"/>
                  <a:pt x="155" y="267"/>
                  <a:pt x="203" y="288"/>
                </a:cubicBezTo>
                <a:cubicBezTo>
                  <a:pt x="157" y="300"/>
                  <a:pt x="58" y="327"/>
                  <a:pt x="48" y="330"/>
                </a:cubicBezTo>
                <a:cubicBezTo>
                  <a:pt x="39" y="331"/>
                  <a:pt x="32" y="335"/>
                  <a:pt x="26" y="343"/>
                </a:cubicBezTo>
                <a:cubicBezTo>
                  <a:pt x="15" y="356"/>
                  <a:pt x="10" y="377"/>
                  <a:pt x="12" y="399"/>
                </a:cubicBezTo>
                <a:cubicBezTo>
                  <a:pt x="14" y="421"/>
                  <a:pt x="23" y="441"/>
                  <a:pt x="36" y="452"/>
                </a:cubicBezTo>
                <a:cubicBezTo>
                  <a:pt x="44" y="458"/>
                  <a:pt x="53" y="461"/>
                  <a:pt x="62" y="460"/>
                </a:cubicBezTo>
                <a:cubicBezTo>
                  <a:pt x="62" y="460"/>
                  <a:pt x="63" y="460"/>
                  <a:pt x="64" y="460"/>
                </a:cubicBezTo>
                <a:cubicBezTo>
                  <a:pt x="64" y="460"/>
                  <a:pt x="64" y="460"/>
                  <a:pt x="64" y="460"/>
                </a:cubicBezTo>
                <a:cubicBezTo>
                  <a:pt x="66" y="459"/>
                  <a:pt x="68" y="459"/>
                  <a:pt x="70" y="458"/>
                </a:cubicBezTo>
                <a:cubicBezTo>
                  <a:pt x="86" y="454"/>
                  <a:pt x="401" y="369"/>
                  <a:pt x="401" y="369"/>
                </a:cubicBezTo>
                <a:cubicBezTo>
                  <a:pt x="401" y="369"/>
                  <a:pt x="402" y="369"/>
                  <a:pt x="402" y="368"/>
                </a:cubicBezTo>
                <a:cubicBezTo>
                  <a:pt x="424" y="361"/>
                  <a:pt x="436" y="339"/>
                  <a:pt x="436" y="310"/>
                </a:cubicBezTo>
                <a:cubicBezTo>
                  <a:pt x="436" y="307"/>
                  <a:pt x="436" y="303"/>
                  <a:pt x="436" y="300"/>
                </a:cubicBezTo>
                <a:close/>
                <a:moveTo>
                  <a:pt x="46" y="360"/>
                </a:moveTo>
                <a:cubicBezTo>
                  <a:pt x="48" y="358"/>
                  <a:pt x="50" y="356"/>
                  <a:pt x="52" y="356"/>
                </a:cubicBezTo>
                <a:cubicBezTo>
                  <a:pt x="53" y="356"/>
                  <a:pt x="55" y="357"/>
                  <a:pt x="57" y="358"/>
                </a:cubicBezTo>
                <a:cubicBezTo>
                  <a:pt x="57" y="358"/>
                  <a:pt x="57" y="358"/>
                  <a:pt x="57" y="358"/>
                </a:cubicBezTo>
                <a:cubicBezTo>
                  <a:pt x="63" y="363"/>
                  <a:pt x="70" y="375"/>
                  <a:pt x="72" y="393"/>
                </a:cubicBezTo>
                <a:cubicBezTo>
                  <a:pt x="72" y="393"/>
                  <a:pt x="72" y="393"/>
                  <a:pt x="72" y="393"/>
                </a:cubicBezTo>
                <a:cubicBezTo>
                  <a:pt x="72" y="393"/>
                  <a:pt x="72" y="393"/>
                  <a:pt x="72" y="393"/>
                </a:cubicBezTo>
                <a:cubicBezTo>
                  <a:pt x="72" y="394"/>
                  <a:pt x="72" y="396"/>
                  <a:pt x="72" y="397"/>
                </a:cubicBezTo>
                <a:cubicBezTo>
                  <a:pt x="72" y="397"/>
                  <a:pt x="72" y="398"/>
                  <a:pt x="72" y="398"/>
                </a:cubicBezTo>
                <a:cubicBezTo>
                  <a:pt x="72" y="399"/>
                  <a:pt x="72" y="399"/>
                  <a:pt x="72" y="400"/>
                </a:cubicBezTo>
                <a:cubicBezTo>
                  <a:pt x="72" y="401"/>
                  <a:pt x="72" y="401"/>
                  <a:pt x="72" y="402"/>
                </a:cubicBezTo>
                <a:cubicBezTo>
                  <a:pt x="72" y="402"/>
                  <a:pt x="72" y="403"/>
                  <a:pt x="72" y="403"/>
                </a:cubicBezTo>
                <a:cubicBezTo>
                  <a:pt x="72" y="404"/>
                  <a:pt x="72" y="405"/>
                  <a:pt x="72" y="406"/>
                </a:cubicBezTo>
                <a:cubicBezTo>
                  <a:pt x="72" y="406"/>
                  <a:pt x="72" y="406"/>
                  <a:pt x="72" y="406"/>
                </a:cubicBezTo>
                <a:cubicBezTo>
                  <a:pt x="72" y="407"/>
                  <a:pt x="72" y="408"/>
                  <a:pt x="72" y="408"/>
                </a:cubicBezTo>
                <a:cubicBezTo>
                  <a:pt x="72" y="409"/>
                  <a:pt x="72" y="409"/>
                  <a:pt x="72" y="409"/>
                </a:cubicBezTo>
                <a:cubicBezTo>
                  <a:pt x="72" y="410"/>
                  <a:pt x="72" y="410"/>
                  <a:pt x="72" y="411"/>
                </a:cubicBezTo>
                <a:cubicBezTo>
                  <a:pt x="72" y="411"/>
                  <a:pt x="72" y="412"/>
                  <a:pt x="72" y="412"/>
                </a:cubicBezTo>
                <a:cubicBezTo>
                  <a:pt x="71" y="412"/>
                  <a:pt x="71" y="413"/>
                  <a:pt x="71" y="413"/>
                </a:cubicBezTo>
                <a:cubicBezTo>
                  <a:pt x="71" y="414"/>
                  <a:pt x="71" y="414"/>
                  <a:pt x="71" y="414"/>
                </a:cubicBezTo>
                <a:cubicBezTo>
                  <a:pt x="71" y="415"/>
                  <a:pt x="71" y="415"/>
                  <a:pt x="71" y="416"/>
                </a:cubicBezTo>
                <a:cubicBezTo>
                  <a:pt x="71" y="416"/>
                  <a:pt x="71" y="416"/>
                  <a:pt x="71" y="417"/>
                </a:cubicBezTo>
                <a:cubicBezTo>
                  <a:pt x="70" y="417"/>
                  <a:pt x="70" y="418"/>
                  <a:pt x="70" y="418"/>
                </a:cubicBezTo>
                <a:cubicBezTo>
                  <a:pt x="70" y="418"/>
                  <a:pt x="70" y="418"/>
                  <a:pt x="70" y="419"/>
                </a:cubicBezTo>
                <a:cubicBezTo>
                  <a:pt x="70" y="420"/>
                  <a:pt x="69" y="421"/>
                  <a:pt x="69" y="422"/>
                </a:cubicBezTo>
                <a:cubicBezTo>
                  <a:pt x="69" y="423"/>
                  <a:pt x="68" y="423"/>
                  <a:pt x="68" y="423"/>
                </a:cubicBezTo>
                <a:cubicBezTo>
                  <a:pt x="68" y="423"/>
                  <a:pt x="68" y="424"/>
                  <a:pt x="68" y="424"/>
                </a:cubicBezTo>
                <a:cubicBezTo>
                  <a:pt x="68" y="424"/>
                  <a:pt x="68" y="425"/>
                  <a:pt x="68" y="425"/>
                </a:cubicBezTo>
                <a:cubicBezTo>
                  <a:pt x="67" y="425"/>
                  <a:pt x="67" y="425"/>
                  <a:pt x="67" y="426"/>
                </a:cubicBezTo>
                <a:cubicBezTo>
                  <a:pt x="67" y="426"/>
                  <a:pt x="67" y="426"/>
                  <a:pt x="67" y="426"/>
                </a:cubicBezTo>
                <a:cubicBezTo>
                  <a:pt x="67" y="427"/>
                  <a:pt x="66" y="427"/>
                  <a:pt x="66" y="427"/>
                </a:cubicBezTo>
                <a:cubicBezTo>
                  <a:pt x="66" y="427"/>
                  <a:pt x="66" y="428"/>
                  <a:pt x="66" y="428"/>
                </a:cubicBezTo>
                <a:cubicBezTo>
                  <a:pt x="66" y="428"/>
                  <a:pt x="66" y="428"/>
                  <a:pt x="65" y="429"/>
                </a:cubicBezTo>
                <a:cubicBezTo>
                  <a:pt x="65" y="429"/>
                  <a:pt x="65" y="429"/>
                  <a:pt x="65" y="429"/>
                </a:cubicBezTo>
                <a:cubicBezTo>
                  <a:pt x="65" y="429"/>
                  <a:pt x="65" y="430"/>
                  <a:pt x="64" y="430"/>
                </a:cubicBezTo>
                <a:cubicBezTo>
                  <a:pt x="64" y="431"/>
                  <a:pt x="62" y="432"/>
                  <a:pt x="61" y="433"/>
                </a:cubicBezTo>
                <a:cubicBezTo>
                  <a:pt x="61" y="433"/>
                  <a:pt x="60" y="433"/>
                  <a:pt x="58" y="434"/>
                </a:cubicBezTo>
                <a:cubicBezTo>
                  <a:pt x="56" y="433"/>
                  <a:pt x="55" y="432"/>
                  <a:pt x="53" y="431"/>
                </a:cubicBezTo>
                <a:cubicBezTo>
                  <a:pt x="48" y="426"/>
                  <a:pt x="40" y="415"/>
                  <a:pt x="39" y="396"/>
                </a:cubicBezTo>
                <a:cubicBezTo>
                  <a:pt x="37" y="378"/>
                  <a:pt x="42" y="365"/>
                  <a:pt x="46" y="360"/>
                </a:cubicBezTo>
                <a:close/>
                <a:moveTo>
                  <a:pt x="393" y="343"/>
                </a:moveTo>
                <a:cubicBezTo>
                  <a:pt x="392" y="344"/>
                  <a:pt x="158" y="407"/>
                  <a:pt x="96" y="423"/>
                </a:cubicBezTo>
                <a:cubicBezTo>
                  <a:pt x="98" y="418"/>
                  <a:pt x="99" y="412"/>
                  <a:pt x="99" y="407"/>
                </a:cubicBezTo>
                <a:cubicBezTo>
                  <a:pt x="99" y="406"/>
                  <a:pt x="99" y="406"/>
                  <a:pt x="99" y="406"/>
                </a:cubicBezTo>
                <a:cubicBezTo>
                  <a:pt x="99" y="405"/>
                  <a:pt x="99" y="404"/>
                  <a:pt x="99" y="404"/>
                </a:cubicBezTo>
                <a:cubicBezTo>
                  <a:pt x="99" y="403"/>
                  <a:pt x="99" y="402"/>
                  <a:pt x="99" y="400"/>
                </a:cubicBezTo>
                <a:cubicBezTo>
                  <a:pt x="99" y="397"/>
                  <a:pt x="99" y="394"/>
                  <a:pt x="99" y="391"/>
                </a:cubicBezTo>
                <a:cubicBezTo>
                  <a:pt x="99" y="389"/>
                  <a:pt x="98" y="388"/>
                  <a:pt x="98" y="387"/>
                </a:cubicBezTo>
                <a:cubicBezTo>
                  <a:pt x="98" y="386"/>
                  <a:pt x="98" y="386"/>
                  <a:pt x="98" y="386"/>
                </a:cubicBezTo>
                <a:cubicBezTo>
                  <a:pt x="98" y="385"/>
                  <a:pt x="98" y="384"/>
                  <a:pt x="98" y="383"/>
                </a:cubicBezTo>
                <a:cubicBezTo>
                  <a:pt x="98" y="383"/>
                  <a:pt x="97" y="382"/>
                  <a:pt x="97" y="382"/>
                </a:cubicBezTo>
                <a:cubicBezTo>
                  <a:pt x="97" y="381"/>
                  <a:pt x="97" y="380"/>
                  <a:pt x="97" y="378"/>
                </a:cubicBezTo>
                <a:cubicBezTo>
                  <a:pt x="97" y="378"/>
                  <a:pt x="97" y="378"/>
                  <a:pt x="97" y="378"/>
                </a:cubicBezTo>
                <a:cubicBezTo>
                  <a:pt x="96" y="377"/>
                  <a:pt x="96" y="376"/>
                  <a:pt x="96" y="375"/>
                </a:cubicBezTo>
                <a:cubicBezTo>
                  <a:pt x="96" y="375"/>
                  <a:pt x="96" y="374"/>
                  <a:pt x="96" y="374"/>
                </a:cubicBezTo>
                <a:cubicBezTo>
                  <a:pt x="95" y="373"/>
                  <a:pt x="95" y="372"/>
                  <a:pt x="95" y="371"/>
                </a:cubicBezTo>
                <a:cubicBezTo>
                  <a:pt x="95" y="371"/>
                  <a:pt x="95" y="371"/>
                  <a:pt x="95" y="370"/>
                </a:cubicBezTo>
                <a:cubicBezTo>
                  <a:pt x="94" y="369"/>
                  <a:pt x="94" y="368"/>
                  <a:pt x="93" y="367"/>
                </a:cubicBezTo>
                <a:cubicBezTo>
                  <a:pt x="93" y="367"/>
                  <a:pt x="93" y="367"/>
                  <a:pt x="93" y="367"/>
                </a:cubicBezTo>
                <a:cubicBezTo>
                  <a:pt x="93" y="366"/>
                  <a:pt x="93" y="365"/>
                  <a:pt x="92" y="364"/>
                </a:cubicBezTo>
                <a:cubicBezTo>
                  <a:pt x="92" y="363"/>
                  <a:pt x="92" y="363"/>
                  <a:pt x="92" y="363"/>
                </a:cubicBezTo>
                <a:cubicBezTo>
                  <a:pt x="92" y="362"/>
                  <a:pt x="91" y="361"/>
                  <a:pt x="91" y="361"/>
                </a:cubicBezTo>
                <a:cubicBezTo>
                  <a:pt x="91" y="360"/>
                  <a:pt x="91" y="360"/>
                  <a:pt x="90" y="360"/>
                </a:cubicBezTo>
                <a:cubicBezTo>
                  <a:pt x="90" y="359"/>
                  <a:pt x="90" y="358"/>
                  <a:pt x="89" y="357"/>
                </a:cubicBezTo>
                <a:cubicBezTo>
                  <a:pt x="89" y="357"/>
                  <a:pt x="89" y="356"/>
                  <a:pt x="89" y="356"/>
                </a:cubicBezTo>
                <a:cubicBezTo>
                  <a:pt x="88" y="355"/>
                  <a:pt x="88" y="355"/>
                  <a:pt x="87" y="354"/>
                </a:cubicBezTo>
                <a:cubicBezTo>
                  <a:pt x="87" y="353"/>
                  <a:pt x="87" y="353"/>
                  <a:pt x="87" y="353"/>
                </a:cubicBezTo>
                <a:cubicBezTo>
                  <a:pt x="87" y="352"/>
                  <a:pt x="86" y="352"/>
                  <a:pt x="86" y="351"/>
                </a:cubicBezTo>
                <a:cubicBezTo>
                  <a:pt x="86" y="351"/>
                  <a:pt x="85" y="350"/>
                  <a:pt x="85" y="350"/>
                </a:cubicBezTo>
                <a:cubicBezTo>
                  <a:pt x="85" y="349"/>
                  <a:pt x="84" y="349"/>
                  <a:pt x="84" y="348"/>
                </a:cubicBezTo>
                <a:cubicBezTo>
                  <a:pt x="84" y="348"/>
                  <a:pt x="84" y="348"/>
                  <a:pt x="83" y="348"/>
                </a:cubicBezTo>
                <a:cubicBezTo>
                  <a:pt x="126" y="336"/>
                  <a:pt x="247" y="303"/>
                  <a:pt x="247" y="303"/>
                </a:cubicBezTo>
                <a:cubicBezTo>
                  <a:pt x="253" y="302"/>
                  <a:pt x="256" y="297"/>
                  <a:pt x="257" y="292"/>
                </a:cubicBezTo>
                <a:cubicBezTo>
                  <a:pt x="257" y="291"/>
                  <a:pt x="257" y="291"/>
                  <a:pt x="257" y="291"/>
                </a:cubicBezTo>
                <a:cubicBezTo>
                  <a:pt x="257" y="285"/>
                  <a:pt x="254" y="280"/>
                  <a:pt x="249" y="278"/>
                </a:cubicBezTo>
                <a:cubicBezTo>
                  <a:pt x="249" y="278"/>
                  <a:pt x="51" y="193"/>
                  <a:pt x="50" y="193"/>
                </a:cubicBezTo>
                <a:cubicBezTo>
                  <a:pt x="36" y="186"/>
                  <a:pt x="29" y="181"/>
                  <a:pt x="27" y="158"/>
                </a:cubicBezTo>
                <a:cubicBezTo>
                  <a:pt x="27" y="156"/>
                  <a:pt x="27" y="153"/>
                  <a:pt x="27" y="151"/>
                </a:cubicBezTo>
                <a:cubicBezTo>
                  <a:pt x="27" y="134"/>
                  <a:pt x="33" y="121"/>
                  <a:pt x="43" y="117"/>
                </a:cubicBezTo>
                <a:cubicBezTo>
                  <a:pt x="45" y="117"/>
                  <a:pt x="375" y="28"/>
                  <a:pt x="378" y="27"/>
                </a:cubicBezTo>
                <a:cubicBezTo>
                  <a:pt x="380" y="27"/>
                  <a:pt x="382" y="29"/>
                  <a:pt x="383" y="30"/>
                </a:cubicBezTo>
                <a:cubicBezTo>
                  <a:pt x="389" y="34"/>
                  <a:pt x="396" y="46"/>
                  <a:pt x="398" y="64"/>
                </a:cubicBezTo>
                <a:cubicBezTo>
                  <a:pt x="398" y="65"/>
                  <a:pt x="398" y="65"/>
                  <a:pt x="398" y="65"/>
                </a:cubicBezTo>
                <a:cubicBezTo>
                  <a:pt x="398" y="66"/>
                  <a:pt x="399" y="69"/>
                  <a:pt x="399" y="73"/>
                </a:cubicBezTo>
                <a:cubicBezTo>
                  <a:pt x="399" y="83"/>
                  <a:pt x="396" y="99"/>
                  <a:pt x="382" y="105"/>
                </a:cubicBezTo>
                <a:cubicBezTo>
                  <a:pt x="380" y="106"/>
                  <a:pt x="211" y="157"/>
                  <a:pt x="208" y="158"/>
                </a:cubicBezTo>
                <a:cubicBezTo>
                  <a:pt x="184" y="148"/>
                  <a:pt x="145" y="131"/>
                  <a:pt x="145" y="131"/>
                </a:cubicBezTo>
                <a:cubicBezTo>
                  <a:pt x="138" y="128"/>
                  <a:pt x="130" y="131"/>
                  <a:pt x="127" y="138"/>
                </a:cubicBezTo>
                <a:cubicBezTo>
                  <a:pt x="127" y="139"/>
                  <a:pt x="126" y="141"/>
                  <a:pt x="126" y="143"/>
                </a:cubicBezTo>
                <a:cubicBezTo>
                  <a:pt x="126" y="148"/>
                  <a:pt x="129" y="153"/>
                  <a:pt x="134" y="155"/>
                </a:cubicBezTo>
                <a:cubicBezTo>
                  <a:pt x="386" y="264"/>
                  <a:pt x="386" y="264"/>
                  <a:pt x="386" y="264"/>
                </a:cubicBezTo>
                <a:cubicBezTo>
                  <a:pt x="386" y="264"/>
                  <a:pt x="386" y="264"/>
                  <a:pt x="386" y="265"/>
                </a:cubicBezTo>
                <a:cubicBezTo>
                  <a:pt x="401" y="270"/>
                  <a:pt x="407" y="277"/>
                  <a:pt x="409" y="302"/>
                </a:cubicBezTo>
                <a:cubicBezTo>
                  <a:pt x="410" y="305"/>
                  <a:pt x="410" y="307"/>
                  <a:pt x="410" y="310"/>
                </a:cubicBezTo>
                <a:cubicBezTo>
                  <a:pt x="410" y="327"/>
                  <a:pt x="404" y="339"/>
                  <a:pt x="393" y="34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20" name="Freeform 421"/>
          <p:cNvSpPr>
            <a:spLocks noEditPoints="1"/>
          </p:cNvSpPr>
          <p:nvPr userDrawn="1"/>
        </p:nvSpPr>
        <p:spPr bwMode="auto">
          <a:xfrm>
            <a:off x="8796432" y="4405610"/>
            <a:ext cx="365125" cy="511175"/>
          </a:xfrm>
          <a:custGeom>
            <a:avLst/>
            <a:gdLst/>
            <a:ahLst/>
            <a:cxnLst>
              <a:cxn ang="0">
                <a:pos x="163" y="453"/>
              </a:cxn>
              <a:cxn ang="0">
                <a:pos x="97" y="425"/>
              </a:cxn>
              <a:cxn ang="0">
                <a:pos x="0" y="100"/>
              </a:cxn>
              <a:cxn ang="0">
                <a:pos x="4" y="70"/>
              </a:cxn>
              <a:cxn ang="0">
                <a:pos x="14" y="58"/>
              </a:cxn>
              <a:cxn ang="0">
                <a:pos x="62" y="29"/>
              </a:cxn>
              <a:cxn ang="0">
                <a:pos x="163" y="0"/>
              </a:cxn>
              <a:cxn ang="0">
                <a:pos x="311" y="58"/>
              </a:cxn>
              <a:cxn ang="0">
                <a:pos x="318" y="83"/>
              </a:cxn>
              <a:cxn ang="0">
                <a:pos x="295" y="79"/>
              </a:cxn>
              <a:cxn ang="0">
                <a:pos x="251" y="52"/>
              </a:cxn>
              <a:cxn ang="0">
                <a:pos x="85" y="47"/>
              </a:cxn>
              <a:cxn ang="0">
                <a:pos x="28" y="82"/>
              </a:cxn>
              <a:cxn ang="0">
                <a:pos x="27" y="100"/>
              </a:cxn>
              <a:cxn ang="0">
                <a:pos x="115" y="404"/>
              </a:cxn>
              <a:cxn ang="0">
                <a:pos x="162" y="427"/>
              </a:cxn>
              <a:cxn ang="0">
                <a:pos x="183" y="423"/>
              </a:cxn>
              <a:cxn ang="0">
                <a:pos x="287" y="257"/>
              </a:cxn>
              <a:cxn ang="0">
                <a:pos x="258" y="261"/>
              </a:cxn>
              <a:cxn ang="0">
                <a:pos x="146" y="334"/>
              </a:cxn>
              <a:cxn ang="0">
                <a:pos x="69" y="286"/>
              </a:cxn>
              <a:cxn ang="0">
                <a:pos x="58" y="202"/>
              </a:cxn>
              <a:cxn ang="0">
                <a:pos x="162" y="107"/>
              </a:cxn>
              <a:cxn ang="0">
                <a:pos x="229" y="139"/>
              </a:cxn>
              <a:cxn ang="0">
                <a:pos x="237" y="220"/>
              </a:cxn>
              <a:cxn ang="0">
                <a:pos x="215" y="261"/>
              </a:cxn>
              <a:cxn ang="0">
                <a:pos x="195" y="273"/>
              </a:cxn>
              <a:cxn ang="0">
                <a:pos x="179" y="264"/>
              </a:cxn>
              <a:cxn ang="0">
                <a:pos x="167" y="271"/>
              </a:cxn>
              <a:cxn ang="0">
                <a:pos x="115" y="273"/>
              </a:cxn>
              <a:cxn ang="0">
                <a:pos x="93" y="232"/>
              </a:cxn>
              <a:cxn ang="0">
                <a:pos x="118" y="170"/>
              </a:cxn>
              <a:cxn ang="0">
                <a:pos x="160" y="152"/>
              </a:cxn>
              <a:cxn ang="0">
                <a:pos x="199" y="174"/>
              </a:cxn>
              <a:cxn ang="0">
                <a:pos x="205" y="226"/>
              </a:cxn>
              <a:cxn ang="0">
                <a:pos x="218" y="186"/>
              </a:cxn>
              <a:cxn ang="0">
                <a:pos x="178" y="136"/>
              </a:cxn>
              <a:cxn ang="0">
                <a:pos x="112" y="156"/>
              </a:cxn>
              <a:cxn ang="0">
                <a:pos x="82" y="230"/>
              </a:cxn>
              <a:cxn ang="0">
                <a:pos x="117" y="301"/>
              </a:cxn>
              <a:cxn ang="0">
                <a:pos x="211" y="279"/>
              </a:cxn>
              <a:cxn ang="0">
                <a:pos x="249" y="224"/>
              </a:cxn>
              <a:cxn ang="0">
                <a:pos x="298" y="126"/>
              </a:cxn>
              <a:cxn ang="0">
                <a:pos x="302" y="121"/>
              </a:cxn>
              <a:cxn ang="0">
                <a:pos x="311" y="117"/>
              </a:cxn>
              <a:cxn ang="0">
                <a:pos x="311" y="117"/>
              </a:cxn>
              <a:cxn ang="0">
                <a:pos x="311" y="117"/>
              </a:cxn>
              <a:cxn ang="0">
                <a:pos x="320" y="120"/>
              </a:cxn>
              <a:cxn ang="0">
                <a:pos x="322" y="122"/>
              </a:cxn>
              <a:cxn ang="0">
                <a:pos x="322" y="122"/>
              </a:cxn>
              <a:cxn ang="0">
                <a:pos x="324" y="131"/>
              </a:cxn>
              <a:cxn ang="0">
                <a:pos x="228" y="425"/>
              </a:cxn>
              <a:cxn ang="0">
                <a:pos x="163" y="453"/>
              </a:cxn>
              <a:cxn ang="0">
                <a:pos x="172" y="231"/>
              </a:cxn>
              <a:cxn ang="0">
                <a:pos x="180" y="212"/>
              </a:cxn>
              <a:cxn ang="0">
                <a:pos x="176" y="188"/>
              </a:cxn>
              <a:cxn ang="0">
                <a:pos x="160" y="179"/>
              </a:cxn>
              <a:cxn ang="0">
                <a:pos x="137" y="188"/>
              </a:cxn>
              <a:cxn ang="0">
                <a:pos x="120" y="232"/>
              </a:cxn>
              <a:cxn ang="0">
                <a:pos x="128" y="249"/>
              </a:cxn>
              <a:cxn ang="0">
                <a:pos x="154" y="248"/>
              </a:cxn>
            </a:cxnLst>
            <a:rect l="0" t="0" r="r" b="b"/>
            <a:pathLst>
              <a:path w="324" h="453">
                <a:moveTo>
                  <a:pt x="163" y="453"/>
                </a:moveTo>
                <a:cubicBezTo>
                  <a:pt x="163" y="453"/>
                  <a:pt x="163" y="453"/>
                  <a:pt x="163" y="453"/>
                </a:cubicBezTo>
                <a:cubicBezTo>
                  <a:pt x="163" y="453"/>
                  <a:pt x="163" y="453"/>
                  <a:pt x="163" y="453"/>
                </a:cubicBezTo>
                <a:cubicBezTo>
                  <a:pt x="163" y="453"/>
                  <a:pt x="163" y="453"/>
                  <a:pt x="163" y="453"/>
                </a:cubicBezTo>
                <a:cubicBezTo>
                  <a:pt x="163" y="453"/>
                  <a:pt x="163" y="453"/>
                  <a:pt x="163" y="453"/>
                </a:cubicBezTo>
                <a:cubicBezTo>
                  <a:pt x="154" y="453"/>
                  <a:pt x="144" y="452"/>
                  <a:pt x="133" y="448"/>
                </a:cubicBezTo>
                <a:cubicBezTo>
                  <a:pt x="133" y="448"/>
                  <a:pt x="133" y="448"/>
                  <a:pt x="133" y="448"/>
                </a:cubicBezTo>
                <a:cubicBezTo>
                  <a:pt x="122" y="443"/>
                  <a:pt x="110" y="436"/>
                  <a:pt x="97" y="425"/>
                </a:cubicBezTo>
                <a:cubicBezTo>
                  <a:pt x="97" y="425"/>
                  <a:pt x="97" y="425"/>
                  <a:pt x="97" y="425"/>
                </a:cubicBezTo>
                <a:cubicBezTo>
                  <a:pt x="66" y="398"/>
                  <a:pt x="25" y="347"/>
                  <a:pt x="13" y="261"/>
                </a:cubicBezTo>
                <a:cubicBezTo>
                  <a:pt x="13" y="261"/>
                  <a:pt x="13" y="261"/>
                  <a:pt x="13" y="261"/>
                </a:cubicBezTo>
                <a:cubicBezTo>
                  <a:pt x="8" y="228"/>
                  <a:pt x="0" y="145"/>
                  <a:pt x="0" y="100"/>
                </a:cubicBezTo>
                <a:cubicBezTo>
                  <a:pt x="0" y="100"/>
                  <a:pt x="0" y="100"/>
                  <a:pt x="0" y="100"/>
                </a:cubicBezTo>
                <a:cubicBezTo>
                  <a:pt x="0" y="90"/>
                  <a:pt x="1" y="83"/>
                  <a:pt x="2" y="76"/>
                </a:cubicBezTo>
                <a:cubicBezTo>
                  <a:pt x="2" y="76"/>
                  <a:pt x="2" y="76"/>
                  <a:pt x="2" y="76"/>
                </a:cubicBezTo>
                <a:cubicBezTo>
                  <a:pt x="2" y="74"/>
                  <a:pt x="3" y="72"/>
                  <a:pt x="4" y="70"/>
                </a:cubicBezTo>
                <a:cubicBezTo>
                  <a:pt x="4" y="70"/>
                  <a:pt x="4" y="70"/>
                  <a:pt x="4" y="70"/>
                </a:cubicBezTo>
                <a:cubicBezTo>
                  <a:pt x="4" y="68"/>
                  <a:pt x="5" y="66"/>
                  <a:pt x="7" y="64"/>
                </a:cubicBezTo>
                <a:cubicBezTo>
                  <a:pt x="7" y="64"/>
                  <a:pt x="7" y="64"/>
                  <a:pt x="7" y="64"/>
                </a:cubicBezTo>
                <a:cubicBezTo>
                  <a:pt x="9" y="62"/>
                  <a:pt x="11" y="61"/>
                  <a:pt x="14" y="58"/>
                </a:cubicBezTo>
                <a:cubicBezTo>
                  <a:pt x="14" y="58"/>
                  <a:pt x="14" y="58"/>
                  <a:pt x="14"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0"/>
                  <a:pt x="163" y="0"/>
                </a:cubicBezTo>
                <a:cubicBezTo>
                  <a:pt x="163" y="0"/>
                  <a:pt x="163" y="0"/>
                  <a:pt x="163" y="0"/>
                </a:cubicBezTo>
                <a:cubicBezTo>
                  <a:pt x="163" y="0"/>
                  <a:pt x="163" y="0"/>
                  <a:pt x="163" y="0"/>
                </a:cubicBezTo>
                <a:cubicBezTo>
                  <a:pt x="194" y="0"/>
                  <a:pt x="226" y="11"/>
                  <a:pt x="252" y="23"/>
                </a:cubicBezTo>
                <a:cubicBezTo>
                  <a:pt x="252" y="23"/>
                  <a:pt x="252" y="23"/>
                  <a:pt x="252" y="23"/>
                </a:cubicBezTo>
                <a:cubicBezTo>
                  <a:pt x="279" y="36"/>
                  <a:pt x="300" y="50"/>
                  <a:pt x="311" y="58"/>
                </a:cubicBezTo>
                <a:cubicBezTo>
                  <a:pt x="311" y="58"/>
                  <a:pt x="311" y="58"/>
                  <a:pt x="311" y="58"/>
                </a:cubicBezTo>
                <a:cubicBezTo>
                  <a:pt x="314" y="61"/>
                  <a:pt x="316" y="62"/>
                  <a:pt x="318" y="64"/>
                </a:cubicBezTo>
                <a:cubicBezTo>
                  <a:pt x="318" y="64"/>
                  <a:pt x="318" y="64"/>
                  <a:pt x="318" y="64"/>
                </a:cubicBezTo>
                <a:cubicBezTo>
                  <a:pt x="324" y="70"/>
                  <a:pt x="324" y="78"/>
                  <a:pt x="318" y="83"/>
                </a:cubicBezTo>
                <a:cubicBezTo>
                  <a:pt x="318" y="83"/>
                  <a:pt x="318" y="83"/>
                  <a:pt x="318" y="83"/>
                </a:cubicBezTo>
                <a:cubicBezTo>
                  <a:pt x="313" y="88"/>
                  <a:pt x="305" y="88"/>
                  <a:pt x="300" y="83"/>
                </a:cubicBezTo>
                <a:cubicBezTo>
                  <a:pt x="300" y="83"/>
                  <a:pt x="300" y="83"/>
                  <a:pt x="300" y="83"/>
                </a:cubicBezTo>
                <a:cubicBezTo>
                  <a:pt x="299" y="83"/>
                  <a:pt x="298" y="81"/>
                  <a:pt x="295" y="79"/>
                </a:cubicBezTo>
                <a:cubicBezTo>
                  <a:pt x="295" y="79"/>
                  <a:pt x="295" y="79"/>
                  <a:pt x="295" y="79"/>
                </a:cubicBezTo>
                <a:cubicBezTo>
                  <a:pt x="292" y="77"/>
                  <a:pt x="289" y="75"/>
                  <a:pt x="284" y="72"/>
                </a:cubicBezTo>
                <a:cubicBezTo>
                  <a:pt x="284" y="72"/>
                  <a:pt x="284" y="72"/>
                  <a:pt x="284" y="72"/>
                </a:cubicBezTo>
                <a:cubicBezTo>
                  <a:pt x="276" y="66"/>
                  <a:pt x="264" y="59"/>
                  <a:pt x="251" y="52"/>
                </a:cubicBezTo>
                <a:cubicBezTo>
                  <a:pt x="251" y="52"/>
                  <a:pt x="251" y="52"/>
                  <a:pt x="251" y="52"/>
                </a:cubicBezTo>
                <a:cubicBezTo>
                  <a:pt x="225" y="39"/>
                  <a:pt x="192" y="27"/>
                  <a:pt x="163" y="27"/>
                </a:cubicBezTo>
                <a:cubicBezTo>
                  <a:pt x="163" y="27"/>
                  <a:pt x="163" y="27"/>
                  <a:pt x="163" y="27"/>
                </a:cubicBezTo>
                <a:cubicBezTo>
                  <a:pt x="163" y="27"/>
                  <a:pt x="163" y="27"/>
                  <a:pt x="163" y="27"/>
                </a:cubicBezTo>
                <a:cubicBezTo>
                  <a:pt x="137" y="27"/>
                  <a:pt x="109" y="36"/>
                  <a:pt x="85" y="47"/>
                </a:cubicBezTo>
                <a:cubicBezTo>
                  <a:pt x="85" y="47"/>
                  <a:pt x="85" y="47"/>
                  <a:pt x="85" y="47"/>
                </a:cubicBezTo>
                <a:cubicBezTo>
                  <a:pt x="60" y="59"/>
                  <a:pt x="40" y="72"/>
                  <a:pt x="31" y="79"/>
                </a:cubicBezTo>
                <a:cubicBezTo>
                  <a:pt x="31" y="79"/>
                  <a:pt x="31" y="79"/>
                  <a:pt x="31" y="79"/>
                </a:cubicBezTo>
                <a:cubicBezTo>
                  <a:pt x="30" y="80"/>
                  <a:pt x="29" y="81"/>
                  <a:pt x="28" y="82"/>
                </a:cubicBezTo>
                <a:cubicBezTo>
                  <a:pt x="28" y="82"/>
                  <a:pt x="28" y="82"/>
                  <a:pt x="28" y="82"/>
                </a:cubicBezTo>
                <a:cubicBezTo>
                  <a:pt x="28" y="82"/>
                  <a:pt x="28" y="83"/>
                  <a:pt x="28" y="84"/>
                </a:cubicBezTo>
                <a:cubicBezTo>
                  <a:pt x="28" y="84"/>
                  <a:pt x="28" y="84"/>
                  <a:pt x="28" y="84"/>
                </a:cubicBezTo>
                <a:cubicBezTo>
                  <a:pt x="27" y="87"/>
                  <a:pt x="27" y="93"/>
                  <a:pt x="27" y="100"/>
                </a:cubicBezTo>
                <a:cubicBezTo>
                  <a:pt x="27" y="100"/>
                  <a:pt x="27" y="100"/>
                  <a:pt x="27" y="100"/>
                </a:cubicBezTo>
                <a:cubicBezTo>
                  <a:pt x="27" y="142"/>
                  <a:pt x="34" y="227"/>
                  <a:pt x="39" y="257"/>
                </a:cubicBezTo>
                <a:cubicBezTo>
                  <a:pt x="39" y="257"/>
                  <a:pt x="39" y="257"/>
                  <a:pt x="39" y="257"/>
                </a:cubicBezTo>
                <a:cubicBezTo>
                  <a:pt x="51" y="337"/>
                  <a:pt x="88" y="381"/>
                  <a:pt x="115" y="404"/>
                </a:cubicBezTo>
                <a:cubicBezTo>
                  <a:pt x="115" y="404"/>
                  <a:pt x="115" y="404"/>
                  <a:pt x="115" y="404"/>
                </a:cubicBezTo>
                <a:cubicBezTo>
                  <a:pt x="126" y="414"/>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5" y="426"/>
                  <a:pt x="183" y="423"/>
                </a:cubicBezTo>
                <a:cubicBezTo>
                  <a:pt x="183" y="423"/>
                  <a:pt x="183" y="423"/>
                  <a:pt x="183" y="423"/>
                </a:cubicBezTo>
                <a:cubicBezTo>
                  <a:pt x="190" y="420"/>
                  <a:pt x="200" y="414"/>
                  <a:pt x="211" y="404"/>
                </a:cubicBezTo>
                <a:cubicBezTo>
                  <a:pt x="211" y="404"/>
                  <a:pt x="211" y="404"/>
                  <a:pt x="211" y="404"/>
                </a:cubicBezTo>
                <a:cubicBezTo>
                  <a:pt x="238" y="381"/>
                  <a:pt x="275" y="337"/>
                  <a:pt x="287" y="257"/>
                </a:cubicBezTo>
                <a:cubicBezTo>
                  <a:pt x="287" y="257"/>
                  <a:pt x="287" y="257"/>
                  <a:pt x="287" y="257"/>
                </a:cubicBezTo>
                <a:cubicBezTo>
                  <a:pt x="288" y="245"/>
                  <a:pt x="291" y="224"/>
                  <a:pt x="293" y="200"/>
                </a:cubicBezTo>
                <a:cubicBezTo>
                  <a:pt x="293" y="200"/>
                  <a:pt x="293" y="200"/>
                  <a:pt x="293" y="200"/>
                </a:cubicBezTo>
                <a:cubicBezTo>
                  <a:pt x="282" y="220"/>
                  <a:pt x="270" y="242"/>
                  <a:pt x="258" y="261"/>
                </a:cubicBezTo>
                <a:cubicBezTo>
                  <a:pt x="258" y="261"/>
                  <a:pt x="258" y="261"/>
                  <a:pt x="258" y="261"/>
                </a:cubicBezTo>
                <a:cubicBezTo>
                  <a:pt x="248" y="276"/>
                  <a:pt x="239" y="289"/>
                  <a:pt x="229" y="298"/>
                </a:cubicBezTo>
                <a:cubicBezTo>
                  <a:pt x="229" y="298"/>
                  <a:pt x="229" y="298"/>
                  <a:pt x="229" y="298"/>
                </a:cubicBezTo>
                <a:cubicBezTo>
                  <a:pt x="205" y="322"/>
                  <a:pt x="174" y="334"/>
                  <a:pt x="146" y="334"/>
                </a:cubicBezTo>
                <a:cubicBezTo>
                  <a:pt x="146" y="334"/>
                  <a:pt x="146" y="334"/>
                  <a:pt x="146" y="334"/>
                </a:cubicBezTo>
                <a:cubicBezTo>
                  <a:pt x="131" y="334"/>
                  <a:pt x="117" y="331"/>
                  <a:pt x="104" y="324"/>
                </a:cubicBezTo>
                <a:cubicBezTo>
                  <a:pt x="104" y="324"/>
                  <a:pt x="104" y="324"/>
                  <a:pt x="104" y="324"/>
                </a:cubicBezTo>
                <a:cubicBezTo>
                  <a:pt x="90" y="316"/>
                  <a:pt x="78" y="303"/>
                  <a:pt x="69" y="286"/>
                </a:cubicBezTo>
                <a:cubicBezTo>
                  <a:pt x="69" y="286"/>
                  <a:pt x="69" y="286"/>
                  <a:pt x="69" y="286"/>
                </a:cubicBezTo>
                <a:cubicBezTo>
                  <a:pt x="60" y="270"/>
                  <a:pt x="55" y="251"/>
                  <a:pt x="55" y="230"/>
                </a:cubicBezTo>
                <a:cubicBezTo>
                  <a:pt x="55" y="230"/>
                  <a:pt x="55" y="230"/>
                  <a:pt x="55" y="230"/>
                </a:cubicBezTo>
                <a:cubicBezTo>
                  <a:pt x="55" y="221"/>
                  <a:pt x="56" y="211"/>
                  <a:pt x="58" y="202"/>
                </a:cubicBezTo>
                <a:cubicBezTo>
                  <a:pt x="58" y="202"/>
                  <a:pt x="58" y="202"/>
                  <a:pt x="58" y="202"/>
                </a:cubicBezTo>
                <a:cubicBezTo>
                  <a:pt x="64" y="178"/>
                  <a:pt x="76" y="155"/>
                  <a:pt x="93" y="138"/>
                </a:cubicBezTo>
                <a:cubicBezTo>
                  <a:pt x="93" y="138"/>
                  <a:pt x="93" y="138"/>
                  <a:pt x="93" y="138"/>
                </a:cubicBezTo>
                <a:cubicBezTo>
                  <a:pt x="111" y="120"/>
                  <a:pt x="134" y="107"/>
                  <a:pt x="162" y="107"/>
                </a:cubicBezTo>
                <a:cubicBezTo>
                  <a:pt x="162" y="107"/>
                  <a:pt x="162" y="107"/>
                  <a:pt x="162" y="107"/>
                </a:cubicBezTo>
                <a:cubicBezTo>
                  <a:pt x="169" y="107"/>
                  <a:pt x="176" y="108"/>
                  <a:pt x="184" y="110"/>
                </a:cubicBezTo>
                <a:cubicBezTo>
                  <a:pt x="184" y="110"/>
                  <a:pt x="184" y="110"/>
                  <a:pt x="184" y="110"/>
                </a:cubicBezTo>
                <a:cubicBezTo>
                  <a:pt x="204" y="114"/>
                  <a:pt x="219" y="125"/>
                  <a:pt x="229" y="139"/>
                </a:cubicBezTo>
                <a:cubicBezTo>
                  <a:pt x="229" y="139"/>
                  <a:pt x="229" y="139"/>
                  <a:pt x="229" y="139"/>
                </a:cubicBezTo>
                <a:cubicBezTo>
                  <a:pt x="240" y="152"/>
                  <a:pt x="245" y="169"/>
                  <a:pt x="245" y="186"/>
                </a:cubicBezTo>
                <a:cubicBezTo>
                  <a:pt x="245" y="186"/>
                  <a:pt x="245" y="186"/>
                  <a:pt x="245" y="186"/>
                </a:cubicBezTo>
                <a:cubicBezTo>
                  <a:pt x="245" y="197"/>
                  <a:pt x="242" y="209"/>
                  <a:pt x="237" y="220"/>
                </a:cubicBezTo>
                <a:cubicBezTo>
                  <a:pt x="237" y="220"/>
                  <a:pt x="237" y="220"/>
                  <a:pt x="237" y="220"/>
                </a:cubicBezTo>
                <a:cubicBezTo>
                  <a:pt x="234" y="227"/>
                  <a:pt x="231" y="235"/>
                  <a:pt x="227" y="242"/>
                </a:cubicBezTo>
                <a:cubicBezTo>
                  <a:pt x="227" y="242"/>
                  <a:pt x="227" y="242"/>
                  <a:pt x="227" y="242"/>
                </a:cubicBezTo>
                <a:cubicBezTo>
                  <a:pt x="223" y="249"/>
                  <a:pt x="219" y="255"/>
                  <a:pt x="215" y="261"/>
                </a:cubicBezTo>
                <a:cubicBezTo>
                  <a:pt x="215" y="261"/>
                  <a:pt x="215" y="261"/>
                  <a:pt x="215" y="261"/>
                </a:cubicBezTo>
                <a:cubicBezTo>
                  <a:pt x="212" y="264"/>
                  <a:pt x="210" y="268"/>
                  <a:pt x="205" y="270"/>
                </a:cubicBezTo>
                <a:cubicBezTo>
                  <a:pt x="205" y="270"/>
                  <a:pt x="205" y="270"/>
                  <a:pt x="205" y="270"/>
                </a:cubicBezTo>
                <a:cubicBezTo>
                  <a:pt x="203" y="272"/>
                  <a:pt x="199" y="273"/>
                  <a:pt x="195" y="273"/>
                </a:cubicBezTo>
                <a:cubicBezTo>
                  <a:pt x="195" y="273"/>
                  <a:pt x="195" y="273"/>
                  <a:pt x="195" y="273"/>
                </a:cubicBezTo>
                <a:cubicBezTo>
                  <a:pt x="191" y="274"/>
                  <a:pt x="188" y="272"/>
                  <a:pt x="185" y="270"/>
                </a:cubicBezTo>
                <a:cubicBezTo>
                  <a:pt x="185" y="270"/>
                  <a:pt x="185" y="270"/>
                  <a:pt x="185" y="270"/>
                </a:cubicBezTo>
                <a:cubicBezTo>
                  <a:pt x="182" y="269"/>
                  <a:pt x="180" y="266"/>
                  <a:pt x="179" y="264"/>
                </a:cubicBezTo>
                <a:cubicBezTo>
                  <a:pt x="179" y="264"/>
                  <a:pt x="179" y="264"/>
                  <a:pt x="179" y="264"/>
                </a:cubicBezTo>
                <a:cubicBezTo>
                  <a:pt x="179" y="264"/>
                  <a:pt x="179" y="264"/>
                  <a:pt x="179" y="263"/>
                </a:cubicBezTo>
                <a:cubicBezTo>
                  <a:pt x="179" y="263"/>
                  <a:pt x="179" y="263"/>
                  <a:pt x="179" y="263"/>
                </a:cubicBezTo>
                <a:cubicBezTo>
                  <a:pt x="175" y="266"/>
                  <a:pt x="172" y="269"/>
                  <a:pt x="167" y="271"/>
                </a:cubicBezTo>
                <a:cubicBezTo>
                  <a:pt x="167" y="271"/>
                  <a:pt x="167" y="271"/>
                  <a:pt x="167" y="271"/>
                </a:cubicBezTo>
                <a:cubicBezTo>
                  <a:pt x="159" y="276"/>
                  <a:pt x="149" y="279"/>
                  <a:pt x="139" y="279"/>
                </a:cubicBezTo>
                <a:cubicBezTo>
                  <a:pt x="139" y="279"/>
                  <a:pt x="139" y="279"/>
                  <a:pt x="139" y="279"/>
                </a:cubicBezTo>
                <a:cubicBezTo>
                  <a:pt x="131" y="279"/>
                  <a:pt x="123" y="277"/>
                  <a:pt x="115" y="273"/>
                </a:cubicBezTo>
                <a:cubicBezTo>
                  <a:pt x="115" y="273"/>
                  <a:pt x="115" y="273"/>
                  <a:pt x="115" y="273"/>
                </a:cubicBezTo>
                <a:cubicBezTo>
                  <a:pt x="107" y="269"/>
                  <a:pt x="100" y="262"/>
                  <a:pt x="97" y="253"/>
                </a:cubicBezTo>
                <a:cubicBezTo>
                  <a:pt x="97" y="253"/>
                  <a:pt x="97" y="253"/>
                  <a:pt x="97" y="253"/>
                </a:cubicBezTo>
                <a:cubicBezTo>
                  <a:pt x="94" y="246"/>
                  <a:pt x="93" y="239"/>
                  <a:pt x="93" y="232"/>
                </a:cubicBezTo>
                <a:cubicBezTo>
                  <a:pt x="93" y="232"/>
                  <a:pt x="93" y="232"/>
                  <a:pt x="93" y="232"/>
                </a:cubicBezTo>
                <a:cubicBezTo>
                  <a:pt x="93" y="219"/>
                  <a:pt x="96" y="207"/>
                  <a:pt x="101" y="196"/>
                </a:cubicBezTo>
                <a:cubicBezTo>
                  <a:pt x="101" y="196"/>
                  <a:pt x="101" y="196"/>
                  <a:pt x="101" y="196"/>
                </a:cubicBezTo>
                <a:cubicBezTo>
                  <a:pt x="106" y="186"/>
                  <a:pt x="111" y="176"/>
                  <a:pt x="118" y="170"/>
                </a:cubicBezTo>
                <a:cubicBezTo>
                  <a:pt x="118" y="170"/>
                  <a:pt x="118" y="170"/>
                  <a:pt x="118" y="170"/>
                </a:cubicBezTo>
                <a:cubicBezTo>
                  <a:pt x="123" y="165"/>
                  <a:pt x="129" y="161"/>
                  <a:pt x="136" y="157"/>
                </a:cubicBezTo>
                <a:cubicBezTo>
                  <a:pt x="136" y="157"/>
                  <a:pt x="136" y="157"/>
                  <a:pt x="136" y="157"/>
                </a:cubicBezTo>
                <a:cubicBezTo>
                  <a:pt x="143" y="154"/>
                  <a:pt x="151" y="152"/>
                  <a:pt x="160" y="152"/>
                </a:cubicBezTo>
                <a:cubicBezTo>
                  <a:pt x="160" y="152"/>
                  <a:pt x="160" y="152"/>
                  <a:pt x="160" y="152"/>
                </a:cubicBezTo>
                <a:cubicBezTo>
                  <a:pt x="167" y="152"/>
                  <a:pt x="174" y="154"/>
                  <a:pt x="181" y="157"/>
                </a:cubicBezTo>
                <a:cubicBezTo>
                  <a:pt x="181" y="157"/>
                  <a:pt x="181" y="157"/>
                  <a:pt x="181" y="157"/>
                </a:cubicBezTo>
                <a:cubicBezTo>
                  <a:pt x="188" y="161"/>
                  <a:pt x="194" y="166"/>
                  <a:pt x="199" y="174"/>
                </a:cubicBezTo>
                <a:cubicBezTo>
                  <a:pt x="199" y="174"/>
                  <a:pt x="199" y="174"/>
                  <a:pt x="199" y="174"/>
                </a:cubicBezTo>
                <a:cubicBezTo>
                  <a:pt x="205" y="184"/>
                  <a:pt x="207" y="195"/>
                  <a:pt x="207" y="205"/>
                </a:cubicBezTo>
                <a:cubicBezTo>
                  <a:pt x="207" y="205"/>
                  <a:pt x="207" y="205"/>
                  <a:pt x="207" y="205"/>
                </a:cubicBezTo>
                <a:cubicBezTo>
                  <a:pt x="207" y="212"/>
                  <a:pt x="206" y="219"/>
                  <a:pt x="205" y="226"/>
                </a:cubicBezTo>
                <a:cubicBezTo>
                  <a:pt x="205" y="226"/>
                  <a:pt x="205" y="226"/>
                  <a:pt x="205" y="226"/>
                </a:cubicBezTo>
                <a:cubicBezTo>
                  <a:pt x="208" y="220"/>
                  <a:pt x="210" y="215"/>
                  <a:pt x="213" y="209"/>
                </a:cubicBezTo>
                <a:cubicBezTo>
                  <a:pt x="213" y="209"/>
                  <a:pt x="213" y="209"/>
                  <a:pt x="213" y="209"/>
                </a:cubicBezTo>
                <a:cubicBezTo>
                  <a:pt x="216" y="201"/>
                  <a:pt x="218" y="193"/>
                  <a:pt x="218" y="186"/>
                </a:cubicBezTo>
                <a:cubicBezTo>
                  <a:pt x="218" y="186"/>
                  <a:pt x="218" y="186"/>
                  <a:pt x="218" y="186"/>
                </a:cubicBezTo>
                <a:cubicBezTo>
                  <a:pt x="218" y="174"/>
                  <a:pt x="215" y="163"/>
                  <a:pt x="208" y="155"/>
                </a:cubicBezTo>
                <a:cubicBezTo>
                  <a:pt x="208" y="155"/>
                  <a:pt x="208" y="155"/>
                  <a:pt x="208" y="155"/>
                </a:cubicBezTo>
                <a:cubicBezTo>
                  <a:pt x="201" y="146"/>
                  <a:pt x="192" y="139"/>
                  <a:pt x="178" y="136"/>
                </a:cubicBezTo>
                <a:cubicBezTo>
                  <a:pt x="178" y="136"/>
                  <a:pt x="178" y="136"/>
                  <a:pt x="178" y="136"/>
                </a:cubicBezTo>
                <a:cubicBezTo>
                  <a:pt x="172" y="135"/>
                  <a:pt x="167" y="134"/>
                  <a:pt x="162" y="134"/>
                </a:cubicBezTo>
                <a:cubicBezTo>
                  <a:pt x="162" y="134"/>
                  <a:pt x="162" y="134"/>
                  <a:pt x="162" y="134"/>
                </a:cubicBezTo>
                <a:cubicBezTo>
                  <a:pt x="143" y="134"/>
                  <a:pt x="126" y="143"/>
                  <a:pt x="112" y="156"/>
                </a:cubicBezTo>
                <a:cubicBezTo>
                  <a:pt x="112" y="156"/>
                  <a:pt x="112" y="156"/>
                  <a:pt x="112" y="156"/>
                </a:cubicBezTo>
                <a:cubicBezTo>
                  <a:pt x="99" y="170"/>
                  <a:pt x="89" y="189"/>
                  <a:pt x="84" y="208"/>
                </a:cubicBezTo>
                <a:cubicBezTo>
                  <a:pt x="84" y="208"/>
                  <a:pt x="84" y="208"/>
                  <a:pt x="84" y="208"/>
                </a:cubicBezTo>
                <a:cubicBezTo>
                  <a:pt x="83" y="215"/>
                  <a:pt x="82" y="223"/>
                  <a:pt x="82" y="230"/>
                </a:cubicBezTo>
                <a:cubicBezTo>
                  <a:pt x="82" y="230"/>
                  <a:pt x="82" y="230"/>
                  <a:pt x="82" y="230"/>
                </a:cubicBezTo>
                <a:cubicBezTo>
                  <a:pt x="82" y="246"/>
                  <a:pt x="86" y="262"/>
                  <a:pt x="92" y="274"/>
                </a:cubicBezTo>
                <a:cubicBezTo>
                  <a:pt x="92" y="274"/>
                  <a:pt x="92" y="274"/>
                  <a:pt x="92" y="274"/>
                </a:cubicBezTo>
                <a:cubicBezTo>
                  <a:pt x="99" y="286"/>
                  <a:pt x="108" y="296"/>
                  <a:pt x="117" y="301"/>
                </a:cubicBezTo>
                <a:cubicBezTo>
                  <a:pt x="117" y="301"/>
                  <a:pt x="117" y="301"/>
                  <a:pt x="117" y="301"/>
                </a:cubicBezTo>
                <a:cubicBezTo>
                  <a:pt x="125" y="305"/>
                  <a:pt x="135" y="308"/>
                  <a:pt x="146" y="308"/>
                </a:cubicBezTo>
                <a:cubicBezTo>
                  <a:pt x="146" y="308"/>
                  <a:pt x="146" y="308"/>
                  <a:pt x="146" y="308"/>
                </a:cubicBezTo>
                <a:cubicBezTo>
                  <a:pt x="167" y="308"/>
                  <a:pt x="191" y="299"/>
                  <a:pt x="211" y="279"/>
                </a:cubicBezTo>
                <a:cubicBezTo>
                  <a:pt x="211" y="279"/>
                  <a:pt x="211" y="279"/>
                  <a:pt x="211" y="279"/>
                </a:cubicBezTo>
                <a:cubicBezTo>
                  <a:pt x="216" y="274"/>
                  <a:pt x="222" y="266"/>
                  <a:pt x="229" y="256"/>
                </a:cubicBezTo>
                <a:cubicBezTo>
                  <a:pt x="229" y="256"/>
                  <a:pt x="229" y="256"/>
                  <a:pt x="229" y="256"/>
                </a:cubicBezTo>
                <a:cubicBezTo>
                  <a:pt x="235" y="247"/>
                  <a:pt x="242" y="235"/>
                  <a:pt x="249" y="224"/>
                </a:cubicBezTo>
                <a:cubicBezTo>
                  <a:pt x="249" y="224"/>
                  <a:pt x="249" y="224"/>
                  <a:pt x="249" y="224"/>
                </a:cubicBezTo>
                <a:cubicBezTo>
                  <a:pt x="263" y="200"/>
                  <a:pt x="276" y="174"/>
                  <a:pt x="286" y="154"/>
                </a:cubicBezTo>
                <a:cubicBezTo>
                  <a:pt x="286" y="154"/>
                  <a:pt x="286" y="154"/>
                  <a:pt x="286" y="154"/>
                </a:cubicBezTo>
                <a:cubicBezTo>
                  <a:pt x="292" y="141"/>
                  <a:pt x="297" y="130"/>
                  <a:pt x="298" y="126"/>
                </a:cubicBezTo>
                <a:cubicBezTo>
                  <a:pt x="298" y="126"/>
                  <a:pt x="298" y="126"/>
                  <a:pt x="298" y="126"/>
                </a:cubicBezTo>
                <a:cubicBezTo>
                  <a:pt x="298" y="126"/>
                  <a:pt x="298" y="126"/>
                  <a:pt x="298" y="126"/>
                </a:cubicBezTo>
                <a:cubicBezTo>
                  <a:pt x="299" y="124"/>
                  <a:pt x="300" y="122"/>
                  <a:pt x="302" y="121"/>
                </a:cubicBezTo>
                <a:cubicBezTo>
                  <a:pt x="302" y="121"/>
                  <a:pt x="302" y="121"/>
                  <a:pt x="302" y="121"/>
                </a:cubicBezTo>
                <a:cubicBezTo>
                  <a:pt x="304" y="118"/>
                  <a:pt x="308"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1" y="117"/>
                  <a:pt x="311" y="117"/>
                  <a:pt x="311" y="117"/>
                </a:cubicBezTo>
                <a:cubicBezTo>
                  <a:pt x="315" y="117"/>
                  <a:pt x="318" y="118"/>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0" y="120"/>
                  <a:pt x="320" y="120"/>
                  <a:pt x="320" y="120"/>
                </a:cubicBezTo>
                <a:cubicBezTo>
                  <a:pt x="321" y="121"/>
                  <a:pt x="321"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2"/>
                  <a:pt x="322" y="122"/>
                </a:cubicBezTo>
                <a:cubicBezTo>
                  <a:pt x="322" y="122"/>
                  <a:pt x="322" y="123"/>
                  <a:pt x="322" y="123"/>
                </a:cubicBezTo>
                <a:cubicBezTo>
                  <a:pt x="322" y="123"/>
                  <a:pt x="322" y="123"/>
                  <a:pt x="322" y="123"/>
                </a:cubicBezTo>
                <a:cubicBezTo>
                  <a:pt x="324" y="125"/>
                  <a:pt x="324" y="128"/>
                  <a:pt x="324" y="131"/>
                </a:cubicBezTo>
                <a:cubicBezTo>
                  <a:pt x="324" y="131"/>
                  <a:pt x="324" y="131"/>
                  <a:pt x="324" y="131"/>
                </a:cubicBezTo>
                <a:cubicBezTo>
                  <a:pt x="322" y="176"/>
                  <a:pt x="317" y="235"/>
                  <a:pt x="313" y="261"/>
                </a:cubicBezTo>
                <a:cubicBezTo>
                  <a:pt x="313" y="261"/>
                  <a:pt x="313" y="261"/>
                  <a:pt x="313" y="261"/>
                </a:cubicBezTo>
                <a:cubicBezTo>
                  <a:pt x="300" y="347"/>
                  <a:pt x="259" y="398"/>
                  <a:pt x="228" y="425"/>
                </a:cubicBezTo>
                <a:cubicBezTo>
                  <a:pt x="228" y="425"/>
                  <a:pt x="228" y="425"/>
                  <a:pt x="228" y="425"/>
                </a:cubicBezTo>
                <a:cubicBezTo>
                  <a:pt x="215" y="436"/>
                  <a:pt x="204" y="443"/>
                  <a:pt x="193" y="448"/>
                </a:cubicBezTo>
                <a:cubicBezTo>
                  <a:pt x="193" y="448"/>
                  <a:pt x="193" y="448"/>
                  <a:pt x="193" y="448"/>
                </a:cubicBezTo>
                <a:cubicBezTo>
                  <a:pt x="182" y="452"/>
                  <a:pt x="172" y="453"/>
                  <a:pt x="163" y="453"/>
                </a:cubicBezTo>
                <a:cubicBezTo>
                  <a:pt x="163" y="453"/>
                  <a:pt x="163" y="453"/>
                  <a:pt x="163" y="453"/>
                </a:cubicBezTo>
                <a:cubicBezTo>
                  <a:pt x="163" y="453"/>
                  <a:pt x="163" y="453"/>
                  <a:pt x="163" y="453"/>
                </a:cubicBezTo>
                <a:close/>
                <a:moveTo>
                  <a:pt x="154" y="248"/>
                </a:moveTo>
                <a:cubicBezTo>
                  <a:pt x="162" y="243"/>
                  <a:pt x="168" y="237"/>
                  <a:pt x="172" y="231"/>
                </a:cubicBezTo>
                <a:cubicBezTo>
                  <a:pt x="172" y="231"/>
                  <a:pt x="172" y="231"/>
                  <a:pt x="172" y="231"/>
                </a:cubicBezTo>
                <a:cubicBezTo>
                  <a:pt x="176" y="225"/>
                  <a:pt x="178" y="220"/>
                  <a:pt x="179" y="216"/>
                </a:cubicBezTo>
                <a:cubicBezTo>
                  <a:pt x="179" y="216"/>
                  <a:pt x="179" y="216"/>
                  <a:pt x="179" y="216"/>
                </a:cubicBezTo>
                <a:cubicBezTo>
                  <a:pt x="180" y="214"/>
                  <a:pt x="180" y="213"/>
                  <a:pt x="180" y="212"/>
                </a:cubicBezTo>
                <a:cubicBezTo>
                  <a:pt x="180" y="212"/>
                  <a:pt x="180" y="212"/>
                  <a:pt x="180" y="212"/>
                </a:cubicBezTo>
                <a:cubicBezTo>
                  <a:pt x="180" y="210"/>
                  <a:pt x="180" y="207"/>
                  <a:pt x="180" y="205"/>
                </a:cubicBezTo>
                <a:cubicBezTo>
                  <a:pt x="180" y="205"/>
                  <a:pt x="180" y="205"/>
                  <a:pt x="180" y="205"/>
                </a:cubicBezTo>
                <a:cubicBezTo>
                  <a:pt x="180" y="198"/>
                  <a:pt x="179" y="193"/>
                  <a:pt x="176" y="188"/>
                </a:cubicBezTo>
                <a:cubicBezTo>
                  <a:pt x="176" y="188"/>
                  <a:pt x="176" y="188"/>
                  <a:pt x="176" y="188"/>
                </a:cubicBezTo>
                <a:cubicBezTo>
                  <a:pt x="174" y="185"/>
                  <a:pt x="171" y="182"/>
                  <a:pt x="169" y="181"/>
                </a:cubicBezTo>
                <a:cubicBezTo>
                  <a:pt x="169" y="181"/>
                  <a:pt x="169" y="181"/>
                  <a:pt x="169" y="181"/>
                </a:cubicBezTo>
                <a:cubicBezTo>
                  <a:pt x="166" y="180"/>
                  <a:pt x="163" y="179"/>
                  <a:pt x="160" y="179"/>
                </a:cubicBezTo>
                <a:cubicBezTo>
                  <a:pt x="160" y="179"/>
                  <a:pt x="160" y="179"/>
                  <a:pt x="160" y="179"/>
                </a:cubicBezTo>
                <a:cubicBezTo>
                  <a:pt x="156" y="179"/>
                  <a:pt x="151" y="180"/>
                  <a:pt x="147" y="182"/>
                </a:cubicBezTo>
                <a:cubicBezTo>
                  <a:pt x="147" y="182"/>
                  <a:pt x="147" y="182"/>
                  <a:pt x="147" y="182"/>
                </a:cubicBezTo>
                <a:cubicBezTo>
                  <a:pt x="143" y="184"/>
                  <a:pt x="139" y="186"/>
                  <a:pt x="137" y="188"/>
                </a:cubicBezTo>
                <a:cubicBezTo>
                  <a:pt x="137" y="188"/>
                  <a:pt x="137" y="188"/>
                  <a:pt x="137" y="188"/>
                </a:cubicBezTo>
                <a:cubicBezTo>
                  <a:pt x="134" y="192"/>
                  <a:pt x="129" y="199"/>
                  <a:pt x="125" y="207"/>
                </a:cubicBezTo>
                <a:cubicBezTo>
                  <a:pt x="125" y="207"/>
                  <a:pt x="125" y="207"/>
                  <a:pt x="125" y="207"/>
                </a:cubicBezTo>
                <a:cubicBezTo>
                  <a:pt x="122" y="215"/>
                  <a:pt x="120" y="224"/>
                  <a:pt x="120" y="232"/>
                </a:cubicBezTo>
                <a:cubicBezTo>
                  <a:pt x="120" y="232"/>
                  <a:pt x="120" y="232"/>
                  <a:pt x="120" y="232"/>
                </a:cubicBezTo>
                <a:cubicBezTo>
                  <a:pt x="120" y="236"/>
                  <a:pt x="120" y="240"/>
                  <a:pt x="122" y="243"/>
                </a:cubicBezTo>
                <a:cubicBezTo>
                  <a:pt x="122" y="243"/>
                  <a:pt x="122" y="243"/>
                  <a:pt x="122" y="243"/>
                </a:cubicBezTo>
                <a:cubicBezTo>
                  <a:pt x="123" y="246"/>
                  <a:pt x="125" y="248"/>
                  <a:pt x="128" y="249"/>
                </a:cubicBezTo>
                <a:cubicBezTo>
                  <a:pt x="128" y="249"/>
                  <a:pt x="128" y="249"/>
                  <a:pt x="128" y="249"/>
                </a:cubicBezTo>
                <a:cubicBezTo>
                  <a:pt x="131" y="251"/>
                  <a:pt x="135" y="252"/>
                  <a:pt x="139" y="252"/>
                </a:cubicBezTo>
                <a:cubicBezTo>
                  <a:pt x="139" y="252"/>
                  <a:pt x="139" y="252"/>
                  <a:pt x="139" y="252"/>
                </a:cubicBezTo>
                <a:cubicBezTo>
                  <a:pt x="145" y="252"/>
                  <a:pt x="150" y="250"/>
                  <a:pt x="154" y="24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21" name="Freeform 533"/>
          <p:cNvSpPr>
            <a:spLocks/>
          </p:cNvSpPr>
          <p:nvPr userDrawn="1"/>
        </p:nvSpPr>
        <p:spPr bwMode="auto">
          <a:xfrm>
            <a:off x="8720227" y="3086209"/>
            <a:ext cx="517527" cy="323851"/>
          </a:xfrm>
          <a:custGeom>
            <a:avLst/>
            <a:gdLst/>
            <a:ahLst/>
            <a:cxnLst>
              <a:cxn ang="0">
                <a:pos x="225" y="0"/>
              </a:cxn>
              <a:cxn ang="0">
                <a:pos x="199" y="31"/>
              </a:cxn>
              <a:cxn ang="0">
                <a:pos x="199" y="39"/>
              </a:cxn>
              <a:cxn ang="0">
                <a:pos x="122" y="39"/>
              </a:cxn>
              <a:cxn ang="0">
                <a:pos x="92" y="70"/>
              </a:cxn>
              <a:cxn ang="0">
                <a:pos x="92" y="70"/>
              </a:cxn>
              <a:cxn ang="0">
                <a:pos x="105" y="84"/>
              </a:cxn>
              <a:cxn ang="0">
                <a:pos x="118" y="70"/>
              </a:cxn>
              <a:cxn ang="0">
                <a:pos x="118" y="70"/>
              </a:cxn>
              <a:cxn ang="0">
                <a:pos x="122" y="66"/>
              </a:cxn>
              <a:cxn ang="0">
                <a:pos x="213" y="66"/>
              </a:cxn>
              <a:cxn ang="0">
                <a:pos x="226" y="53"/>
              </a:cxn>
              <a:cxn ang="0">
                <a:pos x="226" y="31"/>
              </a:cxn>
              <a:cxn ang="0">
                <a:pos x="227" y="26"/>
              </a:cxn>
              <a:cxn ang="0">
                <a:pos x="323" y="26"/>
              </a:cxn>
              <a:cxn ang="0">
                <a:pos x="324" y="31"/>
              </a:cxn>
              <a:cxn ang="0">
                <a:pos x="324" y="53"/>
              </a:cxn>
              <a:cxn ang="0">
                <a:pos x="337" y="66"/>
              </a:cxn>
              <a:cxn ang="0">
                <a:pos x="428" y="66"/>
              </a:cxn>
              <a:cxn ang="0">
                <a:pos x="431" y="70"/>
              </a:cxn>
              <a:cxn ang="0">
                <a:pos x="431" y="257"/>
              </a:cxn>
              <a:cxn ang="0">
                <a:pos x="428" y="261"/>
              </a:cxn>
              <a:cxn ang="0">
                <a:pos x="122" y="261"/>
              </a:cxn>
              <a:cxn ang="0">
                <a:pos x="111" y="251"/>
              </a:cxn>
              <a:cxn ang="0">
                <a:pos x="111" y="250"/>
              </a:cxn>
              <a:cxn ang="0">
                <a:pos x="35" y="125"/>
              </a:cxn>
              <a:cxn ang="0">
                <a:pos x="34" y="124"/>
              </a:cxn>
              <a:cxn ang="0">
                <a:pos x="32" y="120"/>
              </a:cxn>
              <a:cxn ang="0">
                <a:pos x="331" y="120"/>
              </a:cxn>
              <a:cxn ang="0">
                <a:pos x="396" y="236"/>
              </a:cxn>
              <a:cxn ang="0">
                <a:pos x="414" y="241"/>
              </a:cxn>
              <a:cxn ang="0">
                <a:pos x="419" y="222"/>
              </a:cxn>
              <a:cxn ang="0">
                <a:pos x="351" y="100"/>
              </a:cxn>
              <a:cxn ang="0">
                <a:pos x="339" y="94"/>
              </a:cxn>
              <a:cxn ang="0">
                <a:pos x="31" y="94"/>
              </a:cxn>
              <a:cxn ang="0">
                <a:pos x="7" y="106"/>
              </a:cxn>
              <a:cxn ang="0">
                <a:pos x="12" y="139"/>
              </a:cxn>
              <a:cxn ang="0">
                <a:pos x="12" y="139"/>
              </a:cxn>
              <a:cxn ang="0">
                <a:pos x="88" y="264"/>
              </a:cxn>
              <a:cxn ang="0">
                <a:pos x="88" y="264"/>
              </a:cxn>
              <a:cxn ang="0">
                <a:pos x="122" y="288"/>
              </a:cxn>
              <a:cxn ang="0">
                <a:pos x="428" y="288"/>
              </a:cxn>
              <a:cxn ang="0">
                <a:pos x="458" y="257"/>
              </a:cxn>
              <a:cxn ang="0">
                <a:pos x="458" y="70"/>
              </a:cxn>
              <a:cxn ang="0">
                <a:pos x="428" y="39"/>
              </a:cxn>
              <a:cxn ang="0">
                <a:pos x="350" y="39"/>
              </a:cxn>
              <a:cxn ang="0">
                <a:pos x="350" y="31"/>
              </a:cxn>
              <a:cxn ang="0">
                <a:pos x="325" y="0"/>
              </a:cxn>
              <a:cxn ang="0">
                <a:pos x="225" y="0"/>
              </a:cxn>
            </a:cxnLst>
            <a:rect l="0" t="0" r="r" b="b"/>
            <a:pathLst>
              <a:path w="458" h="288">
                <a:moveTo>
                  <a:pt x="225" y="0"/>
                </a:moveTo>
                <a:cubicBezTo>
                  <a:pt x="211" y="0"/>
                  <a:pt x="199" y="13"/>
                  <a:pt x="199" y="31"/>
                </a:cubicBezTo>
                <a:cubicBezTo>
                  <a:pt x="199" y="31"/>
                  <a:pt x="199" y="35"/>
                  <a:pt x="199" y="39"/>
                </a:cubicBezTo>
                <a:cubicBezTo>
                  <a:pt x="180" y="39"/>
                  <a:pt x="122" y="39"/>
                  <a:pt x="122" y="39"/>
                </a:cubicBezTo>
                <a:cubicBezTo>
                  <a:pt x="105" y="39"/>
                  <a:pt x="92" y="53"/>
                  <a:pt x="92" y="70"/>
                </a:cubicBezTo>
                <a:cubicBezTo>
                  <a:pt x="92" y="70"/>
                  <a:pt x="92" y="70"/>
                  <a:pt x="92" y="70"/>
                </a:cubicBezTo>
                <a:cubicBezTo>
                  <a:pt x="92" y="78"/>
                  <a:pt x="98" y="84"/>
                  <a:pt x="105" y="84"/>
                </a:cubicBezTo>
                <a:cubicBezTo>
                  <a:pt x="112" y="84"/>
                  <a:pt x="118" y="78"/>
                  <a:pt x="118" y="70"/>
                </a:cubicBezTo>
                <a:cubicBezTo>
                  <a:pt x="118" y="70"/>
                  <a:pt x="118" y="70"/>
                  <a:pt x="118" y="70"/>
                </a:cubicBezTo>
                <a:cubicBezTo>
                  <a:pt x="118" y="68"/>
                  <a:pt x="120" y="66"/>
                  <a:pt x="122" y="66"/>
                </a:cubicBezTo>
                <a:cubicBezTo>
                  <a:pt x="213" y="66"/>
                  <a:pt x="213" y="66"/>
                  <a:pt x="213" y="66"/>
                </a:cubicBezTo>
                <a:cubicBezTo>
                  <a:pt x="220" y="66"/>
                  <a:pt x="226" y="60"/>
                  <a:pt x="226" y="53"/>
                </a:cubicBezTo>
                <a:cubicBezTo>
                  <a:pt x="226" y="31"/>
                  <a:pt x="226" y="31"/>
                  <a:pt x="226" y="31"/>
                </a:cubicBezTo>
                <a:cubicBezTo>
                  <a:pt x="226" y="29"/>
                  <a:pt x="227" y="27"/>
                  <a:pt x="227" y="26"/>
                </a:cubicBezTo>
                <a:cubicBezTo>
                  <a:pt x="231" y="26"/>
                  <a:pt x="319" y="26"/>
                  <a:pt x="323" y="26"/>
                </a:cubicBezTo>
                <a:cubicBezTo>
                  <a:pt x="323" y="27"/>
                  <a:pt x="324" y="29"/>
                  <a:pt x="324" y="31"/>
                </a:cubicBezTo>
                <a:cubicBezTo>
                  <a:pt x="324" y="53"/>
                  <a:pt x="324" y="53"/>
                  <a:pt x="324" y="53"/>
                </a:cubicBezTo>
                <a:cubicBezTo>
                  <a:pt x="324" y="60"/>
                  <a:pt x="330" y="66"/>
                  <a:pt x="337" y="66"/>
                </a:cubicBezTo>
                <a:cubicBezTo>
                  <a:pt x="428" y="66"/>
                  <a:pt x="428" y="66"/>
                  <a:pt x="428" y="66"/>
                </a:cubicBezTo>
                <a:cubicBezTo>
                  <a:pt x="430" y="66"/>
                  <a:pt x="431" y="68"/>
                  <a:pt x="431" y="70"/>
                </a:cubicBezTo>
                <a:cubicBezTo>
                  <a:pt x="431" y="257"/>
                  <a:pt x="431" y="257"/>
                  <a:pt x="431" y="257"/>
                </a:cubicBezTo>
                <a:cubicBezTo>
                  <a:pt x="431" y="259"/>
                  <a:pt x="430" y="261"/>
                  <a:pt x="428" y="261"/>
                </a:cubicBezTo>
                <a:cubicBezTo>
                  <a:pt x="122" y="261"/>
                  <a:pt x="122" y="261"/>
                  <a:pt x="122" y="261"/>
                </a:cubicBezTo>
                <a:cubicBezTo>
                  <a:pt x="120" y="261"/>
                  <a:pt x="115" y="257"/>
                  <a:pt x="111" y="251"/>
                </a:cubicBezTo>
                <a:cubicBezTo>
                  <a:pt x="111" y="250"/>
                  <a:pt x="111" y="250"/>
                  <a:pt x="111" y="250"/>
                </a:cubicBezTo>
                <a:cubicBezTo>
                  <a:pt x="35" y="125"/>
                  <a:pt x="35" y="125"/>
                  <a:pt x="35" y="125"/>
                </a:cubicBezTo>
                <a:cubicBezTo>
                  <a:pt x="35" y="125"/>
                  <a:pt x="34" y="125"/>
                  <a:pt x="34" y="124"/>
                </a:cubicBezTo>
                <a:cubicBezTo>
                  <a:pt x="34" y="123"/>
                  <a:pt x="33" y="122"/>
                  <a:pt x="32" y="120"/>
                </a:cubicBezTo>
                <a:cubicBezTo>
                  <a:pt x="34" y="120"/>
                  <a:pt x="316" y="120"/>
                  <a:pt x="331" y="120"/>
                </a:cubicBezTo>
                <a:cubicBezTo>
                  <a:pt x="338" y="132"/>
                  <a:pt x="396" y="236"/>
                  <a:pt x="396" y="236"/>
                </a:cubicBezTo>
                <a:cubicBezTo>
                  <a:pt x="400" y="242"/>
                  <a:pt x="408" y="244"/>
                  <a:pt x="414" y="241"/>
                </a:cubicBezTo>
                <a:cubicBezTo>
                  <a:pt x="421" y="237"/>
                  <a:pt x="423" y="229"/>
                  <a:pt x="419" y="222"/>
                </a:cubicBezTo>
                <a:cubicBezTo>
                  <a:pt x="351" y="100"/>
                  <a:pt x="351" y="100"/>
                  <a:pt x="351" y="100"/>
                </a:cubicBezTo>
                <a:cubicBezTo>
                  <a:pt x="348" y="96"/>
                  <a:pt x="344" y="94"/>
                  <a:pt x="339" y="94"/>
                </a:cubicBezTo>
                <a:cubicBezTo>
                  <a:pt x="31" y="94"/>
                  <a:pt x="31" y="94"/>
                  <a:pt x="31" y="94"/>
                </a:cubicBezTo>
                <a:cubicBezTo>
                  <a:pt x="17" y="94"/>
                  <a:pt x="10" y="100"/>
                  <a:pt x="7" y="106"/>
                </a:cubicBezTo>
                <a:cubicBezTo>
                  <a:pt x="0" y="119"/>
                  <a:pt x="10" y="136"/>
                  <a:pt x="12" y="139"/>
                </a:cubicBezTo>
                <a:cubicBezTo>
                  <a:pt x="12" y="139"/>
                  <a:pt x="12" y="139"/>
                  <a:pt x="12" y="139"/>
                </a:cubicBezTo>
                <a:cubicBezTo>
                  <a:pt x="88" y="264"/>
                  <a:pt x="88" y="264"/>
                  <a:pt x="88" y="264"/>
                </a:cubicBezTo>
                <a:cubicBezTo>
                  <a:pt x="88" y="264"/>
                  <a:pt x="88" y="264"/>
                  <a:pt x="88" y="264"/>
                </a:cubicBezTo>
                <a:cubicBezTo>
                  <a:pt x="96" y="279"/>
                  <a:pt x="109" y="288"/>
                  <a:pt x="122" y="288"/>
                </a:cubicBezTo>
                <a:cubicBezTo>
                  <a:pt x="428" y="288"/>
                  <a:pt x="428" y="288"/>
                  <a:pt x="428" y="288"/>
                </a:cubicBezTo>
                <a:cubicBezTo>
                  <a:pt x="444" y="288"/>
                  <a:pt x="458" y="274"/>
                  <a:pt x="458" y="257"/>
                </a:cubicBezTo>
                <a:cubicBezTo>
                  <a:pt x="458" y="70"/>
                  <a:pt x="458" y="70"/>
                  <a:pt x="458" y="70"/>
                </a:cubicBezTo>
                <a:cubicBezTo>
                  <a:pt x="458" y="53"/>
                  <a:pt x="444" y="39"/>
                  <a:pt x="428" y="39"/>
                </a:cubicBezTo>
                <a:cubicBezTo>
                  <a:pt x="428" y="39"/>
                  <a:pt x="370" y="39"/>
                  <a:pt x="350" y="39"/>
                </a:cubicBezTo>
                <a:cubicBezTo>
                  <a:pt x="350" y="35"/>
                  <a:pt x="350" y="31"/>
                  <a:pt x="350" y="31"/>
                </a:cubicBezTo>
                <a:cubicBezTo>
                  <a:pt x="350" y="13"/>
                  <a:pt x="339" y="0"/>
                  <a:pt x="325" y="0"/>
                </a:cubicBezTo>
                <a:lnTo>
                  <a:pt x="225" y="0"/>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22" name="Freeform 568"/>
          <p:cNvSpPr>
            <a:spLocks/>
          </p:cNvSpPr>
          <p:nvPr userDrawn="1"/>
        </p:nvSpPr>
        <p:spPr bwMode="auto">
          <a:xfrm>
            <a:off x="8754363" y="5098470"/>
            <a:ext cx="449263" cy="449263"/>
          </a:xfrm>
          <a:custGeom>
            <a:avLst/>
            <a:gdLst/>
            <a:ahLst/>
            <a:cxnLst>
              <a:cxn ang="0">
                <a:pos x="22" y="290"/>
              </a:cxn>
              <a:cxn ang="0">
                <a:pos x="52" y="66"/>
              </a:cxn>
              <a:cxn ang="0">
                <a:pos x="40" y="127"/>
              </a:cxn>
              <a:cxn ang="0">
                <a:pos x="130" y="361"/>
              </a:cxn>
              <a:cxn ang="0">
                <a:pos x="186" y="339"/>
              </a:cxn>
              <a:cxn ang="0">
                <a:pos x="183" y="322"/>
              </a:cxn>
              <a:cxn ang="0">
                <a:pos x="154" y="278"/>
              </a:cxn>
              <a:cxn ang="0">
                <a:pos x="163" y="257"/>
              </a:cxn>
              <a:cxn ang="0">
                <a:pos x="103" y="213"/>
              </a:cxn>
              <a:cxn ang="0">
                <a:pos x="69" y="113"/>
              </a:cxn>
              <a:cxn ang="0">
                <a:pos x="84" y="69"/>
              </a:cxn>
              <a:cxn ang="0">
                <a:pos x="93" y="31"/>
              </a:cxn>
              <a:cxn ang="0">
                <a:pos x="127" y="19"/>
              </a:cxn>
              <a:cxn ang="0">
                <a:pos x="147" y="29"/>
              </a:cxn>
              <a:cxn ang="0">
                <a:pos x="199" y="41"/>
              </a:cxn>
              <a:cxn ang="0">
                <a:pos x="249" y="91"/>
              </a:cxn>
              <a:cxn ang="0">
                <a:pos x="250" y="102"/>
              </a:cxn>
              <a:cxn ang="0">
                <a:pos x="238" y="119"/>
              </a:cxn>
              <a:cxn ang="0">
                <a:pos x="181" y="172"/>
              </a:cxn>
              <a:cxn ang="0">
                <a:pos x="172" y="167"/>
              </a:cxn>
              <a:cxn ang="0">
                <a:pos x="165" y="161"/>
              </a:cxn>
              <a:cxn ang="0">
                <a:pos x="151" y="167"/>
              </a:cxn>
              <a:cxn ang="0">
                <a:pos x="156" y="181"/>
              </a:cxn>
              <a:cxn ang="0">
                <a:pos x="177" y="197"/>
              </a:cxn>
              <a:cxn ang="0">
                <a:pos x="188" y="213"/>
              </a:cxn>
              <a:cxn ang="0">
                <a:pos x="201" y="208"/>
              </a:cxn>
              <a:cxn ang="0">
                <a:pos x="256" y="225"/>
              </a:cxn>
              <a:cxn ang="0">
                <a:pos x="330" y="259"/>
              </a:cxn>
              <a:cxn ang="0">
                <a:pos x="315" y="307"/>
              </a:cxn>
              <a:cxn ang="0">
                <a:pos x="283" y="354"/>
              </a:cxn>
              <a:cxn ang="0">
                <a:pos x="352" y="113"/>
              </a:cxn>
              <a:cxn ang="0">
                <a:pos x="170" y="26"/>
              </a:cxn>
              <a:cxn ang="0">
                <a:pos x="199" y="0"/>
              </a:cxn>
              <a:cxn ang="0">
                <a:pos x="399" y="200"/>
              </a:cxn>
              <a:cxn ang="0">
                <a:pos x="222" y="398"/>
              </a:cxn>
              <a:cxn ang="0">
                <a:pos x="265" y="324"/>
              </a:cxn>
              <a:cxn ang="0">
                <a:pos x="309" y="273"/>
              </a:cxn>
              <a:cxn ang="0">
                <a:pos x="208" y="233"/>
              </a:cxn>
              <a:cxn ang="0">
                <a:pos x="166" y="226"/>
              </a:cxn>
              <a:cxn ang="0">
                <a:pos x="132" y="192"/>
              </a:cxn>
              <a:cxn ang="0">
                <a:pos x="148" y="140"/>
              </a:cxn>
              <a:cxn ang="0">
                <a:pos x="182" y="144"/>
              </a:cxn>
              <a:cxn ang="0">
                <a:pos x="225" y="97"/>
              </a:cxn>
              <a:cxn ang="0">
                <a:pos x="185" y="62"/>
              </a:cxn>
              <a:cxn ang="0">
                <a:pos x="110" y="48"/>
              </a:cxn>
              <a:cxn ang="0">
                <a:pos x="95" y="111"/>
              </a:cxn>
              <a:cxn ang="0">
                <a:pos x="102" y="179"/>
              </a:cxn>
              <a:cxn ang="0">
                <a:pos x="159" y="224"/>
              </a:cxn>
              <a:cxn ang="0">
                <a:pos x="189" y="256"/>
              </a:cxn>
              <a:cxn ang="0">
                <a:pos x="178" y="276"/>
              </a:cxn>
              <a:cxn ang="0">
                <a:pos x="183" y="287"/>
              </a:cxn>
              <a:cxn ang="0">
                <a:pos x="210" y="332"/>
              </a:cxn>
              <a:cxn ang="0">
                <a:pos x="184" y="398"/>
              </a:cxn>
            </a:cxnLst>
            <a:rect l="0" t="0" r="r" b="b"/>
            <a:pathLst>
              <a:path w="399" h="398">
                <a:moveTo>
                  <a:pt x="183" y="398"/>
                </a:moveTo>
                <a:cubicBezTo>
                  <a:pt x="182" y="398"/>
                  <a:pt x="156" y="397"/>
                  <a:pt x="122" y="384"/>
                </a:cubicBezTo>
                <a:cubicBezTo>
                  <a:pt x="89" y="370"/>
                  <a:pt x="48" y="342"/>
                  <a:pt x="22" y="290"/>
                </a:cubicBezTo>
                <a:cubicBezTo>
                  <a:pt x="6" y="259"/>
                  <a:pt x="0" y="228"/>
                  <a:pt x="0" y="200"/>
                </a:cubicBezTo>
                <a:cubicBezTo>
                  <a:pt x="0" y="168"/>
                  <a:pt x="8" y="140"/>
                  <a:pt x="18" y="117"/>
                </a:cubicBezTo>
                <a:cubicBezTo>
                  <a:pt x="29" y="94"/>
                  <a:pt x="41" y="77"/>
                  <a:pt x="52" y="66"/>
                </a:cubicBezTo>
                <a:cubicBezTo>
                  <a:pt x="56" y="61"/>
                  <a:pt x="64" y="61"/>
                  <a:pt x="68" y="66"/>
                </a:cubicBezTo>
                <a:cubicBezTo>
                  <a:pt x="73" y="70"/>
                  <a:pt x="73" y="78"/>
                  <a:pt x="69" y="82"/>
                </a:cubicBezTo>
                <a:cubicBezTo>
                  <a:pt x="61" y="90"/>
                  <a:pt x="49" y="106"/>
                  <a:pt x="40" y="127"/>
                </a:cubicBezTo>
                <a:cubicBezTo>
                  <a:pt x="31" y="147"/>
                  <a:pt x="24" y="172"/>
                  <a:pt x="24" y="200"/>
                </a:cubicBezTo>
                <a:cubicBezTo>
                  <a:pt x="24" y="225"/>
                  <a:pt x="29" y="251"/>
                  <a:pt x="43" y="279"/>
                </a:cubicBezTo>
                <a:cubicBezTo>
                  <a:pt x="66" y="325"/>
                  <a:pt x="100" y="349"/>
                  <a:pt x="130" y="361"/>
                </a:cubicBezTo>
                <a:cubicBezTo>
                  <a:pt x="149" y="369"/>
                  <a:pt x="166" y="373"/>
                  <a:pt x="176" y="374"/>
                </a:cubicBezTo>
                <a:cubicBezTo>
                  <a:pt x="176" y="372"/>
                  <a:pt x="177" y="370"/>
                  <a:pt x="178" y="368"/>
                </a:cubicBezTo>
                <a:cubicBezTo>
                  <a:pt x="181" y="359"/>
                  <a:pt x="184" y="348"/>
                  <a:pt x="186" y="339"/>
                </a:cubicBezTo>
                <a:cubicBezTo>
                  <a:pt x="187" y="336"/>
                  <a:pt x="187" y="334"/>
                  <a:pt x="187" y="332"/>
                </a:cubicBezTo>
                <a:cubicBezTo>
                  <a:pt x="187" y="330"/>
                  <a:pt x="187" y="329"/>
                  <a:pt x="186" y="328"/>
                </a:cubicBezTo>
                <a:cubicBezTo>
                  <a:pt x="186" y="326"/>
                  <a:pt x="185" y="324"/>
                  <a:pt x="183" y="322"/>
                </a:cubicBezTo>
                <a:cubicBezTo>
                  <a:pt x="180" y="318"/>
                  <a:pt x="174" y="312"/>
                  <a:pt x="166" y="303"/>
                </a:cubicBezTo>
                <a:cubicBezTo>
                  <a:pt x="162" y="299"/>
                  <a:pt x="159" y="295"/>
                  <a:pt x="157" y="290"/>
                </a:cubicBezTo>
                <a:cubicBezTo>
                  <a:pt x="155" y="286"/>
                  <a:pt x="154" y="282"/>
                  <a:pt x="154" y="278"/>
                </a:cubicBezTo>
                <a:cubicBezTo>
                  <a:pt x="154" y="274"/>
                  <a:pt x="155" y="270"/>
                  <a:pt x="156" y="267"/>
                </a:cubicBezTo>
                <a:cubicBezTo>
                  <a:pt x="158" y="264"/>
                  <a:pt x="159" y="262"/>
                  <a:pt x="161" y="260"/>
                </a:cubicBezTo>
                <a:cubicBezTo>
                  <a:pt x="161" y="259"/>
                  <a:pt x="162" y="258"/>
                  <a:pt x="163" y="257"/>
                </a:cubicBezTo>
                <a:cubicBezTo>
                  <a:pt x="163" y="257"/>
                  <a:pt x="163" y="256"/>
                  <a:pt x="162" y="256"/>
                </a:cubicBezTo>
                <a:cubicBezTo>
                  <a:pt x="159" y="253"/>
                  <a:pt x="153" y="249"/>
                  <a:pt x="147" y="244"/>
                </a:cubicBezTo>
                <a:cubicBezTo>
                  <a:pt x="133" y="235"/>
                  <a:pt x="117" y="224"/>
                  <a:pt x="103" y="213"/>
                </a:cubicBezTo>
                <a:cubicBezTo>
                  <a:pt x="94" y="205"/>
                  <a:pt x="86" y="198"/>
                  <a:pt x="81" y="190"/>
                </a:cubicBezTo>
                <a:cubicBezTo>
                  <a:pt x="72" y="173"/>
                  <a:pt x="67" y="151"/>
                  <a:pt x="67" y="131"/>
                </a:cubicBezTo>
                <a:cubicBezTo>
                  <a:pt x="67" y="125"/>
                  <a:pt x="67" y="119"/>
                  <a:pt x="69" y="113"/>
                </a:cubicBezTo>
                <a:cubicBezTo>
                  <a:pt x="70" y="107"/>
                  <a:pt x="72" y="102"/>
                  <a:pt x="76" y="97"/>
                </a:cubicBezTo>
                <a:cubicBezTo>
                  <a:pt x="77" y="95"/>
                  <a:pt x="79" y="91"/>
                  <a:pt x="81" y="86"/>
                </a:cubicBezTo>
                <a:cubicBezTo>
                  <a:pt x="82" y="81"/>
                  <a:pt x="83" y="75"/>
                  <a:pt x="84" y="69"/>
                </a:cubicBezTo>
                <a:cubicBezTo>
                  <a:pt x="86" y="58"/>
                  <a:pt x="87" y="47"/>
                  <a:pt x="87" y="43"/>
                </a:cubicBezTo>
                <a:cubicBezTo>
                  <a:pt x="87" y="41"/>
                  <a:pt x="87" y="41"/>
                  <a:pt x="87" y="41"/>
                </a:cubicBezTo>
                <a:cubicBezTo>
                  <a:pt x="87" y="37"/>
                  <a:pt x="90" y="33"/>
                  <a:pt x="93" y="31"/>
                </a:cubicBezTo>
                <a:cubicBezTo>
                  <a:pt x="115" y="19"/>
                  <a:pt x="115" y="19"/>
                  <a:pt x="115" y="19"/>
                </a:cubicBezTo>
                <a:cubicBezTo>
                  <a:pt x="119" y="17"/>
                  <a:pt x="124" y="17"/>
                  <a:pt x="127" y="19"/>
                </a:cubicBezTo>
                <a:cubicBezTo>
                  <a:pt x="127" y="19"/>
                  <a:pt x="127" y="19"/>
                  <a:pt x="127" y="19"/>
                </a:cubicBezTo>
                <a:cubicBezTo>
                  <a:pt x="128" y="20"/>
                  <a:pt x="128" y="20"/>
                  <a:pt x="128" y="20"/>
                </a:cubicBezTo>
                <a:cubicBezTo>
                  <a:pt x="129" y="21"/>
                  <a:pt x="131" y="21"/>
                  <a:pt x="133" y="22"/>
                </a:cubicBezTo>
                <a:cubicBezTo>
                  <a:pt x="136" y="24"/>
                  <a:pt x="141" y="27"/>
                  <a:pt x="147" y="29"/>
                </a:cubicBezTo>
                <a:cubicBezTo>
                  <a:pt x="158" y="34"/>
                  <a:pt x="173" y="39"/>
                  <a:pt x="185" y="39"/>
                </a:cubicBezTo>
                <a:cubicBezTo>
                  <a:pt x="186" y="39"/>
                  <a:pt x="188" y="39"/>
                  <a:pt x="190" y="39"/>
                </a:cubicBezTo>
                <a:cubicBezTo>
                  <a:pt x="193" y="38"/>
                  <a:pt x="196" y="39"/>
                  <a:pt x="199" y="41"/>
                </a:cubicBezTo>
                <a:cubicBezTo>
                  <a:pt x="199" y="41"/>
                  <a:pt x="217" y="57"/>
                  <a:pt x="232" y="70"/>
                </a:cubicBezTo>
                <a:cubicBezTo>
                  <a:pt x="237" y="75"/>
                  <a:pt x="241" y="80"/>
                  <a:pt x="244" y="84"/>
                </a:cubicBezTo>
                <a:cubicBezTo>
                  <a:pt x="246" y="86"/>
                  <a:pt x="248" y="88"/>
                  <a:pt x="249" y="91"/>
                </a:cubicBezTo>
                <a:cubicBezTo>
                  <a:pt x="250" y="93"/>
                  <a:pt x="251" y="94"/>
                  <a:pt x="251" y="98"/>
                </a:cubicBezTo>
                <a:cubicBezTo>
                  <a:pt x="251" y="99"/>
                  <a:pt x="251" y="101"/>
                  <a:pt x="251" y="102"/>
                </a:cubicBezTo>
                <a:cubicBezTo>
                  <a:pt x="250" y="102"/>
                  <a:pt x="250" y="102"/>
                  <a:pt x="250" y="102"/>
                </a:cubicBezTo>
                <a:cubicBezTo>
                  <a:pt x="249" y="105"/>
                  <a:pt x="249" y="106"/>
                  <a:pt x="248" y="107"/>
                </a:cubicBezTo>
                <a:cubicBezTo>
                  <a:pt x="247" y="108"/>
                  <a:pt x="246" y="109"/>
                  <a:pt x="245" y="110"/>
                </a:cubicBezTo>
                <a:cubicBezTo>
                  <a:pt x="243" y="113"/>
                  <a:pt x="241" y="115"/>
                  <a:pt x="238" y="119"/>
                </a:cubicBezTo>
                <a:cubicBezTo>
                  <a:pt x="233" y="125"/>
                  <a:pt x="225" y="132"/>
                  <a:pt x="218" y="140"/>
                </a:cubicBezTo>
                <a:cubicBezTo>
                  <a:pt x="204" y="155"/>
                  <a:pt x="190" y="169"/>
                  <a:pt x="190" y="169"/>
                </a:cubicBezTo>
                <a:cubicBezTo>
                  <a:pt x="188" y="171"/>
                  <a:pt x="184" y="173"/>
                  <a:pt x="181" y="172"/>
                </a:cubicBezTo>
                <a:cubicBezTo>
                  <a:pt x="177" y="172"/>
                  <a:pt x="174" y="170"/>
                  <a:pt x="172" y="167"/>
                </a:cubicBezTo>
                <a:cubicBezTo>
                  <a:pt x="172" y="167"/>
                  <a:pt x="172" y="167"/>
                  <a:pt x="172" y="167"/>
                </a:cubicBezTo>
                <a:cubicBezTo>
                  <a:pt x="172" y="167"/>
                  <a:pt x="172" y="167"/>
                  <a:pt x="172" y="167"/>
                </a:cubicBezTo>
                <a:cubicBezTo>
                  <a:pt x="172" y="167"/>
                  <a:pt x="172" y="166"/>
                  <a:pt x="172" y="166"/>
                </a:cubicBezTo>
                <a:cubicBezTo>
                  <a:pt x="171" y="166"/>
                  <a:pt x="171" y="165"/>
                  <a:pt x="170" y="164"/>
                </a:cubicBezTo>
                <a:cubicBezTo>
                  <a:pt x="169" y="163"/>
                  <a:pt x="167" y="161"/>
                  <a:pt x="165" y="161"/>
                </a:cubicBezTo>
                <a:cubicBezTo>
                  <a:pt x="164" y="160"/>
                  <a:pt x="163" y="160"/>
                  <a:pt x="162" y="160"/>
                </a:cubicBezTo>
                <a:cubicBezTo>
                  <a:pt x="161" y="160"/>
                  <a:pt x="160" y="160"/>
                  <a:pt x="158" y="161"/>
                </a:cubicBezTo>
                <a:cubicBezTo>
                  <a:pt x="157" y="162"/>
                  <a:pt x="154" y="164"/>
                  <a:pt x="151" y="167"/>
                </a:cubicBezTo>
                <a:cubicBezTo>
                  <a:pt x="148" y="171"/>
                  <a:pt x="148" y="173"/>
                  <a:pt x="148" y="173"/>
                </a:cubicBezTo>
                <a:cubicBezTo>
                  <a:pt x="148" y="174"/>
                  <a:pt x="148" y="174"/>
                  <a:pt x="149" y="176"/>
                </a:cubicBezTo>
                <a:cubicBezTo>
                  <a:pt x="151" y="178"/>
                  <a:pt x="153" y="180"/>
                  <a:pt x="156" y="181"/>
                </a:cubicBezTo>
                <a:cubicBezTo>
                  <a:pt x="162" y="185"/>
                  <a:pt x="169" y="187"/>
                  <a:pt x="169" y="187"/>
                </a:cubicBezTo>
                <a:cubicBezTo>
                  <a:pt x="169" y="187"/>
                  <a:pt x="169" y="187"/>
                  <a:pt x="169" y="187"/>
                </a:cubicBezTo>
                <a:cubicBezTo>
                  <a:pt x="173" y="188"/>
                  <a:pt x="177" y="192"/>
                  <a:pt x="177" y="197"/>
                </a:cubicBezTo>
                <a:cubicBezTo>
                  <a:pt x="178" y="203"/>
                  <a:pt x="181" y="207"/>
                  <a:pt x="183" y="210"/>
                </a:cubicBezTo>
                <a:cubicBezTo>
                  <a:pt x="185" y="212"/>
                  <a:pt x="188" y="213"/>
                  <a:pt x="188" y="213"/>
                </a:cubicBezTo>
                <a:cubicBezTo>
                  <a:pt x="188" y="213"/>
                  <a:pt x="188" y="213"/>
                  <a:pt x="188" y="213"/>
                </a:cubicBezTo>
                <a:cubicBezTo>
                  <a:pt x="188" y="213"/>
                  <a:pt x="188" y="213"/>
                  <a:pt x="188" y="213"/>
                </a:cubicBezTo>
                <a:cubicBezTo>
                  <a:pt x="191" y="211"/>
                  <a:pt x="193" y="210"/>
                  <a:pt x="195" y="209"/>
                </a:cubicBezTo>
                <a:cubicBezTo>
                  <a:pt x="197" y="209"/>
                  <a:pt x="199" y="208"/>
                  <a:pt x="201" y="208"/>
                </a:cubicBezTo>
                <a:cubicBezTo>
                  <a:pt x="205" y="208"/>
                  <a:pt x="208" y="209"/>
                  <a:pt x="212" y="210"/>
                </a:cubicBezTo>
                <a:cubicBezTo>
                  <a:pt x="216" y="211"/>
                  <a:pt x="221" y="212"/>
                  <a:pt x="225" y="214"/>
                </a:cubicBezTo>
                <a:cubicBezTo>
                  <a:pt x="235" y="217"/>
                  <a:pt x="245" y="221"/>
                  <a:pt x="256" y="225"/>
                </a:cubicBezTo>
                <a:cubicBezTo>
                  <a:pt x="277" y="234"/>
                  <a:pt x="300" y="244"/>
                  <a:pt x="312" y="249"/>
                </a:cubicBezTo>
                <a:cubicBezTo>
                  <a:pt x="316" y="250"/>
                  <a:pt x="319" y="251"/>
                  <a:pt x="320" y="252"/>
                </a:cubicBezTo>
                <a:cubicBezTo>
                  <a:pt x="324" y="253"/>
                  <a:pt x="327" y="255"/>
                  <a:pt x="330" y="259"/>
                </a:cubicBezTo>
                <a:cubicBezTo>
                  <a:pt x="332" y="262"/>
                  <a:pt x="333" y="266"/>
                  <a:pt x="333" y="270"/>
                </a:cubicBezTo>
                <a:cubicBezTo>
                  <a:pt x="333" y="277"/>
                  <a:pt x="331" y="282"/>
                  <a:pt x="328" y="288"/>
                </a:cubicBezTo>
                <a:cubicBezTo>
                  <a:pt x="324" y="294"/>
                  <a:pt x="320" y="301"/>
                  <a:pt x="315" y="307"/>
                </a:cubicBezTo>
                <a:cubicBezTo>
                  <a:pt x="305" y="319"/>
                  <a:pt x="293" y="332"/>
                  <a:pt x="279" y="343"/>
                </a:cubicBezTo>
                <a:cubicBezTo>
                  <a:pt x="269" y="351"/>
                  <a:pt x="259" y="360"/>
                  <a:pt x="252" y="368"/>
                </a:cubicBezTo>
                <a:cubicBezTo>
                  <a:pt x="261" y="365"/>
                  <a:pt x="272" y="360"/>
                  <a:pt x="283" y="354"/>
                </a:cubicBezTo>
                <a:cubicBezTo>
                  <a:pt x="305" y="343"/>
                  <a:pt x="328" y="324"/>
                  <a:pt x="346" y="298"/>
                </a:cubicBezTo>
                <a:cubicBezTo>
                  <a:pt x="363" y="272"/>
                  <a:pt x="375" y="239"/>
                  <a:pt x="375" y="200"/>
                </a:cubicBezTo>
                <a:cubicBezTo>
                  <a:pt x="375" y="166"/>
                  <a:pt x="366" y="137"/>
                  <a:pt x="352" y="113"/>
                </a:cubicBezTo>
                <a:cubicBezTo>
                  <a:pt x="338" y="89"/>
                  <a:pt x="319" y="69"/>
                  <a:pt x="300" y="55"/>
                </a:cubicBezTo>
                <a:cubicBezTo>
                  <a:pt x="269" y="34"/>
                  <a:pt x="234" y="24"/>
                  <a:pt x="199" y="24"/>
                </a:cubicBezTo>
                <a:cubicBezTo>
                  <a:pt x="189" y="24"/>
                  <a:pt x="179" y="25"/>
                  <a:pt x="170" y="26"/>
                </a:cubicBezTo>
                <a:cubicBezTo>
                  <a:pt x="163" y="27"/>
                  <a:pt x="157" y="23"/>
                  <a:pt x="156" y="16"/>
                </a:cubicBezTo>
                <a:cubicBezTo>
                  <a:pt x="155" y="10"/>
                  <a:pt x="160" y="4"/>
                  <a:pt x="166" y="3"/>
                </a:cubicBezTo>
                <a:cubicBezTo>
                  <a:pt x="177" y="1"/>
                  <a:pt x="188" y="0"/>
                  <a:pt x="199" y="0"/>
                </a:cubicBezTo>
                <a:cubicBezTo>
                  <a:pt x="238" y="0"/>
                  <a:pt x="278" y="12"/>
                  <a:pt x="313" y="36"/>
                </a:cubicBezTo>
                <a:cubicBezTo>
                  <a:pt x="335" y="52"/>
                  <a:pt x="357" y="74"/>
                  <a:pt x="372" y="101"/>
                </a:cubicBezTo>
                <a:cubicBezTo>
                  <a:pt x="388" y="129"/>
                  <a:pt x="399" y="162"/>
                  <a:pt x="399" y="200"/>
                </a:cubicBezTo>
                <a:cubicBezTo>
                  <a:pt x="399" y="244"/>
                  <a:pt x="385" y="282"/>
                  <a:pt x="365" y="311"/>
                </a:cubicBezTo>
                <a:cubicBezTo>
                  <a:pt x="345" y="340"/>
                  <a:pt x="319" y="361"/>
                  <a:pt x="294" y="375"/>
                </a:cubicBezTo>
                <a:cubicBezTo>
                  <a:pt x="257" y="395"/>
                  <a:pt x="223" y="398"/>
                  <a:pt x="222" y="398"/>
                </a:cubicBezTo>
                <a:cubicBezTo>
                  <a:pt x="217" y="398"/>
                  <a:pt x="213" y="396"/>
                  <a:pt x="211" y="392"/>
                </a:cubicBezTo>
                <a:cubicBezTo>
                  <a:pt x="208" y="388"/>
                  <a:pt x="209" y="383"/>
                  <a:pt x="211" y="379"/>
                </a:cubicBezTo>
                <a:cubicBezTo>
                  <a:pt x="212" y="379"/>
                  <a:pt x="232" y="349"/>
                  <a:pt x="265" y="324"/>
                </a:cubicBezTo>
                <a:cubicBezTo>
                  <a:pt x="274" y="317"/>
                  <a:pt x="282" y="309"/>
                  <a:pt x="290" y="301"/>
                </a:cubicBezTo>
                <a:cubicBezTo>
                  <a:pt x="297" y="292"/>
                  <a:pt x="304" y="284"/>
                  <a:pt x="307" y="277"/>
                </a:cubicBezTo>
                <a:cubicBezTo>
                  <a:pt x="308" y="276"/>
                  <a:pt x="309" y="274"/>
                  <a:pt x="309" y="273"/>
                </a:cubicBezTo>
                <a:cubicBezTo>
                  <a:pt x="305" y="271"/>
                  <a:pt x="300" y="269"/>
                  <a:pt x="294" y="266"/>
                </a:cubicBezTo>
                <a:cubicBezTo>
                  <a:pt x="285" y="263"/>
                  <a:pt x="276" y="259"/>
                  <a:pt x="265" y="254"/>
                </a:cubicBezTo>
                <a:cubicBezTo>
                  <a:pt x="244" y="246"/>
                  <a:pt x="222" y="236"/>
                  <a:pt x="208" y="233"/>
                </a:cubicBezTo>
                <a:cubicBezTo>
                  <a:pt x="206" y="232"/>
                  <a:pt x="203" y="232"/>
                  <a:pt x="202" y="232"/>
                </a:cubicBezTo>
                <a:cubicBezTo>
                  <a:pt x="198" y="235"/>
                  <a:pt x="193" y="236"/>
                  <a:pt x="188" y="236"/>
                </a:cubicBezTo>
                <a:cubicBezTo>
                  <a:pt x="179" y="236"/>
                  <a:pt x="172" y="232"/>
                  <a:pt x="166" y="226"/>
                </a:cubicBezTo>
                <a:cubicBezTo>
                  <a:pt x="161" y="221"/>
                  <a:pt x="158" y="214"/>
                  <a:pt x="156" y="207"/>
                </a:cubicBezTo>
                <a:cubicBezTo>
                  <a:pt x="154" y="207"/>
                  <a:pt x="153" y="206"/>
                  <a:pt x="151" y="205"/>
                </a:cubicBezTo>
                <a:cubicBezTo>
                  <a:pt x="145" y="203"/>
                  <a:pt x="138" y="199"/>
                  <a:pt x="132" y="192"/>
                </a:cubicBezTo>
                <a:cubicBezTo>
                  <a:pt x="128" y="187"/>
                  <a:pt x="124" y="181"/>
                  <a:pt x="124" y="173"/>
                </a:cubicBezTo>
                <a:cubicBezTo>
                  <a:pt x="124" y="165"/>
                  <a:pt x="128" y="158"/>
                  <a:pt x="134" y="151"/>
                </a:cubicBezTo>
                <a:cubicBezTo>
                  <a:pt x="138" y="146"/>
                  <a:pt x="143" y="143"/>
                  <a:pt x="148" y="140"/>
                </a:cubicBezTo>
                <a:cubicBezTo>
                  <a:pt x="152" y="138"/>
                  <a:pt x="157" y="136"/>
                  <a:pt x="162" y="136"/>
                </a:cubicBezTo>
                <a:cubicBezTo>
                  <a:pt x="167" y="136"/>
                  <a:pt x="172" y="138"/>
                  <a:pt x="176" y="139"/>
                </a:cubicBezTo>
                <a:cubicBezTo>
                  <a:pt x="178" y="141"/>
                  <a:pt x="180" y="142"/>
                  <a:pt x="182" y="144"/>
                </a:cubicBezTo>
                <a:cubicBezTo>
                  <a:pt x="186" y="140"/>
                  <a:pt x="190" y="136"/>
                  <a:pt x="194" y="131"/>
                </a:cubicBezTo>
                <a:cubicBezTo>
                  <a:pt x="206" y="119"/>
                  <a:pt x="219" y="105"/>
                  <a:pt x="225" y="98"/>
                </a:cubicBezTo>
                <a:cubicBezTo>
                  <a:pt x="225" y="97"/>
                  <a:pt x="225" y="97"/>
                  <a:pt x="225" y="97"/>
                </a:cubicBezTo>
                <a:cubicBezTo>
                  <a:pt x="222" y="93"/>
                  <a:pt x="217" y="89"/>
                  <a:pt x="212" y="84"/>
                </a:cubicBezTo>
                <a:cubicBezTo>
                  <a:pt x="203" y="76"/>
                  <a:pt x="193" y="67"/>
                  <a:pt x="188" y="62"/>
                </a:cubicBezTo>
                <a:cubicBezTo>
                  <a:pt x="187" y="62"/>
                  <a:pt x="186" y="62"/>
                  <a:pt x="185" y="62"/>
                </a:cubicBezTo>
                <a:cubicBezTo>
                  <a:pt x="167" y="62"/>
                  <a:pt x="150" y="56"/>
                  <a:pt x="137" y="51"/>
                </a:cubicBezTo>
                <a:cubicBezTo>
                  <a:pt x="131" y="48"/>
                  <a:pt x="125" y="45"/>
                  <a:pt x="121" y="43"/>
                </a:cubicBezTo>
                <a:cubicBezTo>
                  <a:pt x="110" y="48"/>
                  <a:pt x="110" y="48"/>
                  <a:pt x="110" y="48"/>
                </a:cubicBezTo>
                <a:cubicBezTo>
                  <a:pt x="110" y="51"/>
                  <a:pt x="110" y="54"/>
                  <a:pt x="109" y="58"/>
                </a:cubicBezTo>
                <a:cubicBezTo>
                  <a:pt x="108" y="67"/>
                  <a:pt x="107" y="79"/>
                  <a:pt x="104" y="90"/>
                </a:cubicBezTo>
                <a:cubicBezTo>
                  <a:pt x="102" y="97"/>
                  <a:pt x="99" y="104"/>
                  <a:pt x="95" y="111"/>
                </a:cubicBezTo>
                <a:cubicBezTo>
                  <a:pt x="93" y="112"/>
                  <a:pt x="92" y="115"/>
                  <a:pt x="91" y="118"/>
                </a:cubicBezTo>
                <a:cubicBezTo>
                  <a:pt x="91" y="122"/>
                  <a:pt x="90" y="126"/>
                  <a:pt x="90" y="131"/>
                </a:cubicBezTo>
                <a:cubicBezTo>
                  <a:pt x="90" y="147"/>
                  <a:pt x="95" y="166"/>
                  <a:pt x="102" y="179"/>
                </a:cubicBezTo>
                <a:cubicBezTo>
                  <a:pt x="103" y="180"/>
                  <a:pt x="106" y="184"/>
                  <a:pt x="109" y="187"/>
                </a:cubicBezTo>
                <a:cubicBezTo>
                  <a:pt x="113" y="191"/>
                  <a:pt x="118" y="195"/>
                  <a:pt x="124" y="199"/>
                </a:cubicBezTo>
                <a:cubicBezTo>
                  <a:pt x="135" y="208"/>
                  <a:pt x="148" y="216"/>
                  <a:pt x="159" y="224"/>
                </a:cubicBezTo>
                <a:cubicBezTo>
                  <a:pt x="166" y="230"/>
                  <a:pt x="173" y="234"/>
                  <a:pt x="178" y="239"/>
                </a:cubicBezTo>
                <a:cubicBezTo>
                  <a:pt x="181" y="242"/>
                  <a:pt x="184" y="244"/>
                  <a:pt x="186" y="248"/>
                </a:cubicBezTo>
                <a:cubicBezTo>
                  <a:pt x="187" y="250"/>
                  <a:pt x="188" y="252"/>
                  <a:pt x="189" y="256"/>
                </a:cubicBezTo>
                <a:cubicBezTo>
                  <a:pt x="189" y="258"/>
                  <a:pt x="188" y="260"/>
                  <a:pt x="187" y="262"/>
                </a:cubicBezTo>
                <a:cubicBezTo>
                  <a:pt x="185" y="266"/>
                  <a:pt x="183" y="269"/>
                  <a:pt x="181" y="271"/>
                </a:cubicBezTo>
                <a:cubicBezTo>
                  <a:pt x="179" y="274"/>
                  <a:pt x="178" y="275"/>
                  <a:pt x="178" y="276"/>
                </a:cubicBezTo>
                <a:cubicBezTo>
                  <a:pt x="178" y="277"/>
                  <a:pt x="178" y="277"/>
                  <a:pt x="178" y="278"/>
                </a:cubicBezTo>
                <a:cubicBezTo>
                  <a:pt x="178" y="278"/>
                  <a:pt x="178" y="279"/>
                  <a:pt x="178" y="280"/>
                </a:cubicBezTo>
                <a:cubicBezTo>
                  <a:pt x="179" y="282"/>
                  <a:pt x="181" y="284"/>
                  <a:pt x="183" y="287"/>
                </a:cubicBezTo>
                <a:cubicBezTo>
                  <a:pt x="189" y="293"/>
                  <a:pt x="194" y="298"/>
                  <a:pt x="198" y="303"/>
                </a:cubicBezTo>
                <a:cubicBezTo>
                  <a:pt x="202" y="308"/>
                  <a:pt x="206" y="313"/>
                  <a:pt x="208" y="319"/>
                </a:cubicBezTo>
                <a:cubicBezTo>
                  <a:pt x="210" y="323"/>
                  <a:pt x="210" y="328"/>
                  <a:pt x="210" y="332"/>
                </a:cubicBezTo>
                <a:cubicBezTo>
                  <a:pt x="210" y="336"/>
                  <a:pt x="210" y="340"/>
                  <a:pt x="209" y="344"/>
                </a:cubicBezTo>
                <a:cubicBezTo>
                  <a:pt x="204" y="364"/>
                  <a:pt x="195" y="390"/>
                  <a:pt x="195" y="391"/>
                </a:cubicBezTo>
                <a:cubicBezTo>
                  <a:pt x="193" y="395"/>
                  <a:pt x="189" y="398"/>
                  <a:pt x="184" y="398"/>
                </a:cubicBezTo>
                <a:lnTo>
                  <a:pt x="183" y="398"/>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23" name="Freeform 572"/>
          <p:cNvSpPr>
            <a:spLocks/>
          </p:cNvSpPr>
          <p:nvPr userDrawn="1"/>
        </p:nvSpPr>
        <p:spPr bwMode="auto">
          <a:xfrm>
            <a:off x="8749595" y="3741407"/>
            <a:ext cx="458788" cy="390525"/>
          </a:xfrm>
          <a:custGeom>
            <a:avLst/>
            <a:gdLst/>
            <a:ahLst/>
            <a:cxnLst>
              <a:cxn ang="0">
                <a:pos x="406" y="233"/>
              </a:cxn>
              <a:cxn ang="0">
                <a:pos x="383" y="124"/>
              </a:cxn>
              <a:cxn ang="0">
                <a:pos x="342" y="120"/>
              </a:cxn>
              <a:cxn ang="0">
                <a:pos x="333" y="124"/>
              </a:cxn>
              <a:cxn ang="0">
                <a:pos x="274" y="147"/>
              </a:cxn>
              <a:cxn ang="0">
                <a:pos x="241" y="103"/>
              </a:cxn>
              <a:cxn ang="0">
                <a:pos x="370" y="61"/>
              </a:cxn>
              <a:cxn ang="0">
                <a:pos x="240" y="19"/>
              </a:cxn>
              <a:cxn ang="0">
                <a:pos x="195" y="0"/>
              </a:cxn>
              <a:cxn ang="0">
                <a:pos x="83" y="29"/>
              </a:cxn>
              <a:cxn ang="0">
                <a:pos x="84" y="93"/>
              </a:cxn>
              <a:cxn ang="0">
                <a:pos x="165" y="129"/>
              </a:cxn>
              <a:cxn ang="0">
                <a:pos x="85" y="147"/>
              </a:cxn>
              <a:cxn ang="0">
                <a:pos x="73" y="123"/>
              </a:cxn>
              <a:cxn ang="0">
                <a:pos x="64" y="120"/>
              </a:cxn>
              <a:cxn ang="0">
                <a:pos x="23" y="124"/>
              </a:cxn>
              <a:cxn ang="0">
                <a:pos x="23" y="343"/>
              </a:cxn>
              <a:cxn ang="0">
                <a:pos x="64" y="346"/>
              </a:cxn>
              <a:cxn ang="0">
                <a:pos x="73" y="343"/>
              </a:cxn>
              <a:cxn ang="0">
                <a:pos x="82" y="220"/>
              </a:cxn>
              <a:cxn ang="0">
                <a:pos x="57" y="319"/>
              </a:cxn>
              <a:cxn ang="0">
                <a:pos x="36" y="310"/>
              </a:cxn>
              <a:cxn ang="0">
                <a:pos x="39" y="147"/>
              </a:cxn>
              <a:cxn ang="0">
                <a:pos x="62" y="163"/>
              </a:cxn>
              <a:cxn ang="0">
                <a:pos x="136" y="174"/>
              </a:cxn>
              <a:cxn ang="0">
                <a:pos x="137" y="174"/>
              </a:cxn>
              <a:cxn ang="0">
                <a:pos x="145" y="171"/>
              </a:cxn>
              <a:cxn ang="0">
                <a:pos x="182" y="153"/>
              </a:cxn>
              <a:cxn ang="0">
                <a:pos x="192" y="139"/>
              </a:cxn>
              <a:cxn ang="0">
                <a:pos x="179" y="77"/>
              </a:cxn>
              <a:cxn ang="0">
                <a:pos x="71" y="60"/>
              </a:cxn>
              <a:cxn ang="0">
                <a:pos x="177" y="45"/>
              </a:cxn>
              <a:cxn ang="0">
                <a:pos x="190" y="32"/>
              </a:cxn>
              <a:cxn ang="0">
                <a:pos x="211" y="27"/>
              </a:cxn>
              <a:cxn ang="0">
                <a:pos x="216" y="32"/>
              </a:cxn>
              <a:cxn ang="0">
                <a:pos x="228" y="45"/>
              </a:cxn>
              <a:cxn ang="0">
                <a:pos x="335" y="60"/>
              </a:cxn>
              <a:cxn ang="0">
                <a:pos x="227" y="77"/>
              </a:cxn>
              <a:cxn ang="0">
                <a:pos x="214" y="90"/>
              </a:cxn>
              <a:cxn ang="0">
                <a:pos x="224" y="152"/>
              </a:cxn>
              <a:cxn ang="0">
                <a:pos x="261" y="171"/>
              </a:cxn>
              <a:cxn ang="0">
                <a:pos x="261" y="171"/>
              </a:cxn>
              <a:cxn ang="0">
                <a:pos x="332" y="174"/>
              </a:cxn>
              <a:cxn ang="0">
                <a:pos x="344" y="164"/>
              </a:cxn>
              <a:cxn ang="0">
                <a:pos x="366" y="147"/>
              </a:cxn>
              <a:cxn ang="0">
                <a:pos x="366" y="319"/>
              </a:cxn>
              <a:cxn ang="0">
                <a:pos x="344" y="303"/>
              </a:cxn>
              <a:cxn ang="0">
                <a:pos x="331" y="293"/>
              </a:cxn>
              <a:cxn ang="0">
                <a:pos x="123" y="293"/>
              </a:cxn>
              <a:cxn ang="0">
                <a:pos x="123" y="320"/>
              </a:cxn>
              <a:cxn ang="0">
                <a:pos x="333" y="343"/>
              </a:cxn>
              <a:cxn ang="0">
                <a:pos x="342" y="346"/>
              </a:cxn>
              <a:cxn ang="0">
                <a:pos x="383" y="343"/>
              </a:cxn>
              <a:cxn ang="0">
                <a:pos x="406" y="233"/>
              </a:cxn>
              <a:cxn ang="0">
                <a:pos x="406" y="233"/>
              </a:cxn>
              <a:cxn ang="0">
                <a:pos x="406" y="233"/>
              </a:cxn>
              <a:cxn ang="0">
                <a:pos x="406" y="233"/>
              </a:cxn>
              <a:cxn ang="0">
                <a:pos x="406" y="233"/>
              </a:cxn>
            </a:cxnLst>
            <a:rect l="0" t="0" r="r" b="b"/>
            <a:pathLst>
              <a:path w="406" h="346">
                <a:moveTo>
                  <a:pt x="406" y="233"/>
                </a:moveTo>
                <a:cubicBezTo>
                  <a:pt x="406" y="233"/>
                  <a:pt x="406" y="233"/>
                  <a:pt x="406" y="233"/>
                </a:cubicBezTo>
                <a:cubicBezTo>
                  <a:pt x="406" y="233"/>
                  <a:pt x="406" y="233"/>
                  <a:pt x="406" y="233"/>
                </a:cubicBezTo>
                <a:cubicBezTo>
                  <a:pt x="406" y="149"/>
                  <a:pt x="386" y="127"/>
                  <a:pt x="383" y="124"/>
                </a:cubicBezTo>
                <a:cubicBezTo>
                  <a:pt x="380" y="122"/>
                  <a:pt x="377" y="120"/>
                  <a:pt x="374" y="120"/>
                </a:cubicBezTo>
                <a:cubicBezTo>
                  <a:pt x="342" y="120"/>
                  <a:pt x="342" y="120"/>
                  <a:pt x="342" y="120"/>
                </a:cubicBezTo>
                <a:cubicBezTo>
                  <a:pt x="339" y="120"/>
                  <a:pt x="336" y="122"/>
                  <a:pt x="333" y="124"/>
                </a:cubicBezTo>
                <a:cubicBezTo>
                  <a:pt x="333" y="124"/>
                  <a:pt x="333" y="124"/>
                  <a:pt x="333" y="124"/>
                </a:cubicBezTo>
                <a:cubicBezTo>
                  <a:pt x="331" y="126"/>
                  <a:pt x="325" y="132"/>
                  <a:pt x="320" y="147"/>
                </a:cubicBezTo>
                <a:cubicBezTo>
                  <a:pt x="274" y="147"/>
                  <a:pt x="274" y="147"/>
                  <a:pt x="274" y="147"/>
                </a:cubicBezTo>
                <a:cubicBezTo>
                  <a:pt x="264" y="139"/>
                  <a:pt x="253" y="133"/>
                  <a:pt x="241" y="129"/>
                </a:cubicBezTo>
                <a:cubicBezTo>
                  <a:pt x="241" y="103"/>
                  <a:pt x="241" y="103"/>
                  <a:pt x="241" y="103"/>
                </a:cubicBezTo>
                <a:cubicBezTo>
                  <a:pt x="272" y="102"/>
                  <a:pt x="301" y="98"/>
                  <a:pt x="322" y="93"/>
                </a:cubicBezTo>
                <a:cubicBezTo>
                  <a:pt x="344" y="88"/>
                  <a:pt x="370" y="80"/>
                  <a:pt x="370" y="61"/>
                </a:cubicBezTo>
                <a:cubicBezTo>
                  <a:pt x="370" y="42"/>
                  <a:pt x="345" y="34"/>
                  <a:pt x="323" y="29"/>
                </a:cubicBezTo>
                <a:cubicBezTo>
                  <a:pt x="301" y="24"/>
                  <a:pt x="272" y="20"/>
                  <a:pt x="240" y="19"/>
                </a:cubicBezTo>
                <a:cubicBezTo>
                  <a:pt x="235" y="8"/>
                  <a:pt x="224" y="0"/>
                  <a:pt x="211" y="0"/>
                </a:cubicBezTo>
                <a:cubicBezTo>
                  <a:pt x="195" y="0"/>
                  <a:pt x="195" y="0"/>
                  <a:pt x="195" y="0"/>
                </a:cubicBezTo>
                <a:cubicBezTo>
                  <a:pt x="182" y="0"/>
                  <a:pt x="171" y="8"/>
                  <a:pt x="166" y="19"/>
                </a:cubicBezTo>
                <a:cubicBezTo>
                  <a:pt x="134" y="20"/>
                  <a:pt x="105" y="24"/>
                  <a:pt x="83" y="29"/>
                </a:cubicBezTo>
                <a:cubicBezTo>
                  <a:pt x="61" y="34"/>
                  <a:pt x="36" y="42"/>
                  <a:pt x="36" y="61"/>
                </a:cubicBezTo>
                <a:cubicBezTo>
                  <a:pt x="36" y="80"/>
                  <a:pt x="61" y="88"/>
                  <a:pt x="84" y="93"/>
                </a:cubicBezTo>
                <a:cubicBezTo>
                  <a:pt x="105" y="98"/>
                  <a:pt x="134" y="102"/>
                  <a:pt x="165" y="103"/>
                </a:cubicBezTo>
                <a:cubicBezTo>
                  <a:pt x="165" y="129"/>
                  <a:pt x="165" y="129"/>
                  <a:pt x="165" y="129"/>
                </a:cubicBezTo>
                <a:cubicBezTo>
                  <a:pt x="153" y="133"/>
                  <a:pt x="142" y="139"/>
                  <a:pt x="131" y="147"/>
                </a:cubicBezTo>
                <a:cubicBezTo>
                  <a:pt x="85" y="147"/>
                  <a:pt x="85" y="147"/>
                  <a:pt x="85" y="147"/>
                </a:cubicBezTo>
                <a:cubicBezTo>
                  <a:pt x="80" y="132"/>
                  <a:pt x="75" y="126"/>
                  <a:pt x="73" y="124"/>
                </a:cubicBezTo>
                <a:cubicBezTo>
                  <a:pt x="73" y="124"/>
                  <a:pt x="73" y="124"/>
                  <a:pt x="73" y="123"/>
                </a:cubicBezTo>
                <a:cubicBezTo>
                  <a:pt x="70" y="121"/>
                  <a:pt x="67" y="120"/>
                  <a:pt x="64" y="120"/>
                </a:cubicBezTo>
                <a:cubicBezTo>
                  <a:pt x="64" y="120"/>
                  <a:pt x="64" y="120"/>
                  <a:pt x="64" y="120"/>
                </a:cubicBezTo>
                <a:cubicBezTo>
                  <a:pt x="32" y="120"/>
                  <a:pt x="32" y="120"/>
                  <a:pt x="32" y="120"/>
                </a:cubicBezTo>
                <a:cubicBezTo>
                  <a:pt x="29" y="120"/>
                  <a:pt x="26" y="121"/>
                  <a:pt x="23" y="124"/>
                </a:cubicBezTo>
                <a:cubicBezTo>
                  <a:pt x="19" y="127"/>
                  <a:pt x="0" y="148"/>
                  <a:pt x="0" y="233"/>
                </a:cubicBezTo>
                <a:cubicBezTo>
                  <a:pt x="0" y="318"/>
                  <a:pt x="19" y="339"/>
                  <a:pt x="23" y="343"/>
                </a:cubicBezTo>
                <a:cubicBezTo>
                  <a:pt x="26" y="345"/>
                  <a:pt x="29" y="346"/>
                  <a:pt x="32" y="346"/>
                </a:cubicBezTo>
                <a:cubicBezTo>
                  <a:pt x="64" y="346"/>
                  <a:pt x="64" y="346"/>
                  <a:pt x="64" y="346"/>
                </a:cubicBezTo>
                <a:cubicBezTo>
                  <a:pt x="67" y="346"/>
                  <a:pt x="70" y="345"/>
                  <a:pt x="73" y="343"/>
                </a:cubicBezTo>
                <a:cubicBezTo>
                  <a:pt x="73" y="343"/>
                  <a:pt x="73" y="343"/>
                  <a:pt x="73" y="343"/>
                </a:cubicBezTo>
                <a:cubicBezTo>
                  <a:pt x="77" y="339"/>
                  <a:pt x="96" y="318"/>
                  <a:pt x="96" y="233"/>
                </a:cubicBezTo>
                <a:cubicBezTo>
                  <a:pt x="96" y="226"/>
                  <a:pt x="90" y="220"/>
                  <a:pt x="82" y="220"/>
                </a:cubicBezTo>
                <a:cubicBezTo>
                  <a:pt x="75" y="220"/>
                  <a:pt x="69" y="226"/>
                  <a:pt x="69" y="233"/>
                </a:cubicBezTo>
                <a:cubicBezTo>
                  <a:pt x="69" y="287"/>
                  <a:pt x="61" y="311"/>
                  <a:pt x="57" y="319"/>
                </a:cubicBezTo>
                <a:cubicBezTo>
                  <a:pt x="39" y="319"/>
                  <a:pt x="39" y="319"/>
                  <a:pt x="39" y="319"/>
                </a:cubicBezTo>
                <a:cubicBezTo>
                  <a:pt x="38" y="317"/>
                  <a:pt x="37" y="314"/>
                  <a:pt x="36" y="310"/>
                </a:cubicBezTo>
                <a:cubicBezTo>
                  <a:pt x="32" y="297"/>
                  <a:pt x="27" y="274"/>
                  <a:pt x="27" y="233"/>
                </a:cubicBezTo>
                <a:cubicBezTo>
                  <a:pt x="27" y="179"/>
                  <a:pt x="35" y="156"/>
                  <a:pt x="39" y="147"/>
                </a:cubicBezTo>
                <a:cubicBezTo>
                  <a:pt x="57" y="147"/>
                  <a:pt x="57" y="147"/>
                  <a:pt x="57" y="147"/>
                </a:cubicBezTo>
                <a:cubicBezTo>
                  <a:pt x="58" y="150"/>
                  <a:pt x="60" y="155"/>
                  <a:pt x="62" y="163"/>
                </a:cubicBezTo>
                <a:cubicBezTo>
                  <a:pt x="63" y="169"/>
                  <a:pt x="69" y="174"/>
                  <a:pt x="75" y="174"/>
                </a:cubicBezTo>
                <a:cubicBezTo>
                  <a:pt x="136" y="174"/>
                  <a:pt x="136" y="174"/>
                  <a:pt x="136" y="174"/>
                </a:cubicBezTo>
                <a:cubicBezTo>
                  <a:pt x="136" y="174"/>
                  <a:pt x="136" y="174"/>
                  <a:pt x="136" y="174"/>
                </a:cubicBezTo>
                <a:cubicBezTo>
                  <a:pt x="137" y="174"/>
                  <a:pt x="137" y="174"/>
                  <a:pt x="137" y="174"/>
                </a:cubicBezTo>
                <a:cubicBezTo>
                  <a:pt x="140" y="174"/>
                  <a:pt x="142" y="173"/>
                  <a:pt x="145" y="171"/>
                </a:cubicBezTo>
                <a:cubicBezTo>
                  <a:pt x="145" y="171"/>
                  <a:pt x="145" y="171"/>
                  <a:pt x="145" y="171"/>
                </a:cubicBezTo>
                <a:cubicBezTo>
                  <a:pt x="145" y="171"/>
                  <a:pt x="145" y="171"/>
                  <a:pt x="145" y="171"/>
                </a:cubicBezTo>
                <a:cubicBezTo>
                  <a:pt x="155" y="162"/>
                  <a:pt x="168" y="156"/>
                  <a:pt x="182" y="153"/>
                </a:cubicBezTo>
                <a:cubicBezTo>
                  <a:pt x="182" y="152"/>
                  <a:pt x="182" y="152"/>
                  <a:pt x="182" y="152"/>
                </a:cubicBezTo>
                <a:cubicBezTo>
                  <a:pt x="188" y="151"/>
                  <a:pt x="192" y="145"/>
                  <a:pt x="192" y="139"/>
                </a:cubicBezTo>
                <a:cubicBezTo>
                  <a:pt x="192" y="139"/>
                  <a:pt x="192" y="90"/>
                  <a:pt x="192" y="90"/>
                </a:cubicBezTo>
                <a:cubicBezTo>
                  <a:pt x="192" y="83"/>
                  <a:pt x="186" y="77"/>
                  <a:pt x="179" y="77"/>
                </a:cubicBezTo>
                <a:cubicBezTo>
                  <a:pt x="121" y="75"/>
                  <a:pt x="86" y="68"/>
                  <a:pt x="71" y="62"/>
                </a:cubicBezTo>
                <a:cubicBezTo>
                  <a:pt x="70" y="62"/>
                  <a:pt x="70" y="60"/>
                  <a:pt x="71" y="60"/>
                </a:cubicBezTo>
                <a:cubicBezTo>
                  <a:pt x="86" y="55"/>
                  <a:pt x="120" y="47"/>
                  <a:pt x="177" y="45"/>
                </a:cubicBezTo>
                <a:cubicBezTo>
                  <a:pt x="177" y="45"/>
                  <a:pt x="177" y="45"/>
                  <a:pt x="177" y="45"/>
                </a:cubicBezTo>
                <a:cubicBezTo>
                  <a:pt x="184" y="45"/>
                  <a:pt x="190" y="39"/>
                  <a:pt x="190" y="32"/>
                </a:cubicBezTo>
                <a:cubicBezTo>
                  <a:pt x="190" y="32"/>
                  <a:pt x="190" y="32"/>
                  <a:pt x="190" y="32"/>
                </a:cubicBezTo>
                <a:cubicBezTo>
                  <a:pt x="190" y="29"/>
                  <a:pt x="192" y="27"/>
                  <a:pt x="195" y="27"/>
                </a:cubicBezTo>
                <a:cubicBezTo>
                  <a:pt x="211" y="27"/>
                  <a:pt x="211" y="27"/>
                  <a:pt x="211" y="27"/>
                </a:cubicBezTo>
                <a:cubicBezTo>
                  <a:pt x="214" y="27"/>
                  <a:pt x="216" y="29"/>
                  <a:pt x="216" y="32"/>
                </a:cubicBezTo>
                <a:cubicBezTo>
                  <a:pt x="216" y="32"/>
                  <a:pt x="216" y="32"/>
                  <a:pt x="216" y="32"/>
                </a:cubicBezTo>
                <a:cubicBezTo>
                  <a:pt x="216" y="38"/>
                  <a:pt x="220" y="44"/>
                  <a:pt x="226" y="45"/>
                </a:cubicBezTo>
                <a:cubicBezTo>
                  <a:pt x="227" y="45"/>
                  <a:pt x="228" y="45"/>
                  <a:pt x="228" y="45"/>
                </a:cubicBezTo>
                <a:cubicBezTo>
                  <a:pt x="229" y="45"/>
                  <a:pt x="229" y="45"/>
                  <a:pt x="229" y="45"/>
                </a:cubicBezTo>
                <a:cubicBezTo>
                  <a:pt x="285" y="47"/>
                  <a:pt x="320" y="55"/>
                  <a:pt x="335" y="60"/>
                </a:cubicBezTo>
                <a:cubicBezTo>
                  <a:pt x="336" y="60"/>
                  <a:pt x="336" y="62"/>
                  <a:pt x="335" y="62"/>
                </a:cubicBezTo>
                <a:cubicBezTo>
                  <a:pt x="319" y="68"/>
                  <a:pt x="285" y="75"/>
                  <a:pt x="227" y="77"/>
                </a:cubicBezTo>
                <a:cubicBezTo>
                  <a:pt x="227" y="77"/>
                  <a:pt x="226" y="77"/>
                  <a:pt x="226" y="77"/>
                </a:cubicBezTo>
                <a:cubicBezTo>
                  <a:pt x="219" y="77"/>
                  <a:pt x="214" y="83"/>
                  <a:pt x="214" y="90"/>
                </a:cubicBezTo>
                <a:cubicBezTo>
                  <a:pt x="214" y="90"/>
                  <a:pt x="214" y="139"/>
                  <a:pt x="214" y="139"/>
                </a:cubicBezTo>
                <a:cubicBezTo>
                  <a:pt x="214" y="145"/>
                  <a:pt x="218" y="151"/>
                  <a:pt x="224" y="152"/>
                </a:cubicBezTo>
                <a:cubicBezTo>
                  <a:pt x="224" y="152"/>
                  <a:pt x="224" y="152"/>
                  <a:pt x="224" y="153"/>
                </a:cubicBezTo>
                <a:cubicBezTo>
                  <a:pt x="238" y="156"/>
                  <a:pt x="250" y="162"/>
                  <a:pt x="261" y="171"/>
                </a:cubicBezTo>
                <a:cubicBezTo>
                  <a:pt x="261" y="171"/>
                  <a:pt x="261" y="171"/>
                  <a:pt x="261" y="171"/>
                </a:cubicBezTo>
                <a:cubicBezTo>
                  <a:pt x="261" y="171"/>
                  <a:pt x="261" y="171"/>
                  <a:pt x="261" y="171"/>
                </a:cubicBezTo>
                <a:cubicBezTo>
                  <a:pt x="263" y="173"/>
                  <a:pt x="266" y="174"/>
                  <a:pt x="268" y="174"/>
                </a:cubicBezTo>
                <a:cubicBezTo>
                  <a:pt x="269" y="174"/>
                  <a:pt x="331" y="174"/>
                  <a:pt x="332" y="174"/>
                </a:cubicBezTo>
                <a:cubicBezTo>
                  <a:pt x="337" y="173"/>
                  <a:pt x="342" y="169"/>
                  <a:pt x="344" y="164"/>
                </a:cubicBezTo>
                <a:cubicBezTo>
                  <a:pt x="344" y="164"/>
                  <a:pt x="344" y="164"/>
                  <a:pt x="344" y="164"/>
                </a:cubicBezTo>
                <a:cubicBezTo>
                  <a:pt x="346" y="156"/>
                  <a:pt x="348" y="151"/>
                  <a:pt x="349" y="147"/>
                </a:cubicBezTo>
                <a:cubicBezTo>
                  <a:pt x="366" y="147"/>
                  <a:pt x="366" y="147"/>
                  <a:pt x="366" y="147"/>
                </a:cubicBezTo>
                <a:cubicBezTo>
                  <a:pt x="371" y="156"/>
                  <a:pt x="379" y="179"/>
                  <a:pt x="379" y="233"/>
                </a:cubicBezTo>
                <a:cubicBezTo>
                  <a:pt x="379" y="287"/>
                  <a:pt x="371" y="311"/>
                  <a:pt x="366" y="319"/>
                </a:cubicBezTo>
                <a:cubicBezTo>
                  <a:pt x="349" y="319"/>
                  <a:pt x="349" y="319"/>
                  <a:pt x="349" y="319"/>
                </a:cubicBezTo>
                <a:cubicBezTo>
                  <a:pt x="348" y="316"/>
                  <a:pt x="346" y="311"/>
                  <a:pt x="344" y="303"/>
                </a:cubicBezTo>
                <a:cubicBezTo>
                  <a:pt x="344" y="303"/>
                  <a:pt x="344" y="303"/>
                  <a:pt x="344" y="302"/>
                </a:cubicBezTo>
                <a:cubicBezTo>
                  <a:pt x="342" y="297"/>
                  <a:pt x="337" y="293"/>
                  <a:pt x="331" y="293"/>
                </a:cubicBezTo>
                <a:cubicBezTo>
                  <a:pt x="331" y="293"/>
                  <a:pt x="331" y="293"/>
                  <a:pt x="331" y="293"/>
                </a:cubicBezTo>
                <a:cubicBezTo>
                  <a:pt x="123" y="293"/>
                  <a:pt x="123" y="293"/>
                  <a:pt x="123" y="293"/>
                </a:cubicBezTo>
                <a:cubicBezTo>
                  <a:pt x="116" y="293"/>
                  <a:pt x="110" y="299"/>
                  <a:pt x="110" y="306"/>
                </a:cubicBezTo>
                <a:cubicBezTo>
                  <a:pt x="110" y="314"/>
                  <a:pt x="116" y="320"/>
                  <a:pt x="123" y="320"/>
                </a:cubicBezTo>
                <a:cubicBezTo>
                  <a:pt x="320" y="320"/>
                  <a:pt x="320" y="320"/>
                  <a:pt x="320" y="320"/>
                </a:cubicBezTo>
                <a:cubicBezTo>
                  <a:pt x="325" y="334"/>
                  <a:pt x="331" y="341"/>
                  <a:pt x="333" y="343"/>
                </a:cubicBezTo>
                <a:cubicBezTo>
                  <a:pt x="333" y="343"/>
                  <a:pt x="333" y="343"/>
                  <a:pt x="333" y="343"/>
                </a:cubicBezTo>
                <a:cubicBezTo>
                  <a:pt x="336" y="345"/>
                  <a:pt x="339" y="346"/>
                  <a:pt x="342" y="346"/>
                </a:cubicBezTo>
                <a:cubicBezTo>
                  <a:pt x="374" y="346"/>
                  <a:pt x="374" y="346"/>
                  <a:pt x="374" y="346"/>
                </a:cubicBezTo>
                <a:cubicBezTo>
                  <a:pt x="377" y="346"/>
                  <a:pt x="380" y="345"/>
                  <a:pt x="383" y="343"/>
                </a:cubicBezTo>
                <a:cubicBezTo>
                  <a:pt x="386" y="339"/>
                  <a:pt x="406" y="318"/>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ubicBezTo>
                  <a:pt x="406" y="233"/>
                  <a:pt x="406" y="233"/>
                  <a:pt x="406" y="23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24" name="Freeform 632"/>
          <p:cNvSpPr>
            <a:spLocks/>
          </p:cNvSpPr>
          <p:nvPr userDrawn="1"/>
        </p:nvSpPr>
        <p:spPr bwMode="auto">
          <a:xfrm>
            <a:off x="8837701" y="2499745"/>
            <a:ext cx="282574" cy="284163"/>
          </a:xfrm>
          <a:custGeom>
            <a:avLst/>
            <a:gdLst/>
            <a:ahLst/>
            <a:cxnLst>
              <a:cxn ang="0">
                <a:pos x="112" y="242"/>
              </a:cxn>
              <a:cxn ang="0">
                <a:pos x="103" y="214"/>
              </a:cxn>
              <a:cxn ang="0">
                <a:pos x="103" y="214"/>
              </a:cxn>
              <a:cxn ang="0">
                <a:pos x="103" y="214"/>
              </a:cxn>
              <a:cxn ang="0">
                <a:pos x="98" y="138"/>
              </a:cxn>
              <a:cxn ang="0">
                <a:pos x="91" y="141"/>
              </a:cxn>
              <a:cxn ang="0">
                <a:pos x="82" y="142"/>
              </a:cxn>
              <a:cxn ang="0">
                <a:pos x="64" y="136"/>
              </a:cxn>
              <a:cxn ang="0">
                <a:pos x="52" y="118"/>
              </a:cxn>
              <a:cxn ang="0">
                <a:pos x="51" y="110"/>
              </a:cxn>
              <a:cxn ang="0">
                <a:pos x="69" y="80"/>
              </a:cxn>
              <a:cxn ang="0">
                <a:pos x="69" y="80"/>
              </a:cxn>
              <a:cxn ang="0">
                <a:pos x="134" y="45"/>
              </a:cxn>
              <a:cxn ang="0">
                <a:pos x="135" y="45"/>
              </a:cxn>
              <a:cxn ang="0">
                <a:pos x="144" y="43"/>
              </a:cxn>
              <a:cxn ang="0">
                <a:pos x="166" y="53"/>
              </a:cxn>
              <a:cxn ang="0">
                <a:pos x="174" y="76"/>
              </a:cxn>
              <a:cxn ang="0">
                <a:pos x="174" y="195"/>
              </a:cxn>
              <a:cxn ang="0">
                <a:pos x="164" y="205"/>
              </a:cxn>
              <a:cxn ang="0">
                <a:pos x="155" y="195"/>
              </a:cxn>
              <a:cxn ang="0">
                <a:pos x="155" y="76"/>
              </a:cxn>
              <a:cxn ang="0">
                <a:pos x="152" y="65"/>
              </a:cxn>
              <a:cxn ang="0">
                <a:pos x="144" y="62"/>
              </a:cxn>
              <a:cxn ang="0">
                <a:pos x="139" y="63"/>
              </a:cxn>
              <a:cxn ang="0">
                <a:pos x="117" y="73"/>
              </a:cxn>
              <a:cxn ang="0">
                <a:pos x="117" y="73"/>
              </a:cxn>
              <a:cxn ang="0">
                <a:pos x="78" y="96"/>
              </a:cxn>
              <a:cxn ang="0">
                <a:pos x="70" y="110"/>
              </a:cxn>
              <a:cxn ang="0">
                <a:pos x="70" y="114"/>
              </a:cxn>
              <a:cxn ang="0">
                <a:pos x="75" y="121"/>
              </a:cxn>
              <a:cxn ang="0">
                <a:pos x="82" y="124"/>
              </a:cxn>
              <a:cxn ang="0">
                <a:pos x="86" y="123"/>
              </a:cxn>
              <a:cxn ang="0">
                <a:pos x="90" y="122"/>
              </a:cxn>
              <a:cxn ang="0">
                <a:pos x="122" y="214"/>
              </a:cxn>
              <a:cxn ang="0">
                <a:pos x="122" y="214"/>
              </a:cxn>
              <a:cxn ang="0">
                <a:pos x="125" y="228"/>
              </a:cxn>
              <a:cxn ang="0">
                <a:pos x="130" y="232"/>
              </a:cxn>
              <a:cxn ang="0">
                <a:pos x="136" y="233"/>
              </a:cxn>
              <a:cxn ang="0">
                <a:pos x="141" y="233"/>
              </a:cxn>
              <a:cxn ang="0">
                <a:pos x="141" y="233"/>
              </a:cxn>
              <a:cxn ang="0">
                <a:pos x="207" y="199"/>
              </a:cxn>
              <a:cxn ang="0">
                <a:pos x="232" y="127"/>
              </a:cxn>
              <a:cxn ang="0">
                <a:pos x="203" y="49"/>
              </a:cxn>
              <a:cxn ang="0">
                <a:pos x="126" y="19"/>
              </a:cxn>
              <a:cxn ang="0">
                <a:pos x="48" y="49"/>
              </a:cxn>
              <a:cxn ang="0">
                <a:pos x="19" y="126"/>
              </a:cxn>
              <a:cxn ang="0">
                <a:pos x="77" y="224"/>
              </a:cxn>
              <a:cxn ang="0">
                <a:pos x="82" y="236"/>
              </a:cxn>
              <a:cxn ang="0">
                <a:pos x="69" y="241"/>
              </a:cxn>
              <a:cxn ang="0">
                <a:pos x="0" y="126"/>
              </a:cxn>
              <a:cxn ang="0">
                <a:pos x="35" y="36"/>
              </a:cxn>
              <a:cxn ang="0">
                <a:pos x="126" y="0"/>
              </a:cxn>
              <a:cxn ang="0">
                <a:pos x="216" y="36"/>
              </a:cxn>
              <a:cxn ang="0">
                <a:pos x="251" y="127"/>
              </a:cxn>
              <a:cxn ang="0">
                <a:pos x="221" y="211"/>
              </a:cxn>
              <a:cxn ang="0">
                <a:pos x="144" y="251"/>
              </a:cxn>
              <a:cxn ang="0">
                <a:pos x="143" y="251"/>
              </a:cxn>
              <a:cxn ang="0">
                <a:pos x="136" y="252"/>
              </a:cxn>
              <a:cxn ang="0">
                <a:pos x="123" y="250"/>
              </a:cxn>
            </a:cxnLst>
            <a:rect l="0" t="0" r="r" b="b"/>
            <a:pathLst>
              <a:path w="251" h="252">
                <a:moveTo>
                  <a:pt x="123" y="250"/>
                </a:moveTo>
                <a:cubicBezTo>
                  <a:pt x="119" y="248"/>
                  <a:pt x="115" y="246"/>
                  <a:pt x="112" y="242"/>
                </a:cubicBezTo>
                <a:cubicBezTo>
                  <a:pt x="112" y="242"/>
                  <a:pt x="112" y="242"/>
                  <a:pt x="112" y="242"/>
                </a:cubicBezTo>
                <a:cubicBezTo>
                  <a:pt x="106" y="235"/>
                  <a:pt x="103" y="226"/>
                  <a:pt x="103" y="214"/>
                </a:cubicBezTo>
                <a:cubicBezTo>
                  <a:pt x="103" y="214"/>
                  <a:pt x="103" y="214"/>
                  <a:pt x="103" y="214"/>
                </a:cubicBezTo>
                <a:cubicBezTo>
                  <a:pt x="103" y="214"/>
                  <a:pt x="103" y="214"/>
                  <a:pt x="103" y="214"/>
                </a:cubicBezTo>
                <a:cubicBezTo>
                  <a:pt x="103" y="214"/>
                  <a:pt x="103" y="214"/>
                  <a:pt x="103" y="214"/>
                </a:cubicBezTo>
                <a:cubicBezTo>
                  <a:pt x="103" y="214"/>
                  <a:pt x="103" y="214"/>
                  <a:pt x="103" y="214"/>
                </a:cubicBezTo>
                <a:cubicBezTo>
                  <a:pt x="103" y="135"/>
                  <a:pt x="103" y="135"/>
                  <a:pt x="103" y="135"/>
                </a:cubicBezTo>
                <a:cubicBezTo>
                  <a:pt x="98" y="138"/>
                  <a:pt x="98" y="138"/>
                  <a:pt x="98" y="138"/>
                </a:cubicBezTo>
                <a:cubicBezTo>
                  <a:pt x="98" y="138"/>
                  <a:pt x="98" y="138"/>
                  <a:pt x="98" y="138"/>
                </a:cubicBezTo>
                <a:cubicBezTo>
                  <a:pt x="96" y="139"/>
                  <a:pt x="94" y="140"/>
                  <a:pt x="91" y="141"/>
                </a:cubicBezTo>
                <a:cubicBezTo>
                  <a:pt x="91" y="141"/>
                  <a:pt x="91" y="141"/>
                  <a:pt x="91" y="141"/>
                </a:cubicBezTo>
                <a:cubicBezTo>
                  <a:pt x="88" y="142"/>
                  <a:pt x="85" y="142"/>
                  <a:pt x="82" y="142"/>
                </a:cubicBezTo>
                <a:cubicBezTo>
                  <a:pt x="82" y="142"/>
                  <a:pt x="82" y="142"/>
                  <a:pt x="82" y="142"/>
                </a:cubicBezTo>
                <a:cubicBezTo>
                  <a:pt x="76" y="142"/>
                  <a:pt x="69" y="140"/>
                  <a:pt x="64" y="136"/>
                </a:cubicBezTo>
                <a:cubicBezTo>
                  <a:pt x="64" y="136"/>
                  <a:pt x="64" y="136"/>
                  <a:pt x="64" y="136"/>
                </a:cubicBezTo>
                <a:cubicBezTo>
                  <a:pt x="59" y="132"/>
                  <a:pt x="54" y="126"/>
                  <a:pt x="52" y="118"/>
                </a:cubicBezTo>
                <a:cubicBezTo>
                  <a:pt x="52" y="118"/>
                  <a:pt x="52" y="118"/>
                  <a:pt x="52" y="118"/>
                </a:cubicBezTo>
                <a:cubicBezTo>
                  <a:pt x="52" y="116"/>
                  <a:pt x="51" y="113"/>
                  <a:pt x="51" y="110"/>
                </a:cubicBezTo>
                <a:cubicBezTo>
                  <a:pt x="51" y="110"/>
                  <a:pt x="51" y="110"/>
                  <a:pt x="51" y="110"/>
                </a:cubicBezTo>
                <a:cubicBezTo>
                  <a:pt x="51" y="98"/>
                  <a:pt x="57" y="86"/>
                  <a:pt x="69" y="80"/>
                </a:cubicBezTo>
                <a:cubicBezTo>
                  <a:pt x="69" y="80"/>
                  <a:pt x="69" y="80"/>
                  <a:pt x="69" y="80"/>
                </a:cubicBezTo>
                <a:cubicBezTo>
                  <a:pt x="69" y="80"/>
                  <a:pt x="69" y="80"/>
                  <a:pt x="69" y="80"/>
                </a:cubicBezTo>
                <a:cubicBezTo>
                  <a:pt x="107" y="57"/>
                  <a:pt x="107" y="57"/>
                  <a:pt x="107" y="57"/>
                </a:cubicBezTo>
                <a:cubicBezTo>
                  <a:pt x="117" y="51"/>
                  <a:pt x="126" y="47"/>
                  <a:pt x="134" y="45"/>
                </a:cubicBezTo>
                <a:cubicBezTo>
                  <a:pt x="134" y="45"/>
                  <a:pt x="134" y="45"/>
                  <a:pt x="134" y="45"/>
                </a:cubicBezTo>
                <a:cubicBezTo>
                  <a:pt x="135" y="45"/>
                  <a:pt x="135" y="45"/>
                  <a:pt x="135" y="45"/>
                </a:cubicBezTo>
                <a:cubicBezTo>
                  <a:pt x="138" y="44"/>
                  <a:pt x="141" y="43"/>
                  <a:pt x="144" y="43"/>
                </a:cubicBezTo>
                <a:cubicBezTo>
                  <a:pt x="144" y="43"/>
                  <a:pt x="144" y="43"/>
                  <a:pt x="144" y="43"/>
                </a:cubicBezTo>
                <a:cubicBezTo>
                  <a:pt x="153" y="43"/>
                  <a:pt x="161" y="47"/>
                  <a:pt x="166" y="53"/>
                </a:cubicBezTo>
                <a:cubicBezTo>
                  <a:pt x="166" y="53"/>
                  <a:pt x="166" y="53"/>
                  <a:pt x="166" y="53"/>
                </a:cubicBezTo>
                <a:cubicBezTo>
                  <a:pt x="171" y="59"/>
                  <a:pt x="174" y="67"/>
                  <a:pt x="174" y="76"/>
                </a:cubicBezTo>
                <a:cubicBezTo>
                  <a:pt x="174" y="76"/>
                  <a:pt x="174" y="76"/>
                  <a:pt x="174" y="76"/>
                </a:cubicBezTo>
                <a:cubicBezTo>
                  <a:pt x="174" y="76"/>
                  <a:pt x="174" y="76"/>
                  <a:pt x="174" y="76"/>
                </a:cubicBezTo>
                <a:cubicBezTo>
                  <a:pt x="174" y="195"/>
                  <a:pt x="174" y="195"/>
                  <a:pt x="174" y="195"/>
                </a:cubicBezTo>
                <a:cubicBezTo>
                  <a:pt x="174" y="200"/>
                  <a:pt x="170" y="205"/>
                  <a:pt x="164" y="205"/>
                </a:cubicBezTo>
                <a:cubicBezTo>
                  <a:pt x="164" y="205"/>
                  <a:pt x="164" y="205"/>
                  <a:pt x="164" y="205"/>
                </a:cubicBezTo>
                <a:cubicBezTo>
                  <a:pt x="159" y="205"/>
                  <a:pt x="155" y="200"/>
                  <a:pt x="155" y="195"/>
                </a:cubicBezTo>
                <a:cubicBezTo>
                  <a:pt x="155" y="195"/>
                  <a:pt x="155" y="195"/>
                  <a:pt x="155" y="195"/>
                </a:cubicBezTo>
                <a:cubicBezTo>
                  <a:pt x="155" y="76"/>
                  <a:pt x="155" y="76"/>
                  <a:pt x="155" y="76"/>
                </a:cubicBezTo>
                <a:cubicBezTo>
                  <a:pt x="155" y="76"/>
                  <a:pt x="155" y="76"/>
                  <a:pt x="155" y="76"/>
                </a:cubicBezTo>
                <a:cubicBezTo>
                  <a:pt x="155" y="71"/>
                  <a:pt x="153" y="67"/>
                  <a:pt x="152" y="65"/>
                </a:cubicBezTo>
                <a:cubicBezTo>
                  <a:pt x="152" y="65"/>
                  <a:pt x="152" y="65"/>
                  <a:pt x="152" y="65"/>
                </a:cubicBezTo>
                <a:cubicBezTo>
                  <a:pt x="150" y="63"/>
                  <a:pt x="148" y="62"/>
                  <a:pt x="144" y="62"/>
                </a:cubicBezTo>
                <a:cubicBezTo>
                  <a:pt x="144" y="62"/>
                  <a:pt x="144" y="62"/>
                  <a:pt x="144" y="62"/>
                </a:cubicBezTo>
                <a:cubicBezTo>
                  <a:pt x="143" y="62"/>
                  <a:pt x="141" y="62"/>
                  <a:pt x="139" y="63"/>
                </a:cubicBezTo>
                <a:cubicBezTo>
                  <a:pt x="139" y="63"/>
                  <a:pt x="139" y="63"/>
                  <a:pt x="139" y="63"/>
                </a:cubicBezTo>
                <a:cubicBezTo>
                  <a:pt x="139" y="63"/>
                  <a:pt x="139" y="63"/>
                  <a:pt x="139" y="63"/>
                </a:cubicBezTo>
                <a:cubicBezTo>
                  <a:pt x="133" y="64"/>
                  <a:pt x="126" y="68"/>
                  <a:pt x="117" y="73"/>
                </a:cubicBezTo>
                <a:cubicBezTo>
                  <a:pt x="117" y="73"/>
                  <a:pt x="117" y="73"/>
                  <a:pt x="117" y="73"/>
                </a:cubicBezTo>
                <a:cubicBezTo>
                  <a:pt x="117" y="73"/>
                  <a:pt x="117" y="73"/>
                  <a:pt x="117" y="73"/>
                </a:cubicBezTo>
                <a:cubicBezTo>
                  <a:pt x="78" y="96"/>
                  <a:pt x="78" y="96"/>
                  <a:pt x="78" y="96"/>
                </a:cubicBezTo>
                <a:cubicBezTo>
                  <a:pt x="78" y="96"/>
                  <a:pt x="78" y="96"/>
                  <a:pt x="78" y="96"/>
                </a:cubicBezTo>
                <a:cubicBezTo>
                  <a:pt x="73" y="99"/>
                  <a:pt x="70" y="104"/>
                  <a:pt x="70" y="110"/>
                </a:cubicBezTo>
                <a:cubicBezTo>
                  <a:pt x="70" y="110"/>
                  <a:pt x="70" y="110"/>
                  <a:pt x="70" y="110"/>
                </a:cubicBezTo>
                <a:cubicBezTo>
                  <a:pt x="70" y="111"/>
                  <a:pt x="70" y="112"/>
                  <a:pt x="70" y="114"/>
                </a:cubicBezTo>
                <a:cubicBezTo>
                  <a:pt x="70" y="114"/>
                  <a:pt x="70" y="114"/>
                  <a:pt x="70" y="114"/>
                </a:cubicBezTo>
                <a:cubicBezTo>
                  <a:pt x="72" y="118"/>
                  <a:pt x="73" y="120"/>
                  <a:pt x="75" y="121"/>
                </a:cubicBezTo>
                <a:cubicBezTo>
                  <a:pt x="75" y="121"/>
                  <a:pt x="75" y="121"/>
                  <a:pt x="75" y="121"/>
                </a:cubicBezTo>
                <a:cubicBezTo>
                  <a:pt x="77" y="123"/>
                  <a:pt x="79" y="124"/>
                  <a:pt x="82" y="124"/>
                </a:cubicBezTo>
                <a:cubicBezTo>
                  <a:pt x="82" y="124"/>
                  <a:pt x="82" y="124"/>
                  <a:pt x="82" y="124"/>
                </a:cubicBezTo>
                <a:cubicBezTo>
                  <a:pt x="83" y="124"/>
                  <a:pt x="85" y="124"/>
                  <a:pt x="86" y="123"/>
                </a:cubicBezTo>
                <a:cubicBezTo>
                  <a:pt x="86" y="123"/>
                  <a:pt x="86" y="123"/>
                  <a:pt x="86" y="123"/>
                </a:cubicBezTo>
                <a:cubicBezTo>
                  <a:pt x="86" y="123"/>
                  <a:pt x="88" y="122"/>
                  <a:pt x="90" y="122"/>
                </a:cubicBezTo>
                <a:cubicBezTo>
                  <a:pt x="90" y="122"/>
                  <a:pt x="90" y="122"/>
                  <a:pt x="90" y="122"/>
                </a:cubicBezTo>
                <a:cubicBezTo>
                  <a:pt x="122" y="104"/>
                  <a:pt x="122" y="104"/>
                  <a:pt x="122" y="104"/>
                </a:cubicBezTo>
                <a:cubicBezTo>
                  <a:pt x="122" y="214"/>
                  <a:pt x="122" y="214"/>
                  <a:pt x="122" y="214"/>
                </a:cubicBezTo>
                <a:cubicBezTo>
                  <a:pt x="122" y="214"/>
                  <a:pt x="122" y="214"/>
                  <a:pt x="122" y="214"/>
                </a:cubicBezTo>
                <a:cubicBezTo>
                  <a:pt x="122" y="214"/>
                  <a:pt x="122" y="214"/>
                  <a:pt x="122" y="214"/>
                </a:cubicBezTo>
                <a:cubicBezTo>
                  <a:pt x="122" y="221"/>
                  <a:pt x="123" y="225"/>
                  <a:pt x="125" y="228"/>
                </a:cubicBezTo>
                <a:cubicBezTo>
                  <a:pt x="125" y="228"/>
                  <a:pt x="125" y="228"/>
                  <a:pt x="125" y="228"/>
                </a:cubicBezTo>
                <a:cubicBezTo>
                  <a:pt x="126" y="230"/>
                  <a:pt x="127" y="231"/>
                  <a:pt x="130" y="232"/>
                </a:cubicBezTo>
                <a:cubicBezTo>
                  <a:pt x="130" y="232"/>
                  <a:pt x="130" y="232"/>
                  <a:pt x="130" y="232"/>
                </a:cubicBezTo>
                <a:cubicBezTo>
                  <a:pt x="131" y="233"/>
                  <a:pt x="133" y="233"/>
                  <a:pt x="136" y="233"/>
                </a:cubicBezTo>
                <a:cubicBezTo>
                  <a:pt x="136" y="233"/>
                  <a:pt x="136" y="233"/>
                  <a:pt x="136" y="233"/>
                </a:cubicBezTo>
                <a:cubicBezTo>
                  <a:pt x="138" y="233"/>
                  <a:pt x="139" y="233"/>
                  <a:pt x="141" y="233"/>
                </a:cubicBezTo>
                <a:cubicBezTo>
                  <a:pt x="141" y="233"/>
                  <a:pt x="141" y="233"/>
                  <a:pt x="141" y="233"/>
                </a:cubicBezTo>
                <a:cubicBezTo>
                  <a:pt x="141" y="233"/>
                  <a:pt x="141" y="233"/>
                  <a:pt x="141" y="233"/>
                </a:cubicBezTo>
                <a:cubicBezTo>
                  <a:pt x="141" y="233"/>
                  <a:pt x="141" y="233"/>
                  <a:pt x="141" y="233"/>
                </a:cubicBezTo>
                <a:cubicBezTo>
                  <a:pt x="169" y="229"/>
                  <a:pt x="191" y="217"/>
                  <a:pt x="207" y="199"/>
                </a:cubicBezTo>
                <a:cubicBezTo>
                  <a:pt x="207" y="199"/>
                  <a:pt x="207" y="199"/>
                  <a:pt x="207" y="199"/>
                </a:cubicBezTo>
                <a:cubicBezTo>
                  <a:pt x="223" y="181"/>
                  <a:pt x="232" y="156"/>
                  <a:pt x="232" y="127"/>
                </a:cubicBezTo>
                <a:cubicBezTo>
                  <a:pt x="232" y="127"/>
                  <a:pt x="232" y="127"/>
                  <a:pt x="232" y="127"/>
                </a:cubicBezTo>
                <a:cubicBezTo>
                  <a:pt x="232" y="95"/>
                  <a:pt x="221" y="68"/>
                  <a:pt x="203" y="49"/>
                </a:cubicBezTo>
                <a:cubicBezTo>
                  <a:pt x="203" y="49"/>
                  <a:pt x="203" y="49"/>
                  <a:pt x="203" y="49"/>
                </a:cubicBezTo>
                <a:cubicBezTo>
                  <a:pt x="184" y="30"/>
                  <a:pt x="158" y="19"/>
                  <a:pt x="126" y="19"/>
                </a:cubicBezTo>
                <a:cubicBezTo>
                  <a:pt x="126" y="19"/>
                  <a:pt x="126" y="19"/>
                  <a:pt x="126" y="19"/>
                </a:cubicBezTo>
                <a:cubicBezTo>
                  <a:pt x="94" y="19"/>
                  <a:pt x="67" y="30"/>
                  <a:pt x="48" y="49"/>
                </a:cubicBezTo>
                <a:cubicBezTo>
                  <a:pt x="48" y="49"/>
                  <a:pt x="48" y="49"/>
                  <a:pt x="48" y="49"/>
                </a:cubicBezTo>
                <a:cubicBezTo>
                  <a:pt x="30" y="68"/>
                  <a:pt x="19" y="94"/>
                  <a:pt x="19" y="126"/>
                </a:cubicBezTo>
                <a:cubicBezTo>
                  <a:pt x="19" y="126"/>
                  <a:pt x="19" y="126"/>
                  <a:pt x="19" y="126"/>
                </a:cubicBezTo>
                <a:cubicBezTo>
                  <a:pt x="19" y="172"/>
                  <a:pt x="41" y="207"/>
                  <a:pt x="77" y="224"/>
                </a:cubicBezTo>
                <a:cubicBezTo>
                  <a:pt x="77" y="224"/>
                  <a:pt x="77" y="224"/>
                  <a:pt x="77" y="224"/>
                </a:cubicBezTo>
                <a:cubicBezTo>
                  <a:pt x="77" y="224"/>
                  <a:pt x="77" y="224"/>
                  <a:pt x="77" y="224"/>
                </a:cubicBezTo>
                <a:cubicBezTo>
                  <a:pt x="82" y="226"/>
                  <a:pt x="84" y="231"/>
                  <a:pt x="82" y="236"/>
                </a:cubicBezTo>
                <a:cubicBezTo>
                  <a:pt x="82" y="236"/>
                  <a:pt x="82" y="236"/>
                  <a:pt x="82" y="236"/>
                </a:cubicBezTo>
                <a:cubicBezTo>
                  <a:pt x="80" y="241"/>
                  <a:pt x="74" y="243"/>
                  <a:pt x="69" y="241"/>
                </a:cubicBezTo>
                <a:cubicBezTo>
                  <a:pt x="69" y="241"/>
                  <a:pt x="69" y="241"/>
                  <a:pt x="69" y="241"/>
                </a:cubicBezTo>
                <a:cubicBezTo>
                  <a:pt x="27" y="221"/>
                  <a:pt x="0" y="178"/>
                  <a:pt x="0" y="126"/>
                </a:cubicBezTo>
                <a:cubicBezTo>
                  <a:pt x="0" y="126"/>
                  <a:pt x="0" y="126"/>
                  <a:pt x="0" y="126"/>
                </a:cubicBezTo>
                <a:cubicBezTo>
                  <a:pt x="0" y="90"/>
                  <a:pt x="13" y="58"/>
                  <a:pt x="35" y="36"/>
                </a:cubicBezTo>
                <a:cubicBezTo>
                  <a:pt x="35" y="36"/>
                  <a:pt x="35" y="36"/>
                  <a:pt x="35" y="36"/>
                </a:cubicBezTo>
                <a:cubicBezTo>
                  <a:pt x="58" y="13"/>
                  <a:pt x="89" y="0"/>
                  <a:pt x="126" y="0"/>
                </a:cubicBezTo>
                <a:cubicBezTo>
                  <a:pt x="126" y="0"/>
                  <a:pt x="126" y="0"/>
                  <a:pt x="126" y="0"/>
                </a:cubicBezTo>
                <a:cubicBezTo>
                  <a:pt x="162" y="0"/>
                  <a:pt x="194" y="14"/>
                  <a:pt x="216" y="36"/>
                </a:cubicBezTo>
                <a:cubicBezTo>
                  <a:pt x="216" y="36"/>
                  <a:pt x="216" y="36"/>
                  <a:pt x="216" y="36"/>
                </a:cubicBezTo>
                <a:cubicBezTo>
                  <a:pt x="238" y="59"/>
                  <a:pt x="251" y="91"/>
                  <a:pt x="251" y="127"/>
                </a:cubicBezTo>
                <a:cubicBezTo>
                  <a:pt x="251" y="127"/>
                  <a:pt x="251" y="127"/>
                  <a:pt x="251" y="127"/>
                </a:cubicBezTo>
                <a:cubicBezTo>
                  <a:pt x="251" y="160"/>
                  <a:pt x="240" y="189"/>
                  <a:pt x="221" y="211"/>
                </a:cubicBezTo>
                <a:cubicBezTo>
                  <a:pt x="221" y="211"/>
                  <a:pt x="221" y="211"/>
                  <a:pt x="221" y="211"/>
                </a:cubicBezTo>
                <a:cubicBezTo>
                  <a:pt x="202" y="233"/>
                  <a:pt x="175" y="247"/>
                  <a:pt x="144" y="251"/>
                </a:cubicBezTo>
                <a:cubicBezTo>
                  <a:pt x="144" y="251"/>
                  <a:pt x="144" y="251"/>
                  <a:pt x="144" y="251"/>
                </a:cubicBezTo>
                <a:cubicBezTo>
                  <a:pt x="143" y="251"/>
                  <a:pt x="143" y="251"/>
                  <a:pt x="143" y="251"/>
                </a:cubicBezTo>
                <a:cubicBezTo>
                  <a:pt x="143" y="251"/>
                  <a:pt x="143" y="251"/>
                  <a:pt x="143" y="251"/>
                </a:cubicBezTo>
                <a:cubicBezTo>
                  <a:pt x="141" y="252"/>
                  <a:pt x="138" y="252"/>
                  <a:pt x="136" y="252"/>
                </a:cubicBezTo>
                <a:cubicBezTo>
                  <a:pt x="136" y="252"/>
                  <a:pt x="136" y="252"/>
                  <a:pt x="136" y="252"/>
                </a:cubicBezTo>
                <a:cubicBezTo>
                  <a:pt x="132" y="252"/>
                  <a:pt x="127" y="251"/>
                  <a:pt x="123" y="25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25" name="Freeform 640"/>
          <p:cNvSpPr>
            <a:spLocks noEditPoints="1"/>
          </p:cNvSpPr>
          <p:nvPr userDrawn="1"/>
        </p:nvSpPr>
        <p:spPr bwMode="auto">
          <a:xfrm>
            <a:off x="8838492" y="1818389"/>
            <a:ext cx="280988" cy="371475"/>
          </a:xfrm>
          <a:custGeom>
            <a:avLst/>
            <a:gdLst/>
            <a:ahLst/>
            <a:cxnLst>
              <a:cxn ang="0">
                <a:pos x="247" y="39"/>
              </a:cxn>
              <a:cxn ang="0">
                <a:pos x="236" y="28"/>
              </a:cxn>
              <a:cxn ang="0">
                <a:pos x="223" y="35"/>
              </a:cxn>
              <a:cxn ang="0">
                <a:pos x="223" y="35"/>
              </a:cxn>
              <a:cxn ang="0">
                <a:pos x="222" y="36"/>
              </a:cxn>
              <a:cxn ang="0">
                <a:pos x="125" y="53"/>
              </a:cxn>
              <a:cxn ang="0">
                <a:pos x="29" y="39"/>
              </a:cxn>
              <a:cxn ang="0">
                <a:pos x="123" y="25"/>
              </a:cxn>
              <a:cxn ang="0">
                <a:pos x="136" y="12"/>
              </a:cxn>
              <a:cxn ang="0">
                <a:pos x="123" y="0"/>
              </a:cxn>
              <a:cxn ang="0">
                <a:pos x="42" y="8"/>
              </a:cxn>
              <a:cxn ang="0">
                <a:pos x="0" y="39"/>
              </a:cxn>
              <a:cxn ang="0">
                <a:pos x="42" y="70"/>
              </a:cxn>
              <a:cxn ang="0">
                <a:pos x="125" y="78"/>
              </a:cxn>
              <a:cxn ang="0">
                <a:pos x="219" y="66"/>
              </a:cxn>
              <a:cxn ang="0">
                <a:pos x="213" y="126"/>
              </a:cxn>
              <a:cxn ang="0">
                <a:pos x="197" y="121"/>
              </a:cxn>
              <a:cxn ang="0">
                <a:pos x="123" y="113"/>
              </a:cxn>
              <a:cxn ang="0">
                <a:pos x="50" y="121"/>
              </a:cxn>
              <a:cxn ang="0">
                <a:pos x="34" y="126"/>
              </a:cxn>
              <a:cxn ang="0">
                <a:pos x="32" y="106"/>
              </a:cxn>
              <a:cxn ang="0">
                <a:pos x="18" y="94"/>
              </a:cxn>
              <a:cxn ang="0">
                <a:pos x="7" y="108"/>
              </a:cxn>
              <a:cxn ang="0">
                <a:pos x="22" y="291"/>
              </a:cxn>
              <a:cxn ang="0">
                <a:pos x="123" y="329"/>
              </a:cxn>
              <a:cxn ang="0">
                <a:pos x="223" y="291"/>
              </a:cxn>
              <a:cxn ang="0">
                <a:pos x="247" y="42"/>
              </a:cxn>
              <a:cxn ang="0">
                <a:pos x="247" y="39"/>
              </a:cxn>
              <a:cxn ang="0">
                <a:pos x="123" y="139"/>
              </a:cxn>
              <a:cxn ang="0">
                <a:pos x="206" y="151"/>
              </a:cxn>
              <a:cxn ang="0">
                <a:pos x="124" y="163"/>
              </a:cxn>
              <a:cxn ang="0">
                <a:pos x="41" y="150"/>
              </a:cxn>
              <a:cxn ang="0">
                <a:pos x="123" y="139"/>
              </a:cxn>
              <a:cxn ang="0">
                <a:pos x="123" y="304"/>
              </a:cxn>
              <a:cxn ang="0">
                <a:pos x="47" y="289"/>
              </a:cxn>
              <a:cxn ang="0">
                <a:pos x="38" y="177"/>
              </a:cxn>
              <a:cxn ang="0">
                <a:pos x="124" y="188"/>
              </a:cxn>
              <a:cxn ang="0">
                <a:pos x="209" y="177"/>
              </a:cxn>
              <a:cxn ang="0">
                <a:pos x="198" y="289"/>
              </a:cxn>
              <a:cxn ang="0">
                <a:pos x="123" y="304"/>
              </a:cxn>
            </a:cxnLst>
            <a:rect l="0" t="0" r="r" b="b"/>
            <a:pathLst>
              <a:path w="247" h="329">
                <a:moveTo>
                  <a:pt x="247" y="39"/>
                </a:moveTo>
                <a:cubicBezTo>
                  <a:pt x="246" y="33"/>
                  <a:pt x="242" y="28"/>
                  <a:pt x="236" y="28"/>
                </a:cubicBezTo>
                <a:cubicBezTo>
                  <a:pt x="230" y="27"/>
                  <a:pt x="225" y="30"/>
                  <a:pt x="223" y="35"/>
                </a:cubicBezTo>
                <a:cubicBezTo>
                  <a:pt x="223" y="35"/>
                  <a:pt x="223" y="35"/>
                  <a:pt x="223" y="35"/>
                </a:cubicBezTo>
                <a:cubicBezTo>
                  <a:pt x="222" y="36"/>
                  <a:pt x="222" y="36"/>
                  <a:pt x="222" y="36"/>
                </a:cubicBezTo>
                <a:cubicBezTo>
                  <a:pt x="216" y="42"/>
                  <a:pt x="182" y="53"/>
                  <a:pt x="125" y="53"/>
                </a:cubicBezTo>
                <a:cubicBezTo>
                  <a:pt x="76" y="53"/>
                  <a:pt x="41" y="45"/>
                  <a:pt x="29" y="39"/>
                </a:cubicBezTo>
                <a:cubicBezTo>
                  <a:pt x="40" y="33"/>
                  <a:pt x="73" y="25"/>
                  <a:pt x="123" y="25"/>
                </a:cubicBezTo>
                <a:cubicBezTo>
                  <a:pt x="130" y="25"/>
                  <a:pt x="136" y="19"/>
                  <a:pt x="136" y="12"/>
                </a:cubicBezTo>
                <a:cubicBezTo>
                  <a:pt x="136" y="5"/>
                  <a:pt x="130" y="0"/>
                  <a:pt x="123" y="0"/>
                </a:cubicBezTo>
                <a:cubicBezTo>
                  <a:pt x="93" y="0"/>
                  <a:pt x="64" y="3"/>
                  <a:pt x="42" y="8"/>
                </a:cubicBezTo>
                <a:cubicBezTo>
                  <a:pt x="31" y="10"/>
                  <a:pt x="0" y="18"/>
                  <a:pt x="0" y="39"/>
                </a:cubicBezTo>
                <a:cubicBezTo>
                  <a:pt x="0" y="60"/>
                  <a:pt x="32" y="67"/>
                  <a:pt x="42" y="70"/>
                </a:cubicBezTo>
                <a:cubicBezTo>
                  <a:pt x="65" y="75"/>
                  <a:pt x="94" y="78"/>
                  <a:pt x="125" y="78"/>
                </a:cubicBezTo>
                <a:cubicBezTo>
                  <a:pt x="138" y="78"/>
                  <a:pt x="187" y="77"/>
                  <a:pt x="219" y="66"/>
                </a:cubicBezTo>
                <a:cubicBezTo>
                  <a:pt x="218" y="82"/>
                  <a:pt x="216" y="103"/>
                  <a:pt x="213" y="126"/>
                </a:cubicBezTo>
                <a:cubicBezTo>
                  <a:pt x="207" y="123"/>
                  <a:pt x="200" y="122"/>
                  <a:pt x="197" y="121"/>
                </a:cubicBezTo>
                <a:cubicBezTo>
                  <a:pt x="177" y="116"/>
                  <a:pt x="151" y="113"/>
                  <a:pt x="123" y="113"/>
                </a:cubicBezTo>
                <a:cubicBezTo>
                  <a:pt x="96" y="113"/>
                  <a:pt x="70" y="116"/>
                  <a:pt x="50" y="121"/>
                </a:cubicBezTo>
                <a:cubicBezTo>
                  <a:pt x="47" y="122"/>
                  <a:pt x="40" y="123"/>
                  <a:pt x="34" y="126"/>
                </a:cubicBezTo>
                <a:cubicBezTo>
                  <a:pt x="33" y="114"/>
                  <a:pt x="32" y="106"/>
                  <a:pt x="32" y="106"/>
                </a:cubicBezTo>
                <a:cubicBezTo>
                  <a:pt x="31" y="99"/>
                  <a:pt x="25" y="94"/>
                  <a:pt x="18" y="94"/>
                </a:cubicBezTo>
                <a:cubicBezTo>
                  <a:pt x="11" y="95"/>
                  <a:pt x="6" y="101"/>
                  <a:pt x="7" y="108"/>
                </a:cubicBezTo>
                <a:cubicBezTo>
                  <a:pt x="22" y="291"/>
                  <a:pt x="22" y="291"/>
                  <a:pt x="22" y="291"/>
                </a:cubicBezTo>
                <a:cubicBezTo>
                  <a:pt x="23" y="319"/>
                  <a:pt x="77" y="329"/>
                  <a:pt x="123" y="329"/>
                </a:cubicBezTo>
                <a:cubicBezTo>
                  <a:pt x="168" y="329"/>
                  <a:pt x="222" y="319"/>
                  <a:pt x="223" y="291"/>
                </a:cubicBezTo>
                <a:cubicBezTo>
                  <a:pt x="247" y="42"/>
                  <a:pt x="247" y="42"/>
                  <a:pt x="247" y="42"/>
                </a:cubicBezTo>
                <a:cubicBezTo>
                  <a:pt x="247" y="41"/>
                  <a:pt x="247" y="40"/>
                  <a:pt x="247" y="39"/>
                </a:cubicBezTo>
                <a:close/>
                <a:moveTo>
                  <a:pt x="123" y="139"/>
                </a:moveTo>
                <a:cubicBezTo>
                  <a:pt x="166" y="139"/>
                  <a:pt x="195" y="145"/>
                  <a:pt x="206" y="151"/>
                </a:cubicBezTo>
                <a:cubicBezTo>
                  <a:pt x="195" y="156"/>
                  <a:pt x="167" y="163"/>
                  <a:pt x="124" y="163"/>
                </a:cubicBezTo>
                <a:cubicBezTo>
                  <a:pt x="81" y="163"/>
                  <a:pt x="52" y="156"/>
                  <a:pt x="41" y="150"/>
                </a:cubicBezTo>
                <a:cubicBezTo>
                  <a:pt x="52" y="145"/>
                  <a:pt x="81" y="139"/>
                  <a:pt x="123" y="139"/>
                </a:cubicBezTo>
                <a:close/>
                <a:moveTo>
                  <a:pt x="123" y="304"/>
                </a:moveTo>
                <a:cubicBezTo>
                  <a:pt x="77" y="304"/>
                  <a:pt x="51" y="293"/>
                  <a:pt x="47" y="289"/>
                </a:cubicBezTo>
                <a:cubicBezTo>
                  <a:pt x="47" y="288"/>
                  <a:pt x="42" y="228"/>
                  <a:pt x="38" y="177"/>
                </a:cubicBezTo>
                <a:cubicBezTo>
                  <a:pt x="67" y="187"/>
                  <a:pt x="112" y="188"/>
                  <a:pt x="124" y="188"/>
                </a:cubicBezTo>
                <a:cubicBezTo>
                  <a:pt x="136" y="188"/>
                  <a:pt x="180" y="187"/>
                  <a:pt x="209" y="177"/>
                </a:cubicBezTo>
                <a:cubicBezTo>
                  <a:pt x="203" y="235"/>
                  <a:pt x="198" y="288"/>
                  <a:pt x="198" y="289"/>
                </a:cubicBezTo>
                <a:cubicBezTo>
                  <a:pt x="194" y="293"/>
                  <a:pt x="168" y="304"/>
                  <a:pt x="123" y="30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grpSp>
        <p:nvGrpSpPr>
          <p:cNvPr id="82" name="Group 413"/>
          <p:cNvGrpSpPr>
            <a:grpSpLocks noChangeAspect="1"/>
          </p:cNvGrpSpPr>
          <p:nvPr userDrawn="1"/>
        </p:nvGrpSpPr>
        <p:grpSpPr bwMode="auto">
          <a:xfrm>
            <a:off x="9352800" y="4510385"/>
            <a:ext cx="457200" cy="301625"/>
            <a:chOff x="4193" y="3192"/>
            <a:chExt cx="288" cy="190"/>
          </a:xfrm>
          <a:noFill/>
        </p:grpSpPr>
        <p:sp>
          <p:nvSpPr>
            <p:cNvPr id="127" name="Freeform 414"/>
            <p:cNvSpPr>
              <a:spLocks/>
            </p:cNvSpPr>
            <p:nvPr/>
          </p:nvSpPr>
          <p:spPr bwMode="auto">
            <a:xfrm>
              <a:off x="4193" y="3192"/>
              <a:ext cx="288" cy="190"/>
            </a:xfrm>
            <a:custGeom>
              <a:avLst/>
              <a:gdLst/>
              <a:ahLst/>
              <a:cxnLst>
                <a:cxn ang="0">
                  <a:pos x="313" y="171"/>
                </a:cxn>
                <a:cxn ang="0">
                  <a:pos x="405" y="145"/>
                </a:cxn>
                <a:cxn ang="0">
                  <a:pos x="200" y="0"/>
                </a:cxn>
                <a:cxn ang="0">
                  <a:pos x="0" y="143"/>
                </a:cxn>
                <a:cxn ang="0">
                  <a:pos x="158" y="195"/>
                </a:cxn>
                <a:cxn ang="0">
                  <a:pos x="241" y="223"/>
                </a:cxn>
                <a:cxn ang="0">
                  <a:pos x="197" y="159"/>
                </a:cxn>
                <a:cxn ang="0">
                  <a:pos x="173" y="85"/>
                </a:cxn>
              </a:cxnLst>
              <a:rect l="0" t="0" r="r" b="b"/>
              <a:pathLst>
                <a:path w="405" h="267">
                  <a:moveTo>
                    <a:pt x="313" y="171"/>
                  </a:moveTo>
                  <a:cubicBezTo>
                    <a:pt x="405" y="145"/>
                    <a:pt x="405" y="145"/>
                    <a:pt x="405" y="145"/>
                  </a:cubicBezTo>
                  <a:cubicBezTo>
                    <a:pt x="405" y="145"/>
                    <a:pt x="368" y="3"/>
                    <a:pt x="200" y="0"/>
                  </a:cubicBezTo>
                  <a:cubicBezTo>
                    <a:pt x="52" y="1"/>
                    <a:pt x="0" y="143"/>
                    <a:pt x="0" y="143"/>
                  </a:cubicBezTo>
                  <a:cubicBezTo>
                    <a:pt x="0" y="143"/>
                    <a:pt x="149" y="192"/>
                    <a:pt x="158" y="195"/>
                  </a:cubicBezTo>
                  <a:cubicBezTo>
                    <a:pt x="146" y="248"/>
                    <a:pt x="221" y="267"/>
                    <a:pt x="241" y="223"/>
                  </a:cubicBezTo>
                  <a:cubicBezTo>
                    <a:pt x="258" y="185"/>
                    <a:pt x="225" y="155"/>
                    <a:pt x="197" y="159"/>
                  </a:cubicBezTo>
                  <a:cubicBezTo>
                    <a:pt x="188" y="131"/>
                    <a:pt x="173" y="85"/>
                    <a:pt x="173" y="85"/>
                  </a:cubicBezTo>
                </a:path>
              </a:pathLst>
            </a:cu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128" name="Line 415"/>
            <p:cNvSpPr>
              <a:spLocks noChangeShapeType="1"/>
            </p:cNvSpPr>
            <p:nvPr/>
          </p:nvSpPr>
          <p:spPr bwMode="auto">
            <a:xfrm flipH="1" flipV="1">
              <a:off x="4232" y="3235"/>
              <a:ext cx="20" cy="19"/>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129" name="Line 416"/>
            <p:cNvSpPr>
              <a:spLocks noChangeShapeType="1"/>
            </p:cNvSpPr>
            <p:nvPr/>
          </p:nvSpPr>
          <p:spPr bwMode="auto">
            <a:xfrm flipV="1">
              <a:off x="4335" y="3192"/>
              <a:ext cx="1" cy="28"/>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130" name="Line 417"/>
            <p:cNvSpPr>
              <a:spLocks noChangeShapeType="1"/>
            </p:cNvSpPr>
            <p:nvPr/>
          </p:nvSpPr>
          <p:spPr bwMode="auto">
            <a:xfrm flipV="1">
              <a:off x="4424" y="3235"/>
              <a:ext cx="17" cy="21"/>
            </a:xfrm>
            <a:prstGeom prst="line">
              <a:avLst/>
            </a:prstGeom>
            <a:grpFill/>
            <a:ln w="31750"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grpSp>
      <p:sp>
        <p:nvSpPr>
          <p:cNvPr id="131" name="Freeform 513"/>
          <p:cNvSpPr>
            <a:spLocks/>
          </p:cNvSpPr>
          <p:nvPr userDrawn="1"/>
        </p:nvSpPr>
        <p:spPr bwMode="auto">
          <a:xfrm>
            <a:off x="9328196" y="2448143"/>
            <a:ext cx="506412" cy="387351"/>
          </a:xfrm>
          <a:custGeom>
            <a:avLst/>
            <a:gdLst/>
            <a:ahLst/>
            <a:cxnLst>
              <a:cxn ang="0">
                <a:pos x="14" y="0"/>
              </a:cxn>
              <a:cxn ang="0">
                <a:pos x="2" y="8"/>
              </a:cxn>
              <a:cxn ang="0">
                <a:pos x="4" y="22"/>
              </a:cxn>
              <a:cxn ang="0">
                <a:pos x="101" y="331"/>
              </a:cxn>
              <a:cxn ang="0">
                <a:pos x="116" y="342"/>
              </a:cxn>
              <a:cxn ang="0">
                <a:pos x="128" y="329"/>
              </a:cxn>
              <a:cxn ang="0">
                <a:pos x="127" y="327"/>
              </a:cxn>
              <a:cxn ang="0">
                <a:pos x="40" y="27"/>
              </a:cxn>
              <a:cxn ang="0">
                <a:pos x="101" y="27"/>
              </a:cxn>
              <a:cxn ang="0">
                <a:pos x="174" y="184"/>
              </a:cxn>
              <a:cxn ang="0">
                <a:pos x="182" y="194"/>
              </a:cxn>
              <a:cxn ang="0">
                <a:pos x="194" y="193"/>
              </a:cxn>
              <a:cxn ang="0">
                <a:pos x="370" y="168"/>
              </a:cxn>
              <a:cxn ang="0">
                <a:pos x="401" y="264"/>
              </a:cxn>
              <a:cxn ang="0">
                <a:pos x="397" y="316"/>
              </a:cxn>
              <a:cxn ang="0">
                <a:pos x="362" y="316"/>
              </a:cxn>
              <a:cxn ang="0">
                <a:pos x="362" y="273"/>
              </a:cxn>
              <a:cxn ang="0">
                <a:pos x="349" y="259"/>
              </a:cxn>
              <a:cxn ang="0">
                <a:pos x="164" y="259"/>
              </a:cxn>
              <a:cxn ang="0">
                <a:pos x="150" y="273"/>
              </a:cxn>
              <a:cxn ang="0">
                <a:pos x="164" y="286"/>
              </a:cxn>
              <a:cxn ang="0">
                <a:pos x="335" y="286"/>
              </a:cxn>
              <a:cxn ang="0">
                <a:pos x="335" y="329"/>
              </a:cxn>
              <a:cxn ang="0">
                <a:pos x="349" y="342"/>
              </a:cxn>
              <a:cxn ang="0">
                <a:pos x="408" y="342"/>
              </a:cxn>
              <a:cxn ang="0">
                <a:pos x="421" y="332"/>
              </a:cxn>
              <a:cxn ang="0">
                <a:pos x="388" y="148"/>
              </a:cxn>
              <a:cxn ang="0">
                <a:pos x="258" y="138"/>
              </a:cxn>
              <a:cxn ang="0">
                <a:pos x="196" y="162"/>
              </a:cxn>
              <a:cxn ang="0">
                <a:pos x="115" y="4"/>
              </a:cxn>
              <a:cxn ang="0">
                <a:pos x="106" y="0"/>
              </a:cxn>
              <a:cxn ang="0">
                <a:pos x="14" y="0"/>
              </a:cxn>
            </a:cxnLst>
            <a:rect l="0" t="0" r="r" b="b"/>
            <a:pathLst>
              <a:path w="449" h="343">
                <a:moveTo>
                  <a:pt x="14" y="0"/>
                </a:moveTo>
                <a:cubicBezTo>
                  <a:pt x="9" y="0"/>
                  <a:pt x="4" y="3"/>
                  <a:pt x="2" y="8"/>
                </a:cubicBezTo>
                <a:cubicBezTo>
                  <a:pt x="0" y="13"/>
                  <a:pt x="1" y="18"/>
                  <a:pt x="4" y="22"/>
                </a:cubicBezTo>
                <a:cubicBezTo>
                  <a:pt x="69" y="98"/>
                  <a:pt x="101" y="328"/>
                  <a:pt x="101" y="331"/>
                </a:cubicBezTo>
                <a:cubicBezTo>
                  <a:pt x="102" y="338"/>
                  <a:pt x="109" y="343"/>
                  <a:pt x="116" y="342"/>
                </a:cubicBezTo>
                <a:cubicBezTo>
                  <a:pt x="123" y="341"/>
                  <a:pt x="128" y="336"/>
                  <a:pt x="128" y="329"/>
                </a:cubicBezTo>
                <a:cubicBezTo>
                  <a:pt x="128" y="328"/>
                  <a:pt x="128" y="328"/>
                  <a:pt x="127" y="327"/>
                </a:cubicBezTo>
                <a:cubicBezTo>
                  <a:pt x="126" y="318"/>
                  <a:pt x="100" y="122"/>
                  <a:pt x="40" y="27"/>
                </a:cubicBezTo>
                <a:cubicBezTo>
                  <a:pt x="65" y="27"/>
                  <a:pt x="94" y="27"/>
                  <a:pt x="101" y="27"/>
                </a:cubicBezTo>
                <a:cubicBezTo>
                  <a:pt x="129" y="55"/>
                  <a:pt x="160" y="120"/>
                  <a:pt x="174" y="184"/>
                </a:cubicBezTo>
                <a:cubicBezTo>
                  <a:pt x="175" y="188"/>
                  <a:pt x="178" y="192"/>
                  <a:pt x="182" y="194"/>
                </a:cubicBezTo>
                <a:cubicBezTo>
                  <a:pt x="185" y="195"/>
                  <a:pt x="190" y="195"/>
                  <a:pt x="194" y="193"/>
                </a:cubicBezTo>
                <a:cubicBezTo>
                  <a:pt x="229" y="174"/>
                  <a:pt x="330" y="132"/>
                  <a:pt x="370" y="168"/>
                </a:cubicBezTo>
                <a:cubicBezTo>
                  <a:pt x="395" y="190"/>
                  <a:pt x="401" y="230"/>
                  <a:pt x="401" y="264"/>
                </a:cubicBezTo>
                <a:cubicBezTo>
                  <a:pt x="401" y="285"/>
                  <a:pt x="399" y="304"/>
                  <a:pt x="397" y="316"/>
                </a:cubicBezTo>
                <a:cubicBezTo>
                  <a:pt x="386" y="316"/>
                  <a:pt x="374" y="316"/>
                  <a:pt x="362" y="316"/>
                </a:cubicBezTo>
                <a:cubicBezTo>
                  <a:pt x="362" y="300"/>
                  <a:pt x="362" y="273"/>
                  <a:pt x="362" y="273"/>
                </a:cubicBezTo>
                <a:cubicBezTo>
                  <a:pt x="362" y="265"/>
                  <a:pt x="356" y="259"/>
                  <a:pt x="349" y="259"/>
                </a:cubicBezTo>
                <a:cubicBezTo>
                  <a:pt x="164" y="259"/>
                  <a:pt x="164" y="259"/>
                  <a:pt x="164" y="259"/>
                </a:cubicBezTo>
                <a:cubicBezTo>
                  <a:pt x="156" y="259"/>
                  <a:pt x="150" y="265"/>
                  <a:pt x="150" y="273"/>
                </a:cubicBezTo>
                <a:cubicBezTo>
                  <a:pt x="150" y="280"/>
                  <a:pt x="156" y="286"/>
                  <a:pt x="164" y="286"/>
                </a:cubicBezTo>
                <a:cubicBezTo>
                  <a:pt x="164" y="286"/>
                  <a:pt x="312" y="286"/>
                  <a:pt x="335" y="286"/>
                </a:cubicBezTo>
                <a:cubicBezTo>
                  <a:pt x="335" y="301"/>
                  <a:pt x="335" y="329"/>
                  <a:pt x="335" y="329"/>
                </a:cubicBezTo>
                <a:cubicBezTo>
                  <a:pt x="335" y="336"/>
                  <a:pt x="341" y="342"/>
                  <a:pt x="349" y="342"/>
                </a:cubicBezTo>
                <a:cubicBezTo>
                  <a:pt x="408" y="342"/>
                  <a:pt x="408" y="342"/>
                  <a:pt x="408" y="342"/>
                </a:cubicBezTo>
                <a:cubicBezTo>
                  <a:pt x="414" y="342"/>
                  <a:pt x="420" y="338"/>
                  <a:pt x="421" y="332"/>
                </a:cubicBezTo>
                <a:cubicBezTo>
                  <a:pt x="422" y="327"/>
                  <a:pt x="449" y="202"/>
                  <a:pt x="388" y="148"/>
                </a:cubicBezTo>
                <a:cubicBezTo>
                  <a:pt x="361" y="124"/>
                  <a:pt x="317" y="121"/>
                  <a:pt x="258" y="138"/>
                </a:cubicBezTo>
                <a:cubicBezTo>
                  <a:pt x="233" y="146"/>
                  <a:pt x="210" y="155"/>
                  <a:pt x="196" y="162"/>
                </a:cubicBezTo>
                <a:cubicBezTo>
                  <a:pt x="178" y="95"/>
                  <a:pt x="146" y="32"/>
                  <a:pt x="115" y="4"/>
                </a:cubicBezTo>
                <a:cubicBezTo>
                  <a:pt x="113" y="1"/>
                  <a:pt x="109" y="0"/>
                  <a:pt x="106" y="0"/>
                </a:cubicBezTo>
                <a:lnTo>
                  <a:pt x="14" y="0"/>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2" name="Freeform 517"/>
          <p:cNvSpPr>
            <a:spLocks noEditPoints="1"/>
          </p:cNvSpPr>
          <p:nvPr userDrawn="1"/>
        </p:nvSpPr>
        <p:spPr bwMode="auto">
          <a:xfrm>
            <a:off x="9425032" y="1183089"/>
            <a:ext cx="312739" cy="477839"/>
          </a:xfrm>
          <a:custGeom>
            <a:avLst/>
            <a:gdLst/>
            <a:ahLst/>
            <a:cxnLst>
              <a:cxn ang="0">
                <a:pos x="141" y="1"/>
              </a:cxn>
              <a:cxn ang="0">
                <a:pos x="9" y="49"/>
              </a:cxn>
              <a:cxn ang="0">
                <a:pos x="0" y="62"/>
              </a:cxn>
              <a:cxn ang="0">
                <a:pos x="0" y="202"/>
              </a:cxn>
              <a:cxn ang="0">
                <a:pos x="9" y="214"/>
              </a:cxn>
              <a:cxn ang="0">
                <a:pos x="117" y="272"/>
              </a:cxn>
              <a:cxn ang="0">
                <a:pos x="117" y="387"/>
              </a:cxn>
              <a:cxn ang="0">
                <a:pos x="26" y="339"/>
              </a:cxn>
              <a:cxn ang="0">
                <a:pos x="26" y="266"/>
              </a:cxn>
              <a:cxn ang="0">
                <a:pos x="13" y="253"/>
              </a:cxn>
              <a:cxn ang="0">
                <a:pos x="0" y="266"/>
              </a:cxn>
              <a:cxn ang="0">
                <a:pos x="0" y="347"/>
              </a:cxn>
              <a:cxn ang="0">
                <a:pos x="7" y="359"/>
              </a:cxn>
              <a:cxn ang="0">
                <a:pos x="125" y="421"/>
              </a:cxn>
              <a:cxn ang="0">
                <a:pos x="138" y="420"/>
              </a:cxn>
              <a:cxn ang="0">
                <a:pos x="144" y="409"/>
              </a:cxn>
              <a:cxn ang="0">
                <a:pos x="144" y="264"/>
              </a:cxn>
              <a:cxn ang="0">
                <a:pos x="137" y="252"/>
              </a:cxn>
              <a:cxn ang="0">
                <a:pos x="26" y="194"/>
              </a:cxn>
              <a:cxn ang="0">
                <a:pos x="26" y="71"/>
              </a:cxn>
              <a:cxn ang="0">
                <a:pos x="132" y="33"/>
              </a:cxn>
              <a:cxn ang="0">
                <a:pos x="132" y="154"/>
              </a:cxn>
              <a:cxn ang="0">
                <a:pos x="139" y="165"/>
              </a:cxn>
              <a:cxn ang="0">
                <a:pos x="250" y="224"/>
              </a:cxn>
              <a:cxn ang="0">
                <a:pos x="250" y="342"/>
              </a:cxn>
              <a:cxn ang="0">
                <a:pos x="264" y="355"/>
              </a:cxn>
              <a:cxn ang="0">
                <a:pos x="277" y="342"/>
              </a:cxn>
              <a:cxn ang="0">
                <a:pos x="277" y="216"/>
              </a:cxn>
              <a:cxn ang="0">
                <a:pos x="272" y="206"/>
              </a:cxn>
              <a:cxn ang="0">
                <a:pos x="268" y="203"/>
              </a:cxn>
              <a:cxn ang="0">
                <a:pos x="159" y="146"/>
              </a:cxn>
              <a:cxn ang="0">
                <a:pos x="159" y="14"/>
              </a:cxn>
              <a:cxn ang="0">
                <a:pos x="153" y="3"/>
              </a:cxn>
              <a:cxn ang="0">
                <a:pos x="141" y="1"/>
              </a:cxn>
              <a:cxn ang="0">
                <a:pos x="261" y="229"/>
              </a:cxn>
              <a:cxn ang="0">
                <a:pos x="262" y="229"/>
              </a:cxn>
              <a:cxn ang="0">
                <a:pos x="261" y="229"/>
              </a:cxn>
            </a:cxnLst>
            <a:rect l="0" t="0" r="r" b="b"/>
            <a:pathLst>
              <a:path w="277" h="423">
                <a:moveTo>
                  <a:pt x="141" y="1"/>
                </a:moveTo>
                <a:cubicBezTo>
                  <a:pt x="9" y="49"/>
                  <a:pt x="9" y="49"/>
                  <a:pt x="9" y="49"/>
                </a:cubicBezTo>
                <a:cubicBezTo>
                  <a:pt x="3" y="51"/>
                  <a:pt x="0" y="56"/>
                  <a:pt x="0" y="62"/>
                </a:cubicBezTo>
                <a:cubicBezTo>
                  <a:pt x="0" y="202"/>
                  <a:pt x="0" y="202"/>
                  <a:pt x="0" y="202"/>
                </a:cubicBezTo>
                <a:cubicBezTo>
                  <a:pt x="0" y="208"/>
                  <a:pt x="4" y="212"/>
                  <a:pt x="9" y="214"/>
                </a:cubicBezTo>
                <a:cubicBezTo>
                  <a:pt x="12" y="216"/>
                  <a:pt x="105" y="265"/>
                  <a:pt x="117" y="272"/>
                </a:cubicBezTo>
                <a:cubicBezTo>
                  <a:pt x="117" y="284"/>
                  <a:pt x="117" y="357"/>
                  <a:pt x="117" y="387"/>
                </a:cubicBezTo>
                <a:cubicBezTo>
                  <a:pt x="92" y="374"/>
                  <a:pt x="37" y="345"/>
                  <a:pt x="26" y="339"/>
                </a:cubicBezTo>
                <a:cubicBezTo>
                  <a:pt x="26" y="326"/>
                  <a:pt x="26" y="266"/>
                  <a:pt x="26" y="266"/>
                </a:cubicBezTo>
                <a:cubicBezTo>
                  <a:pt x="26" y="259"/>
                  <a:pt x="20" y="253"/>
                  <a:pt x="13" y="253"/>
                </a:cubicBezTo>
                <a:cubicBezTo>
                  <a:pt x="6" y="253"/>
                  <a:pt x="0" y="259"/>
                  <a:pt x="0" y="266"/>
                </a:cubicBezTo>
                <a:cubicBezTo>
                  <a:pt x="0" y="347"/>
                  <a:pt x="0" y="347"/>
                  <a:pt x="0" y="347"/>
                </a:cubicBezTo>
                <a:cubicBezTo>
                  <a:pt x="0" y="352"/>
                  <a:pt x="3" y="357"/>
                  <a:pt x="7" y="359"/>
                </a:cubicBezTo>
                <a:cubicBezTo>
                  <a:pt x="125" y="421"/>
                  <a:pt x="125" y="421"/>
                  <a:pt x="125" y="421"/>
                </a:cubicBezTo>
                <a:cubicBezTo>
                  <a:pt x="129" y="423"/>
                  <a:pt x="134" y="423"/>
                  <a:pt x="138" y="420"/>
                </a:cubicBezTo>
                <a:cubicBezTo>
                  <a:pt x="142" y="418"/>
                  <a:pt x="144" y="413"/>
                  <a:pt x="144" y="409"/>
                </a:cubicBezTo>
                <a:cubicBezTo>
                  <a:pt x="144" y="264"/>
                  <a:pt x="144" y="264"/>
                  <a:pt x="144" y="264"/>
                </a:cubicBezTo>
                <a:cubicBezTo>
                  <a:pt x="144" y="259"/>
                  <a:pt x="141" y="254"/>
                  <a:pt x="137" y="252"/>
                </a:cubicBezTo>
                <a:cubicBezTo>
                  <a:pt x="137" y="252"/>
                  <a:pt x="39" y="200"/>
                  <a:pt x="26" y="194"/>
                </a:cubicBezTo>
                <a:cubicBezTo>
                  <a:pt x="26" y="180"/>
                  <a:pt x="26" y="86"/>
                  <a:pt x="26" y="71"/>
                </a:cubicBezTo>
                <a:cubicBezTo>
                  <a:pt x="40" y="66"/>
                  <a:pt x="108" y="42"/>
                  <a:pt x="132" y="33"/>
                </a:cubicBezTo>
                <a:cubicBezTo>
                  <a:pt x="132" y="61"/>
                  <a:pt x="132" y="154"/>
                  <a:pt x="132" y="154"/>
                </a:cubicBezTo>
                <a:cubicBezTo>
                  <a:pt x="132" y="159"/>
                  <a:pt x="135" y="163"/>
                  <a:pt x="139" y="165"/>
                </a:cubicBezTo>
                <a:cubicBezTo>
                  <a:pt x="139" y="165"/>
                  <a:pt x="238" y="217"/>
                  <a:pt x="250" y="224"/>
                </a:cubicBezTo>
                <a:cubicBezTo>
                  <a:pt x="250" y="238"/>
                  <a:pt x="250" y="342"/>
                  <a:pt x="250" y="342"/>
                </a:cubicBezTo>
                <a:cubicBezTo>
                  <a:pt x="250" y="349"/>
                  <a:pt x="256" y="355"/>
                  <a:pt x="264" y="355"/>
                </a:cubicBezTo>
                <a:cubicBezTo>
                  <a:pt x="271" y="355"/>
                  <a:pt x="277" y="349"/>
                  <a:pt x="277" y="342"/>
                </a:cubicBezTo>
                <a:cubicBezTo>
                  <a:pt x="277" y="216"/>
                  <a:pt x="277" y="216"/>
                  <a:pt x="277" y="216"/>
                </a:cubicBezTo>
                <a:cubicBezTo>
                  <a:pt x="277" y="212"/>
                  <a:pt x="275" y="208"/>
                  <a:pt x="272" y="206"/>
                </a:cubicBezTo>
                <a:cubicBezTo>
                  <a:pt x="271" y="205"/>
                  <a:pt x="270" y="204"/>
                  <a:pt x="268" y="203"/>
                </a:cubicBezTo>
                <a:cubicBezTo>
                  <a:pt x="265" y="202"/>
                  <a:pt x="171" y="152"/>
                  <a:pt x="159" y="146"/>
                </a:cubicBezTo>
                <a:cubicBezTo>
                  <a:pt x="159" y="131"/>
                  <a:pt x="159" y="14"/>
                  <a:pt x="159" y="14"/>
                </a:cubicBezTo>
                <a:cubicBezTo>
                  <a:pt x="159" y="10"/>
                  <a:pt x="157" y="6"/>
                  <a:pt x="153" y="3"/>
                </a:cubicBezTo>
                <a:cubicBezTo>
                  <a:pt x="150" y="1"/>
                  <a:pt x="145" y="0"/>
                  <a:pt x="141" y="1"/>
                </a:cubicBezTo>
                <a:close/>
                <a:moveTo>
                  <a:pt x="261" y="229"/>
                </a:moveTo>
                <a:cubicBezTo>
                  <a:pt x="261" y="229"/>
                  <a:pt x="261" y="229"/>
                  <a:pt x="262" y="229"/>
                </a:cubicBezTo>
                <a:cubicBezTo>
                  <a:pt x="261" y="229"/>
                  <a:pt x="261" y="229"/>
                  <a:pt x="261" y="229"/>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3" name="Freeform 564"/>
          <p:cNvSpPr>
            <a:spLocks/>
          </p:cNvSpPr>
          <p:nvPr userDrawn="1"/>
        </p:nvSpPr>
        <p:spPr bwMode="auto">
          <a:xfrm>
            <a:off x="9382171" y="5161970"/>
            <a:ext cx="398462" cy="322263"/>
          </a:xfrm>
          <a:custGeom>
            <a:avLst/>
            <a:gdLst/>
            <a:ahLst/>
            <a:cxnLst>
              <a:cxn ang="0">
                <a:pos x="339" y="257"/>
              </a:cxn>
              <a:cxn ang="0">
                <a:pos x="26" y="257"/>
              </a:cxn>
              <a:cxn ang="0">
                <a:pos x="26" y="46"/>
              </a:cxn>
              <a:cxn ang="0">
                <a:pos x="71" y="91"/>
              </a:cxn>
              <a:cxn ang="0">
                <a:pos x="80" y="94"/>
              </a:cxn>
              <a:cxn ang="0">
                <a:pos x="89" y="91"/>
              </a:cxn>
              <a:cxn ang="0">
                <a:pos x="128" y="52"/>
              </a:cxn>
              <a:cxn ang="0">
                <a:pos x="239" y="163"/>
              </a:cxn>
              <a:cxn ang="0">
                <a:pos x="214" y="163"/>
              </a:cxn>
              <a:cxn ang="0">
                <a:pos x="200" y="177"/>
              </a:cxn>
              <a:cxn ang="0">
                <a:pos x="214" y="190"/>
              </a:cxn>
              <a:cxn ang="0">
                <a:pos x="268" y="190"/>
              </a:cxn>
              <a:cxn ang="0">
                <a:pos x="282" y="177"/>
              </a:cxn>
              <a:cxn ang="0">
                <a:pos x="282" y="122"/>
              </a:cxn>
              <a:cxn ang="0">
                <a:pos x="268" y="109"/>
              </a:cxn>
              <a:cxn ang="0">
                <a:pos x="255" y="122"/>
              </a:cxn>
              <a:cxn ang="0">
                <a:pos x="255" y="142"/>
              </a:cxn>
              <a:cxn ang="0">
                <a:pos x="137" y="24"/>
              </a:cxn>
              <a:cxn ang="0">
                <a:pos x="128" y="20"/>
              </a:cxn>
              <a:cxn ang="0">
                <a:pos x="118" y="24"/>
              </a:cxn>
              <a:cxn ang="0">
                <a:pos x="80" y="62"/>
              </a:cxn>
              <a:cxn ang="0">
                <a:pos x="23" y="5"/>
              </a:cxn>
              <a:cxn ang="0">
                <a:pos x="8" y="2"/>
              </a:cxn>
              <a:cxn ang="0">
                <a:pos x="0" y="14"/>
              </a:cxn>
              <a:cxn ang="0">
                <a:pos x="0" y="270"/>
              </a:cxn>
              <a:cxn ang="0">
                <a:pos x="13" y="284"/>
              </a:cxn>
              <a:cxn ang="0">
                <a:pos x="339" y="284"/>
              </a:cxn>
              <a:cxn ang="0">
                <a:pos x="353" y="270"/>
              </a:cxn>
              <a:cxn ang="0">
                <a:pos x="339" y="257"/>
              </a:cxn>
            </a:cxnLst>
            <a:rect l="0" t="0" r="r" b="b"/>
            <a:pathLst>
              <a:path w="353" h="284">
                <a:moveTo>
                  <a:pt x="339" y="257"/>
                </a:moveTo>
                <a:cubicBezTo>
                  <a:pt x="339" y="257"/>
                  <a:pt x="51" y="257"/>
                  <a:pt x="26" y="257"/>
                </a:cubicBezTo>
                <a:cubicBezTo>
                  <a:pt x="26" y="46"/>
                  <a:pt x="26" y="46"/>
                  <a:pt x="26" y="46"/>
                </a:cubicBezTo>
                <a:cubicBezTo>
                  <a:pt x="46" y="66"/>
                  <a:pt x="71" y="91"/>
                  <a:pt x="71" y="91"/>
                </a:cubicBezTo>
                <a:cubicBezTo>
                  <a:pt x="73" y="93"/>
                  <a:pt x="76" y="94"/>
                  <a:pt x="80" y="94"/>
                </a:cubicBezTo>
                <a:cubicBezTo>
                  <a:pt x="83" y="94"/>
                  <a:pt x="87" y="93"/>
                  <a:pt x="89" y="91"/>
                </a:cubicBezTo>
                <a:cubicBezTo>
                  <a:pt x="89" y="91"/>
                  <a:pt x="115" y="64"/>
                  <a:pt x="128" y="52"/>
                </a:cubicBezTo>
                <a:cubicBezTo>
                  <a:pt x="142" y="67"/>
                  <a:pt x="227" y="151"/>
                  <a:pt x="239" y="163"/>
                </a:cubicBezTo>
                <a:cubicBezTo>
                  <a:pt x="226" y="163"/>
                  <a:pt x="214" y="163"/>
                  <a:pt x="214" y="163"/>
                </a:cubicBezTo>
                <a:cubicBezTo>
                  <a:pt x="206" y="163"/>
                  <a:pt x="200" y="169"/>
                  <a:pt x="200" y="177"/>
                </a:cubicBezTo>
                <a:cubicBezTo>
                  <a:pt x="200" y="184"/>
                  <a:pt x="206" y="190"/>
                  <a:pt x="214" y="190"/>
                </a:cubicBezTo>
                <a:cubicBezTo>
                  <a:pt x="268" y="190"/>
                  <a:pt x="268" y="190"/>
                  <a:pt x="268" y="190"/>
                </a:cubicBezTo>
                <a:cubicBezTo>
                  <a:pt x="276" y="190"/>
                  <a:pt x="282" y="184"/>
                  <a:pt x="282" y="177"/>
                </a:cubicBezTo>
                <a:cubicBezTo>
                  <a:pt x="282" y="122"/>
                  <a:pt x="282" y="122"/>
                  <a:pt x="282" y="122"/>
                </a:cubicBezTo>
                <a:cubicBezTo>
                  <a:pt x="282" y="115"/>
                  <a:pt x="276" y="109"/>
                  <a:pt x="268" y="109"/>
                </a:cubicBezTo>
                <a:cubicBezTo>
                  <a:pt x="261" y="109"/>
                  <a:pt x="255" y="115"/>
                  <a:pt x="255" y="122"/>
                </a:cubicBezTo>
                <a:cubicBezTo>
                  <a:pt x="255" y="122"/>
                  <a:pt x="255" y="131"/>
                  <a:pt x="255" y="142"/>
                </a:cubicBezTo>
                <a:cubicBezTo>
                  <a:pt x="137" y="24"/>
                  <a:pt x="137" y="24"/>
                  <a:pt x="137" y="24"/>
                </a:cubicBezTo>
                <a:cubicBezTo>
                  <a:pt x="134" y="22"/>
                  <a:pt x="131" y="20"/>
                  <a:pt x="128" y="20"/>
                </a:cubicBezTo>
                <a:cubicBezTo>
                  <a:pt x="124" y="20"/>
                  <a:pt x="121" y="22"/>
                  <a:pt x="118" y="24"/>
                </a:cubicBezTo>
                <a:cubicBezTo>
                  <a:pt x="118" y="24"/>
                  <a:pt x="92" y="50"/>
                  <a:pt x="80" y="62"/>
                </a:cubicBezTo>
                <a:cubicBezTo>
                  <a:pt x="66" y="49"/>
                  <a:pt x="23" y="5"/>
                  <a:pt x="23" y="5"/>
                </a:cubicBezTo>
                <a:cubicBezTo>
                  <a:pt x="19" y="1"/>
                  <a:pt x="13" y="0"/>
                  <a:pt x="8" y="2"/>
                </a:cubicBezTo>
                <a:cubicBezTo>
                  <a:pt x="3" y="4"/>
                  <a:pt x="0" y="9"/>
                  <a:pt x="0" y="14"/>
                </a:cubicBezTo>
                <a:cubicBezTo>
                  <a:pt x="0" y="270"/>
                  <a:pt x="0" y="270"/>
                  <a:pt x="0" y="270"/>
                </a:cubicBezTo>
                <a:cubicBezTo>
                  <a:pt x="0" y="278"/>
                  <a:pt x="6" y="284"/>
                  <a:pt x="13" y="284"/>
                </a:cubicBezTo>
                <a:cubicBezTo>
                  <a:pt x="339" y="284"/>
                  <a:pt x="339" y="284"/>
                  <a:pt x="339" y="284"/>
                </a:cubicBezTo>
                <a:cubicBezTo>
                  <a:pt x="347" y="284"/>
                  <a:pt x="353" y="278"/>
                  <a:pt x="353" y="270"/>
                </a:cubicBezTo>
                <a:cubicBezTo>
                  <a:pt x="353" y="263"/>
                  <a:pt x="347" y="257"/>
                  <a:pt x="339" y="25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4" name="Freeform 584"/>
          <p:cNvSpPr>
            <a:spLocks/>
          </p:cNvSpPr>
          <p:nvPr userDrawn="1"/>
        </p:nvSpPr>
        <p:spPr bwMode="auto">
          <a:xfrm>
            <a:off x="9399632" y="3681876"/>
            <a:ext cx="363539" cy="509587"/>
          </a:xfrm>
          <a:custGeom>
            <a:avLst/>
            <a:gdLst/>
            <a:ahLst/>
            <a:cxnLst>
              <a:cxn ang="0">
                <a:pos x="311" y="117"/>
              </a:cxn>
              <a:cxn ang="0">
                <a:pos x="246" y="130"/>
              </a:cxn>
              <a:cxn ang="0">
                <a:pos x="209" y="151"/>
              </a:cxn>
              <a:cxn ang="0">
                <a:pos x="153" y="195"/>
              </a:cxn>
              <a:cxn ang="0">
                <a:pos x="151" y="320"/>
              </a:cxn>
              <a:cxn ang="0">
                <a:pos x="116" y="286"/>
              </a:cxn>
              <a:cxn ang="0">
                <a:pos x="100" y="271"/>
              </a:cxn>
              <a:cxn ang="0">
                <a:pos x="132" y="192"/>
              </a:cxn>
              <a:cxn ang="0">
                <a:pos x="148" y="170"/>
              </a:cxn>
              <a:cxn ang="0">
                <a:pos x="66" y="131"/>
              </a:cxn>
              <a:cxn ang="0">
                <a:pos x="74" y="280"/>
              </a:cxn>
              <a:cxn ang="0">
                <a:pos x="88" y="295"/>
              </a:cxn>
              <a:cxn ang="0">
                <a:pos x="147" y="356"/>
              </a:cxn>
              <a:cxn ang="0">
                <a:pos x="154" y="364"/>
              </a:cxn>
              <a:cxn ang="0">
                <a:pos x="155" y="365"/>
              </a:cxn>
              <a:cxn ang="0">
                <a:pos x="156" y="366"/>
              </a:cxn>
              <a:cxn ang="0">
                <a:pos x="157" y="366"/>
              </a:cxn>
              <a:cxn ang="0">
                <a:pos x="159" y="367"/>
              </a:cxn>
              <a:cxn ang="0">
                <a:pos x="159" y="367"/>
              </a:cxn>
              <a:cxn ang="0">
                <a:pos x="161" y="368"/>
              </a:cxn>
              <a:cxn ang="0">
                <a:pos x="162" y="368"/>
              </a:cxn>
              <a:cxn ang="0">
                <a:pos x="163" y="368"/>
              </a:cxn>
              <a:cxn ang="0">
                <a:pos x="164" y="368"/>
              </a:cxn>
              <a:cxn ang="0">
                <a:pos x="167" y="368"/>
              </a:cxn>
              <a:cxn ang="0">
                <a:pos x="168" y="367"/>
              </a:cxn>
              <a:cxn ang="0">
                <a:pos x="169" y="367"/>
              </a:cxn>
              <a:cxn ang="0">
                <a:pos x="171" y="366"/>
              </a:cxn>
              <a:cxn ang="0">
                <a:pos x="172" y="365"/>
              </a:cxn>
              <a:cxn ang="0">
                <a:pos x="173" y="365"/>
              </a:cxn>
              <a:cxn ang="0">
                <a:pos x="174" y="364"/>
              </a:cxn>
              <a:cxn ang="0">
                <a:pos x="174" y="364"/>
              </a:cxn>
              <a:cxn ang="0">
                <a:pos x="217" y="317"/>
              </a:cxn>
              <a:cxn ang="0">
                <a:pos x="247" y="290"/>
              </a:cxn>
              <a:cxn ang="0">
                <a:pos x="263" y="187"/>
              </a:cxn>
              <a:cxn ang="0">
                <a:pos x="237" y="184"/>
              </a:cxn>
              <a:cxn ang="0">
                <a:pos x="223" y="275"/>
              </a:cxn>
              <a:cxn ang="0">
                <a:pos x="177" y="320"/>
              </a:cxn>
              <a:cxn ang="0">
                <a:pos x="194" y="193"/>
              </a:cxn>
              <a:cxn ang="0">
                <a:pos x="252" y="157"/>
              </a:cxn>
              <a:cxn ang="0">
                <a:pos x="258" y="154"/>
              </a:cxn>
              <a:cxn ang="0">
                <a:pos x="286" y="257"/>
              </a:cxn>
              <a:cxn ang="0">
                <a:pos x="182" y="423"/>
              </a:cxn>
              <a:cxn ang="0">
                <a:pos x="161" y="426"/>
              </a:cxn>
              <a:cxn ang="0">
                <a:pos x="114" y="404"/>
              </a:cxn>
              <a:cxn ang="0">
                <a:pos x="26" y="100"/>
              </a:cxn>
              <a:cxn ang="0">
                <a:pos x="27" y="81"/>
              </a:cxn>
              <a:cxn ang="0">
                <a:pos x="84" y="47"/>
              </a:cxn>
              <a:cxn ang="0">
                <a:pos x="162" y="27"/>
              </a:cxn>
              <a:cxn ang="0">
                <a:pos x="284" y="72"/>
              </a:cxn>
              <a:cxn ang="0">
                <a:pos x="299" y="83"/>
              </a:cxn>
              <a:cxn ang="0">
                <a:pos x="318" y="64"/>
              </a:cxn>
              <a:cxn ang="0">
                <a:pos x="251" y="23"/>
              </a:cxn>
              <a:cxn ang="0">
                <a:pos x="162" y="0"/>
              </a:cxn>
              <a:cxn ang="0">
                <a:pos x="25" y="50"/>
              </a:cxn>
              <a:cxn ang="0">
                <a:pos x="6" y="64"/>
              </a:cxn>
              <a:cxn ang="0">
                <a:pos x="1" y="76"/>
              </a:cxn>
              <a:cxn ang="0">
                <a:pos x="12" y="261"/>
              </a:cxn>
              <a:cxn ang="0">
                <a:pos x="132" y="447"/>
              </a:cxn>
              <a:cxn ang="0">
                <a:pos x="162" y="453"/>
              </a:cxn>
              <a:cxn ang="0">
                <a:pos x="162" y="453"/>
              </a:cxn>
              <a:cxn ang="0">
                <a:pos x="228" y="424"/>
              </a:cxn>
              <a:cxn ang="0">
                <a:pos x="324" y="130"/>
              </a:cxn>
            </a:cxnLst>
            <a:rect l="0" t="0" r="r" b="b"/>
            <a:pathLst>
              <a:path w="324" h="453">
                <a:moveTo>
                  <a:pt x="320" y="121"/>
                </a:moveTo>
                <a:cubicBezTo>
                  <a:pt x="317" y="118"/>
                  <a:pt x="314" y="117"/>
                  <a:pt x="311" y="117"/>
                </a:cubicBezTo>
                <a:cubicBezTo>
                  <a:pt x="309" y="116"/>
                  <a:pt x="308" y="116"/>
                  <a:pt x="306" y="116"/>
                </a:cubicBezTo>
                <a:cubicBezTo>
                  <a:pt x="288" y="116"/>
                  <a:pt x="265" y="121"/>
                  <a:pt x="246" y="130"/>
                </a:cubicBezTo>
                <a:cubicBezTo>
                  <a:pt x="246" y="130"/>
                  <a:pt x="246" y="130"/>
                  <a:pt x="246" y="130"/>
                </a:cubicBezTo>
                <a:cubicBezTo>
                  <a:pt x="246" y="130"/>
                  <a:pt x="229" y="139"/>
                  <a:pt x="209" y="151"/>
                </a:cubicBezTo>
                <a:cubicBezTo>
                  <a:pt x="199" y="157"/>
                  <a:pt x="188" y="164"/>
                  <a:pt x="178" y="171"/>
                </a:cubicBezTo>
                <a:cubicBezTo>
                  <a:pt x="168" y="179"/>
                  <a:pt x="159" y="187"/>
                  <a:pt x="153" y="195"/>
                </a:cubicBezTo>
                <a:cubicBezTo>
                  <a:pt x="151" y="198"/>
                  <a:pt x="151" y="200"/>
                  <a:pt x="151" y="203"/>
                </a:cubicBezTo>
                <a:cubicBezTo>
                  <a:pt x="151" y="320"/>
                  <a:pt x="151" y="320"/>
                  <a:pt x="151" y="320"/>
                </a:cubicBezTo>
                <a:cubicBezTo>
                  <a:pt x="148" y="318"/>
                  <a:pt x="145" y="315"/>
                  <a:pt x="142" y="312"/>
                </a:cubicBezTo>
                <a:cubicBezTo>
                  <a:pt x="134" y="303"/>
                  <a:pt x="125" y="293"/>
                  <a:pt x="116" y="286"/>
                </a:cubicBezTo>
                <a:cubicBezTo>
                  <a:pt x="112" y="282"/>
                  <a:pt x="108" y="278"/>
                  <a:pt x="105" y="275"/>
                </a:cubicBezTo>
                <a:cubicBezTo>
                  <a:pt x="103" y="274"/>
                  <a:pt x="102" y="272"/>
                  <a:pt x="100" y="271"/>
                </a:cubicBezTo>
                <a:cubicBezTo>
                  <a:pt x="89" y="165"/>
                  <a:pt x="89" y="165"/>
                  <a:pt x="89" y="165"/>
                </a:cubicBezTo>
                <a:cubicBezTo>
                  <a:pt x="102" y="172"/>
                  <a:pt x="118" y="182"/>
                  <a:pt x="132" y="192"/>
                </a:cubicBezTo>
                <a:cubicBezTo>
                  <a:pt x="138" y="196"/>
                  <a:pt x="146" y="195"/>
                  <a:pt x="151" y="189"/>
                </a:cubicBezTo>
                <a:cubicBezTo>
                  <a:pt x="155" y="183"/>
                  <a:pt x="154" y="174"/>
                  <a:pt x="148" y="170"/>
                </a:cubicBezTo>
                <a:cubicBezTo>
                  <a:pt x="118" y="148"/>
                  <a:pt x="79" y="130"/>
                  <a:pt x="79" y="130"/>
                </a:cubicBezTo>
                <a:cubicBezTo>
                  <a:pt x="75" y="128"/>
                  <a:pt x="70" y="129"/>
                  <a:pt x="66" y="131"/>
                </a:cubicBezTo>
                <a:cubicBezTo>
                  <a:pt x="62" y="134"/>
                  <a:pt x="60" y="139"/>
                  <a:pt x="60" y="144"/>
                </a:cubicBezTo>
                <a:cubicBezTo>
                  <a:pt x="74" y="280"/>
                  <a:pt x="74" y="280"/>
                  <a:pt x="74" y="280"/>
                </a:cubicBezTo>
                <a:cubicBezTo>
                  <a:pt x="75" y="284"/>
                  <a:pt x="77" y="288"/>
                  <a:pt x="81" y="290"/>
                </a:cubicBezTo>
                <a:cubicBezTo>
                  <a:pt x="82" y="291"/>
                  <a:pt x="84" y="293"/>
                  <a:pt x="88" y="295"/>
                </a:cubicBezTo>
                <a:cubicBezTo>
                  <a:pt x="98" y="304"/>
                  <a:pt x="115" y="322"/>
                  <a:pt x="129" y="337"/>
                </a:cubicBezTo>
                <a:cubicBezTo>
                  <a:pt x="136" y="344"/>
                  <a:pt x="142" y="351"/>
                  <a:pt x="147" y="356"/>
                </a:cubicBezTo>
                <a:cubicBezTo>
                  <a:pt x="151" y="361"/>
                  <a:pt x="154" y="364"/>
                  <a:pt x="154" y="364"/>
                </a:cubicBezTo>
                <a:cubicBezTo>
                  <a:pt x="154" y="364"/>
                  <a:pt x="154" y="364"/>
                  <a:pt x="154" y="364"/>
                </a:cubicBezTo>
                <a:cubicBezTo>
                  <a:pt x="154" y="364"/>
                  <a:pt x="155" y="364"/>
                  <a:pt x="155" y="365"/>
                </a:cubicBezTo>
                <a:cubicBezTo>
                  <a:pt x="155" y="365"/>
                  <a:pt x="155" y="365"/>
                  <a:pt x="155" y="365"/>
                </a:cubicBezTo>
                <a:cubicBezTo>
                  <a:pt x="155" y="365"/>
                  <a:pt x="156" y="365"/>
                  <a:pt x="156" y="365"/>
                </a:cubicBezTo>
                <a:cubicBezTo>
                  <a:pt x="156" y="365"/>
                  <a:pt x="156" y="366"/>
                  <a:pt x="156" y="366"/>
                </a:cubicBezTo>
                <a:cubicBezTo>
                  <a:pt x="156" y="366"/>
                  <a:pt x="157" y="366"/>
                  <a:pt x="157" y="366"/>
                </a:cubicBezTo>
                <a:cubicBezTo>
                  <a:pt x="157" y="366"/>
                  <a:pt x="157" y="366"/>
                  <a:pt x="157" y="366"/>
                </a:cubicBezTo>
                <a:cubicBezTo>
                  <a:pt x="158" y="367"/>
                  <a:pt x="158" y="367"/>
                  <a:pt x="158" y="367"/>
                </a:cubicBezTo>
                <a:cubicBezTo>
                  <a:pt x="158" y="367"/>
                  <a:pt x="159" y="367"/>
                  <a:pt x="159" y="367"/>
                </a:cubicBezTo>
                <a:cubicBezTo>
                  <a:pt x="159" y="367"/>
                  <a:pt x="159" y="367"/>
                  <a:pt x="159" y="367"/>
                </a:cubicBezTo>
                <a:cubicBezTo>
                  <a:pt x="159" y="367"/>
                  <a:pt x="159" y="367"/>
                  <a:pt x="159" y="367"/>
                </a:cubicBezTo>
                <a:cubicBezTo>
                  <a:pt x="160" y="367"/>
                  <a:pt x="160" y="367"/>
                  <a:pt x="160" y="367"/>
                </a:cubicBezTo>
                <a:cubicBezTo>
                  <a:pt x="160" y="368"/>
                  <a:pt x="161" y="368"/>
                  <a:pt x="161" y="368"/>
                </a:cubicBezTo>
                <a:cubicBezTo>
                  <a:pt x="161" y="368"/>
                  <a:pt x="161" y="368"/>
                  <a:pt x="161" y="368"/>
                </a:cubicBezTo>
                <a:cubicBezTo>
                  <a:pt x="162" y="368"/>
                  <a:pt x="162" y="368"/>
                  <a:pt x="162" y="368"/>
                </a:cubicBezTo>
                <a:cubicBezTo>
                  <a:pt x="162" y="368"/>
                  <a:pt x="163" y="368"/>
                  <a:pt x="163" y="368"/>
                </a:cubicBezTo>
                <a:cubicBezTo>
                  <a:pt x="163" y="368"/>
                  <a:pt x="163" y="368"/>
                  <a:pt x="163" y="368"/>
                </a:cubicBezTo>
                <a:cubicBezTo>
                  <a:pt x="164" y="368"/>
                  <a:pt x="164" y="368"/>
                  <a:pt x="164" y="368"/>
                </a:cubicBezTo>
                <a:cubicBezTo>
                  <a:pt x="164" y="368"/>
                  <a:pt x="164" y="368"/>
                  <a:pt x="164" y="368"/>
                </a:cubicBezTo>
                <a:cubicBezTo>
                  <a:pt x="164" y="368"/>
                  <a:pt x="164" y="368"/>
                  <a:pt x="164" y="368"/>
                </a:cubicBezTo>
                <a:cubicBezTo>
                  <a:pt x="165" y="368"/>
                  <a:pt x="166" y="368"/>
                  <a:pt x="167" y="368"/>
                </a:cubicBezTo>
                <a:cubicBezTo>
                  <a:pt x="167" y="368"/>
                  <a:pt x="167" y="368"/>
                  <a:pt x="167" y="368"/>
                </a:cubicBezTo>
                <a:cubicBezTo>
                  <a:pt x="167" y="368"/>
                  <a:pt x="168" y="368"/>
                  <a:pt x="168" y="367"/>
                </a:cubicBezTo>
                <a:cubicBezTo>
                  <a:pt x="168" y="367"/>
                  <a:pt x="168" y="367"/>
                  <a:pt x="168" y="367"/>
                </a:cubicBezTo>
                <a:cubicBezTo>
                  <a:pt x="168" y="367"/>
                  <a:pt x="169" y="367"/>
                  <a:pt x="169" y="367"/>
                </a:cubicBezTo>
                <a:cubicBezTo>
                  <a:pt x="169" y="367"/>
                  <a:pt x="169" y="367"/>
                  <a:pt x="169" y="367"/>
                </a:cubicBezTo>
                <a:cubicBezTo>
                  <a:pt x="170" y="367"/>
                  <a:pt x="170" y="366"/>
                  <a:pt x="171" y="366"/>
                </a:cubicBezTo>
                <a:cubicBezTo>
                  <a:pt x="171" y="366"/>
                  <a:pt x="171" y="366"/>
                  <a:pt x="172" y="366"/>
                </a:cubicBezTo>
                <a:cubicBezTo>
                  <a:pt x="172" y="365"/>
                  <a:pt x="172" y="365"/>
                  <a:pt x="172" y="365"/>
                </a:cubicBezTo>
                <a:cubicBezTo>
                  <a:pt x="172" y="365"/>
                  <a:pt x="172" y="365"/>
                  <a:pt x="173" y="365"/>
                </a:cubicBezTo>
                <a:cubicBezTo>
                  <a:pt x="173" y="365"/>
                  <a:pt x="173" y="365"/>
                  <a:pt x="173" y="365"/>
                </a:cubicBezTo>
                <a:cubicBezTo>
                  <a:pt x="173" y="365"/>
                  <a:pt x="173" y="365"/>
                  <a:pt x="173" y="365"/>
                </a:cubicBezTo>
                <a:cubicBezTo>
                  <a:pt x="173" y="364"/>
                  <a:pt x="173" y="364"/>
                  <a:pt x="174" y="364"/>
                </a:cubicBezTo>
                <a:cubicBezTo>
                  <a:pt x="174" y="364"/>
                  <a:pt x="174" y="364"/>
                  <a:pt x="174" y="364"/>
                </a:cubicBezTo>
                <a:cubicBezTo>
                  <a:pt x="174" y="364"/>
                  <a:pt x="174" y="364"/>
                  <a:pt x="174" y="364"/>
                </a:cubicBezTo>
                <a:cubicBezTo>
                  <a:pt x="174" y="364"/>
                  <a:pt x="177" y="360"/>
                  <a:pt x="183" y="353"/>
                </a:cubicBezTo>
                <a:cubicBezTo>
                  <a:pt x="192" y="344"/>
                  <a:pt x="205" y="330"/>
                  <a:pt x="217" y="317"/>
                </a:cubicBezTo>
                <a:cubicBezTo>
                  <a:pt x="224" y="311"/>
                  <a:pt x="230" y="304"/>
                  <a:pt x="235" y="300"/>
                </a:cubicBezTo>
                <a:cubicBezTo>
                  <a:pt x="240" y="295"/>
                  <a:pt x="245" y="291"/>
                  <a:pt x="247" y="290"/>
                </a:cubicBezTo>
                <a:cubicBezTo>
                  <a:pt x="251" y="288"/>
                  <a:pt x="253" y="284"/>
                  <a:pt x="253" y="280"/>
                </a:cubicBezTo>
                <a:cubicBezTo>
                  <a:pt x="263" y="187"/>
                  <a:pt x="263" y="187"/>
                  <a:pt x="263" y="187"/>
                </a:cubicBezTo>
                <a:cubicBezTo>
                  <a:pt x="264" y="179"/>
                  <a:pt x="258" y="173"/>
                  <a:pt x="251" y="172"/>
                </a:cubicBezTo>
                <a:cubicBezTo>
                  <a:pt x="244" y="171"/>
                  <a:pt x="237" y="177"/>
                  <a:pt x="237" y="184"/>
                </a:cubicBezTo>
                <a:cubicBezTo>
                  <a:pt x="227" y="271"/>
                  <a:pt x="227" y="271"/>
                  <a:pt x="227" y="271"/>
                </a:cubicBezTo>
                <a:cubicBezTo>
                  <a:pt x="226" y="272"/>
                  <a:pt x="224" y="274"/>
                  <a:pt x="223" y="275"/>
                </a:cubicBezTo>
                <a:cubicBezTo>
                  <a:pt x="210" y="286"/>
                  <a:pt x="193" y="303"/>
                  <a:pt x="179" y="318"/>
                </a:cubicBezTo>
                <a:cubicBezTo>
                  <a:pt x="179" y="319"/>
                  <a:pt x="178" y="320"/>
                  <a:pt x="177" y="320"/>
                </a:cubicBezTo>
                <a:cubicBezTo>
                  <a:pt x="177" y="208"/>
                  <a:pt x="177" y="208"/>
                  <a:pt x="177" y="208"/>
                </a:cubicBezTo>
                <a:cubicBezTo>
                  <a:pt x="181" y="203"/>
                  <a:pt x="187" y="198"/>
                  <a:pt x="194" y="193"/>
                </a:cubicBezTo>
                <a:cubicBezTo>
                  <a:pt x="207" y="183"/>
                  <a:pt x="223" y="173"/>
                  <a:pt x="236" y="166"/>
                </a:cubicBezTo>
                <a:cubicBezTo>
                  <a:pt x="242" y="162"/>
                  <a:pt x="248" y="159"/>
                  <a:pt x="252" y="157"/>
                </a:cubicBezTo>
                <a:cubicBezTo>
                  <a:pt x="254" y="156"/>
                  <a:pt x="255" y="155"/>
                  <a:pt x="256" y="155"/>
                </a:cubicBezTo>
                <a:cubicBezTo>
                  <a:pt x="257" y="155"/>
                  <a:pt x="257" y="154"/>
                  <a:pt x="258" y="154"/>
                </a:cubicBezTo>
                <a:cubicBezTo>
                  <a:pt x="269" y="149"/>
                  <a:pt x="284" y="145"/>
                  <a:pt x="296" y="144"/>
                </a:cubicBezTo>
                <a:cubicBezTo>
                  <a:pt x="294" y="185"/>
                  <a:pt x="289" y="235"/>
                  <a:pt x="286" y="257"/>
                </a:cubicBezTo>
                <a:cubicBezTo>
                  <a:pt x="274" y="336"/>
                  <a:pt x="237" y="381"/>
                  <a:pt x="210" y="404"/>
                </a:cubicBezTo>
                <a:cubicBezTo>
                  <a:pt x="199" y="414"/>
                  <a:pt x="190" y="419"/>
                  <a:pt x="182" y="423"/>
                </a:cubicBezTo>
                <a:cubicBezTo>
                  <a:pt x="175" y="426"/>
                  <a:pt x="169" y="426"/>
                  <a:pt x="163" y="426"/>
                </a:cubicBezTo>
                <a:cubicBezTo>
                  <a:pt x="162" y="426"/>
                  <a:pt x="162" y="426"/>
                  <a:pt x="161" y="426"/>
                </a:cubicBezTo>
                <a:cubicBezTo>
                  <a:pt x="155" y="426"/>
                  <a:pt x="149" y="426"/>
                  <a:pt x="142" y="423"/>
                </a:cubicBezTo>
                <a:cubicBezTo>
                  <a:pt x="134" y="419"/>
                  <a:pt x="125" y="414"/>
                  <a:pt x="114" y="404"/>
                </a:cubicBezTo>
                <a:cubicBezTo>
                  <a:pt x="87" y="381"/>
                  <a:pt x="50" y="336"/>
                  <a:pt x="38" y="257"/>
                </a:cubicBezTo>
                <a:cubicBezTo>
                  <a:pt x="34" y="226"/>
                  <a:pt x="26" y="142"/>
                  <a:pt x="26" y="100"/>
                </a:cubicBezTo>
                <a:cubicBezTo>
                  <a:pt x="26" y="93"/>
                  <a:pt x="26" y="87"/>
                  <a:pt x="27" y="83"/>
                </a:cubicBezTo>
                <a:cubicBezTo>
                  <a:pt x="27" y="83"/>
                  <a:pt x="27" y="82"/>
                  <a:pt x="27" y="81"/>
                </a:cubicBezTo>
                <a:cubicBezTo>
                  <a:pt x="28" y="81"/>
                  <a:pt x="29" y="80"/>
                  <a:pt x="30" y="79"/>
                </a:cubicBezTo>
                <a:cubicBezTo>
                  <a:pt x="39" y="72"/>
                  <a:pt x="59" y="59"/>
                  <a:pt x="84" y="47"/>
                </a:cubicBezTo>
                <a:cubicBezTo>
                  <a:pt x="108" y="36"/>
                  <a:pt x="137" y="26"/>
                  <a:pt x="162" y="27"/>
                </a:cubicBezTo>
                <a:cubicBezTo>
                  <a:pt x="162" y="27"/>
                  <a:pt x="162" y="27"/>
                  <a:pt x="162" y="27"/>
                </a:cubicBezTo>
                <a:cubicBezTo>
                  <a:pt x="191" y="26"/>
                  <a:pt x="224" y="39"/>
                  <a:pt x="250" y="52"/>
                </a:cubicBezTo>
                <a:cubicBezTo>
                  <a:pt x="263" y="59"/>
                  <a:pt x="275" y="66"/>
                  <a:pt x="284" y="72"/>
                </a:cubicBezTo>
                <a:cubicBezTo>
                  <a:pt x="288" y="75"/>
                  <a:pt x="291" y="77"/>
                  <a:pt x="294" y="79"/>
                </a:cubicBezTo>
                <a:cubicBezTo>
                  <a:pt x="297" y="81"/>
                  <a:pt x="299" y="83"/>
                  <a:pt x="299" y="83"/>
                </a:cubicBezTo>
                <a:cubicBezTo>
                  <a:pt x="304" y="88"/>
                  <a:pt x="312" y="88"/>
                  <a:pt x="318" y="83"/>
                </a:cubicBezTo>
                <a:cubicBezTo>
                  <a:pt x="323" y="78"/>
                  <a:pt x="323" y="69"/>
                  <a:pt x="318" y="64"/>
                </a:cubicBezTo>
                <a:cubicBezTo>
                  <a:pt x="316" y="62"/>
                  <a:pt x="313" y="60"/>
                  <a:pt x="310" y="58"/>
                </a:cubicBezTo>
                <a:cubicBezTo>
                  <a:pt x="299" y="50"/>
                  <a:pt x="278" y="35"/>
                  <a:pt x="251" y="23"/>
                </a:cubicBezTo>
                <a:cubicBezTo>
                  <a:pt x="225" y="11"/>
                  <a:pt x="194" y="0"/>
                  <a:pt x="162" y="0"/>
                </a:cubicBezTo>
                <a:cubicBezTo>
                  <a:pt x="162" y="0"/>
                  <a:pt x="162" y="0"/>
                  <a:pt x="162" y="0"/>
                </a:cubicBezTo>
                <a:cubicBezTo>
                  <a:pt x="126" y="0"/>
                  <a:pt x="90" y="14"/>
                  <a:pt x="61" y="28"/>
                </a:cubicBezTo>
                <a:cubicBezTo>
                  <a:pt x="47" y="36"/>
                  <a:pt x="35" y="43"/>
                  <a:pt x="25" y="50"/>
                </a:cubicBezTo>
                <a:cubicBezTo>
                  <a:pt x="21" y="53"/>
                  <a:pt x="17" y="56"/>
                  <a:pt x="14" y="58"/>
                </a:cubicBezTo>
                <a:cubicBezTo>
                  <a:pt x="10" y="60"/>
                  <a:pt x="8" y="62"/>
                  <a:pt x="6" y="64"/>
                </a:cubicBezTo>
                <a:cubicBezTo>
                  <a:pt x="4" y="66"/>
                  <a:pt x="3" y="68"/>
                  <a:pt x="3" y="69"/>
                </a:cubicBezTo>
                <a:cubicBezTo>
                  <a:pt x="2" y="72"/>
                  <a:pt x="1" y="74"/>
                  <a:pt x="1" y="76"/>
                </a:cubicBezTo>
                <a:cubicBezTo>
                  <a:pt x="0" y="82"/>
                  <a:pt x="0" y="90"/>
                  <a:pt x="0" y="100"/>
                </a:cubicBezTo>
                <a:cubicBezTo>
                  <a:pt x="0" y="145"/>
                  <a:pt x="7" y="228"/>
                  <a:pt x="12" y="261"/>
                </a:cubicBezTo>
                <a:cubicBezTo>
                  <a:pt x="25" y="347"/>
                  <a:pt x="66" y="398"/>
                  <a:pt x="96" y="424"/>
                </a:cubicBezTo>
                <a:cubicBezTo>
                  <a:pt x="109" y="436"/>
                  <a:pt x="121" y="443"/>
                  <a:pt x="132" y="447"/>
                </a:cubicBezTo>
                <a:cubicBezTo>
                  <a:pt x="143" y="452"/>
                  <a:pt x="153" y="453"/>
                  <a:pt x="162" y="453"/>
                </a:cubicBezTo>
                <a:cubicBezTo>
                  <a:pt x="162" y="453"/>
                  <a:pt x="162" y="453"/>
                  <a:pt x="162" y="453"/>
                </a:cubicBezTo>
                <a:cubicBezTo>
                  <a:pt x="162" y="453"/>
                  <a:pt x="162" y="453"/>
                  <a:pt x="162" y="453"/>
                </a:cubicBezTo>
                <a:cubicBezTo>
                  <a:pt x="162" y="453"/>
                  <a:pt x="162" y="453"/>
                  <a:pt x="162" y="453"/>
                </a:cubicBezTo>
                <a:cubicBezTo>
                  <a:pt x="171" y="453"/>
                  <a:pt x="181" y="452"/>
                  <a:pt x="192" y="447"/>
                </a:cubicBezTo>
                <a:cubicBezTo>
                  <a:pt x="203" y="443"/>
                  <a:pt x="215" y="436"/>
                  <a:pt x="228" y="424"/>
                </a:cubicBezTo>
                <a:cubicBezTo>
                  <a:pt x="258" y="398"/>
                  <a:pt x="299" y="347"/>
                  <a:pt x="312" y="261"/>
                </a:cubicBezTo>
                <a:cubicBezTo>
                  <a:pt x="316" y="235"/>
                  <a:pt x="321" y="176"/>
                  <a:pt x="324" y="130"/>
                </a:cubicBezTo>
                <a:cubicBezTo>
                  <a:pt x="324" y="127"/>
                  <a:pt x="322" y="123"/>
                  <a:pt x="320" y="12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5" name="Freeform 592"/>
          <p:cNvSpPr>
            <a:spLocks/>
          </p:cNvSpPr>
          <p:nvPr userDrawn="1"/>
        </p:nvSpPr>
        <p:spPr bwMode="auto">
          <a:xfrm>
            <a:off x="9323431" y="3061603"/>
            <a:ext cx="515938" cy="373063"/>
          </a:xfrm>
          <a:custGeom>
            <a:avLst/>
            <a:gdLst/>
            <a:ahLst/>
            <a:cxnLst>
              <a:cxn ang="0">
                <a:pos x="445" y="331"/>
              </a:cxn>
              <a:cxn ang="0">
                <a:pos x="13" y="331"/>
              </a:cxn>
              <a:cxn ang="0">
                <a:pos x="0" y="317"/>
              </a:cxn>
              <a:cxn ang="0">
                <a:pos x="0" y="282"/>
              </a:cxn>
              <a:cxn ang="0">
                <a:pos x="4" y="272"/>
              </a:cxn>
              <a:cxn ang="0">
                <a:pos x="70" y="207"/>
              </a:cxn>
              <a:cxn ang="0">
                <a:pos x="70" y="13"/>
              </a:cxn>
              <a:cxn ang="0">
                <a:pos x="83" y="0"/>
              </a:cxn>
              <a:cxn ang="0">
                <a:pos x="375" y="0"/>
              </a:cxn>
              <a:cxn ang="0">
                <a:pos x="388" y="13"/>
              </a:cxn>
              <a:cxn ang="0">
                <a:pos x="388" y="188"/>
              </a:cxn>
              <a:cxn ang="0">
                <a:pos x="375" y="202"/>
              </a:cxn>
              <a:cxn ang="0">
                <a:pos x="361" y="188"/>
              </a:cxn>
              <a:cxn ang="0">
                <a:pos x="361" y="27"/>
              </a:cxn>
              <a:cxn ang="0">
                <a:pos x="97" y="27"/>
              </a:cxn>
              <a:cxn ang="0">
                <a:pos x="97" y="213"/>
              </a:cxn>
              <a:cxn ang="0">
                <a:pos x="93" y="222"/>
              </a:cxn>
              <a:cxn ang="0">
                <a:pos x="26" y="288"/>
              </a:cxn>
              <a:cxn ang="0">
                <a:pos x="26" y="304"/>
              </a:cxn>
              <a:cxn ang="0">
                <a:pos x="432" y="304"/>
              </a:cxn>
              <a:cxn ang="0">
                <a:pos x="432" y="288"/>
              </a:cxn>
              <a:cxn ang="0">
                <a:pos x="371" y="240"/>
              </a:cxn>
              <a:cxn ang="0">
                <a:pos x="139" y="240"/>
              </a:cxn>
              <a:cxn ang="0">
                <a:pos x="126" y="254"/>
              </a:cxn>
              <a:cxn ang="0">
                <a:pos x="363" y="254"/>
              </a:cxn>
              <a:cxn ang="0">
                <a:pos x="377" y="267"/>
              </a:cxn>
              <a:cxn ang="0">
                <a:pos x="363" y="280"/>
              </a:cxn>
              <a:cxn ang="0">
                <a:pos x="96" y="280"/>
              </a:cxn>
              <a:cxn ang="0">
                <a:pos x="83" y="272"/>
              </a:cxn>
              <a:cxn ang="0">
                <a:pos x="86" y="258"/>
              </a:cxn>
              <a:cxn ang="0">
                <a:pos x="124" y="217"/>
              </a:cxn>
              <a:cxn ang="0">
                <a:pos x="134" y="213"/>
              </a:cxn>
              <a:cxn ang="0">
                <a:pos x="376" y="213"/>
              </a:cxn>
              <a:cxn ang="0">
                <a:pos x="385" y="216"/>
              </a:cxn>
              <a:cxn ang="0">
                <a:pos x="454" y="272"/>
              </a:cxn>
              <a:cxn ang="0">
                <a:pos x="458" y="282"/>
              </a:cxn>
              <a:cxn ang="0">
                <a:pos x="458" y="317"/>
              </a:cxn>
              <a:cxn ang="0">
                <a:pos x="445" y="331"/>
              </a:cxn>
            </a:cxnLst>
            <a:rect l="0" t="0" r="r" b="b"/>
            <a:pathLst>
              <a:path w="458" h="331">
                <a:moveTo>
                  <a:pt x="445" y="331"/>
                </a:moveTo>
                <a:cubicBezTo>
                  <a:pt x="13" y="331"/>
                  <a:pt x="13" y="331"/>
                  <a:pt x="13" y="331"/>
                </a:cubicBezTo>
                <a:cubicBezTo>
                  <a:pt x="5" y="331"/>
                  <a:pt x="0" y="325"/>
                  <a:pt x="0" y="317"/>
                </a:cubicBezTo>
                <a:cubicBezTo>
                  <a:pt x="0" y="282"/>
                  <a:pt x="0" y="282"/>
                  <a:pt x="0" y="282"/>
                </a:cubicBezTo>
                <a:cubicBezTo>
                  <a:pt x="0" y="278"/>
                  <a:pt x="1" y="275"/>
                  <a:pt x="4" y="272"/>
                </a:cubicBezTo>
                <a:cubicBezTo>
                  <a:pt x="70" y="207"/>
                  <a:pt x="70" y="207"/>
                  <a:pt x="70" y="207"/>
                </a:cubicBezTo>
                <a:cubicBezTo>
                  <a:pt x="70" y="13"/>
                  <a:pt x="70" y="13"/>
                  <a:pt x="70" y="13"/>
                </a:cubicBezTo>
                <a:cubicBezTo>
                  <a:pt x="70" y="6"/>
                  <a:pt x="76" y="0"/>
                  <a:pt x="83" y="0"/>
                </a:cubicBezTo>
                <a:cubicBezTo>
                  <a:pt x="375" y="0"/>
                  <a:pt x="375" y="0"/>
                  <a:pt x="375" y="0"/>
                </a:cubicBezTo>
                <a:cubicBezTo>
                  <a:pt x="382" y="0"/>
                  <a:pt x="388" y="6"/>
                  <a:pt x="388" y="13"/>
                </a:cubicBezTo>
                <a:cubicBezTo>
                  <a:pt x="388" y="188"/>
                  <a:pt x="388" y="188"/>
                  <a:pt x="388" y="188"/>
                </a:cubicBezTo>
                <a:cubicBezTo>
                  <a:pt x="388" y="196"/>
                  <a:pt x="382" y="202"/>
                  <a:pt x="375" y="202"/>
                </a:cubicBezTo>
                <a:cubicBezTo>
                  <a:pt x="367" y="202"/>
                  <a:pt x="361" y="196"/>
                  <a:pt x="361" y="188"/>
                </a:cubicBezTo>
                <a:cubicBezTo>
                  <a:pt x="361" y="27"/>
                  <a:pt x="361" y="27"/>
                  <a:pt x="361" y="27"/>
                </a:cubicBezTo>
                <a:cubicBezTo>
                  <a:pt x="97" y="27"/>
                  <a:pt x="97" y="27"/>
                  <a:pt x="97" y="27"/>
                </a:cubicBezTo>
                <a:cubicBezTo>
                  <a:pt x="97" y="213"/>
                  <a:pt x="97" y="213"/>
                  <a:pt x="97" y="213"/>
                </a:cubicBezTo>
                <a:cubicBezTo>
                  <a:pt x="97" y="217"/>
                  <a:pt x="95" y="220"/>
                  <a:pt x="93" y="222"/>
                </a:cubicBezTo>
                <a:cubicBezTo>
                  <a:pt x="26" y="288"/>
                  <a:pt x="26" y="288"/>
                  <a:pt x="26" y="288"/>
                </a:cubicBezTo>
                <a:cubicBezTo>
                  <a:pt x="26" y="304"/>
                  <a:pt x="26" y="304"/>
                  <a:pt x="26" y="304"/>
                </a:cubicBezTo>
                <a:cubicBezTo>
                  <a:pt x="432" y="304"/>
                  <a:pt x="432" y="304"/>
                  <a:pt x="432" y="304"/>
                </a:cubicBezTo>
                <a:cubicBezTo>
                  <a:pt x="432" y="288"/>
                  <a:pt x="432" y="288"/>
                  <a:pt x="432" y="288"/>
                </a:cubicBezTo>
                <a:cubicBezTo>
                  <a:pt x="371" y="240"/>
                  <a:pt x="371" y="240"/>
                  <a:pt x="371" y="240"/>
                </a:cubicBezTo>
                <a:cubicBezTo>
                  <a:pt x="139" y="240"/>
                  <a:pt x="139" y="240"/>
                  <a:pt x="139" y="240"/>
                </a:cubicBezTo>
                <a:cubicBezTo>
                  <a:pt x="126" y="254"/>
                  <a:pt x="126" y="254"/>
                  <a:pt x="126" y="254"/>
                </a:cubicBezTo>
                <a:cubicBezTo>
                  <a:pt x="363" y="254"/>
                  <a:pt x="363" y="254"/>
                  <a:pt x="363" y="254"/>
                </a:cubicBezTo>
                <a:cubicBezTo>
                  <a:pt x="371" y="254"/>
                  <a:pt x="377" y="260"/>
                  <a:pt x="377" y="267"/>
                </a:cubicBezTo>
                <a:cubicBezTo>
                  <a:pt x="377" y="274"/>
                  <a:pt x="371" y="280"/>
                  <a:pt x="363" y="280"/>
                </a:cubicBezTo>
                <a:cubicBezTo>
                  <a:pt x="96" y="280"/>
                  <a:pt x="96" y="280"/>
                  <a:pt x="96" y="280"/>
                </a:cubicBezTo>
                <a:cubicBezTo>
                  <a:pt x="90" y="280"/>
                  <a:pt x="86" y="277"/>
                  <a:pt x="83" y="272"/>
                </a:cubicBezTo>
                <a:cubicBezTo>
                  <a:pt x="81" y="267"/>
                  <a:pt x="82" y="262"/>
                  <a:pt x="86" y="258"/>
                </a:cubicBezTo>
                <a:cubicBezTo>
                  <a:pt x="124" y="217"/>
                  <a:pt x="124" y="217"/>
                  <a:pt x="124" y="217"/>
                </a:cubicBezTo>
                <a:cubicBezTo>
                  <a:pt x="126" y="214"/>
                  <a:pt x="130" y="213"/>
                  <a:pt x="134" y="213"/>
                </a:cubicBezTo>
                <a:cubicBezTo>
                  <a:pt x="376" y="213"/>
                  <a:pt x="376" y="213"/>
                  <a:pt x="376" y="213"/>
                </a:cubicBezTo>
                <a:cubicBezTo>
                  <a:pt x="379" y="213"/>
                  <a:pt x="382" y="214"/>
                  <a:pt x="385" y="216"/>
                </a:cubicBezTo>
                <a:cubicBezTo>
                  <a:pt x="454" y="272"/>
                  <a:pt x="454" y="272"/>
                  <a:pt x="454" y="272"/>
                </a:cubicBezTo>
                <a:cubicBezTo>
                  <a:pt x="457" y="274"/>
                  <a:pt x="458" y="278"/>
                  <a:pt x="458" y="282"/>
                </a:cubicBezTo>
                <a:cubicBezTo>
                  <a:pt x="458" y="317"/>
                  <a:pt x="458" y="317"/>
                  <a:pt x="458" y="317"/>
                </a:cubicBezTo>
                <a:cubicBezTo>
                  <a:pt x="458" y="325"/>
                  <a:pt x="453" y="331"/>
                  <a:pt x="445" y="33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6" name="Freeform 644"/>
          <p:cNvSpPr>
            <a:spLocks/>
          </p:cNvSpPr>
          <p:nvPr userDrawn="1"/>
        </p:nvSpPr>
        <p:spPr bwMode="auto">
          <a:xfrm>
            <a:off x="9440113" y="1838231"/>
            <a:ext cx="282574" cy="331788"/>
          </a:xfrm>
          <a:custGeom>
            <a:avLst/>
            <a:gdLst/>
            <a:ahLst/>
            <a:cxnLst>
              <a:cxn ang="0">
                <a:pos x="218" y="89"/>
              </a:cxn>
              <a:cxn ang="0">
                <a:pos x="200" y="103"/>
              </a:cxn>
              <a:cxn ang="0">
                <a:pos x="195" y="116"/>
              </a:cxn>
              <a:cxn ang="0">
                <a:pos x="187" y="231"/>
              </a:cxn>
              <a:cxn ang="0">
                <a:pos x="83" y="247"/>
              </a:cxn>
              <a:cxn ang="0">
                <a:pos x="172" y="227"/>
              </a:cxn>
              <a:cxn ang="0">
                <a:pos x="184" y="223"/>
              </a:cxn>
              <a:cxn ang="0">
                <a:pos x="141" y="157"/>
              </a:cxn>
              <a:cxn ang="0">
                <a:pos x="130" y="157"/>
              </a:cxn>
              <a:cxn ang="0">
                <a:pos x="93" y="135"/>
              </a:cxn>
              <a:cxn ang="0">
                <a:pos x="130" y="152"/>
              </a:cxn>
              <a:cxn ang="0">
                <a:pos x="188" y="91"/>
              </a:cxn>
              <a:cxn ang="0">
                <a:pos x="185" y="87"/>
              </a:cxn>
              <a:cxn ang="0">
                <a:pos x="57" y="93"/>
              </a:cxn>
              <a:cxn ang="0">
                <a:pos x="48" y="101"/>
              </a:cxn>
              <a:cxn ang="0">
                <a:pos x="23" y="169"/>
              </a:cxn>
              <a:cxn ang="0">
                <a:pos x="34" y="233"/>
              </a:cxn>
              <a:cxn ang="0">
                <a:pos x="46" y="91"/>
              </a:cxn>
              <a:cxn ang="0">
                <a:pos x="112" y="59"/>
              </a:cxn>
              <a:cxn ang="0">
                <a:pos x="118" y="53"/>
              </a:cxn>
              <a:cxn ang="0">
                <a:pos x="107" y="31"/>
              </a:cxn>
              <a:cxn ang="0">
                <a:pos x="143" y="31"/>
              </a:cxn>
              <a:cxn ang="0">
                <a:pos x="132" y="53"/>
              </a:cxn>
              <a:cxn ang="0">
                <a:pos x="139" y="59"/>
              </a:cxn>
              <a:cxn ang="0">
                <a:pos x="194" y="82"/>
              </a:cxn>
              <a:cxn ang="0">
                <a:pos x="203" y="72"/>
              </a:cxn>
              <a:cxn ang="0">
                <a:pos x="157" y="31"/>
              </a:cxn>
              <a:cxn ang="0">
                <a:pos x="93" y="31"/>
              </a:cxn>
              <a:cxn ang="0">
                <a:pos x="36" y="81"/>
              </a:cxn>
              <a:cxn ang="0">
                <a:pos x="28" y="247"/>
              </a:cxn>
              <a:cxn ang="0">
                <a:pos x="33" y="250"/>
              </a:cxn>
              <a:cxn ang="0">
                <a:pos x="50" y="236"/>
              </a:cxn>
              <a:cxn ang="0">
                <a:pos x="55" y="223"/>
              </a:cxn>
              <a:cxn ang="0">
                <a:pos x="58" y="111"/>
              </a:cxn>
              <a:cxn ang="0">
                <a:pos x="125" y="81"/>
              </a:cxn>
              <a:cxn ang="0">
                <a:pos x="124" y="138"/>
              </a:cxn>
              <a:cxn ang="0">
                <a:pos x="70" y="110"/>
              </a:cxn>
              <a:cxn ang="0">
                <a:pos x="66" y="123"/>
              </a:cxn>
              <a:cxn ang="0">
                <a:pos x="117" y="186"/>
              </a:cxn>
              <a:cxn ang="0">
                <a:pos x="135" y="172"/>
              </a:cxn>
              <a:cxn ang="0">
                <a:pos x="131" y="187"/>
              </a:cxn>
              <a:cxn ang="0">
                <a:pos x="67" y="243"/>
              </a:cxn>
              <a:cxn ang="0">
                <a:pos x="68" y="254"/>
              </a:cxn>
              <a:cxn ang="0">
                <a:pos x="197" y="241"/>
              </a:cxn>
              <a:cxn ang="0">
                <a:pos x="210" y="112"/>
              </a:cxn>
              <a:cxn ang="0">
                <a:pos x="236" y="169"/>
              </a:cxn>
              <a:cxn ang="0">
                <a:pos x="125" y="280"/>
              </a:cxn>
              <a:cxn ang="0">
                <a:pos x="49" y="260"/>
              </a:cxn>
              <a:cxn ang="0">
                <a:pos x="50" y="269"/>
              </a:cxn>
              <a:cxn ang="0">
                <a:pos x="125" y="294"/>
              </a:cxn>
              <a:cxn ang="0">
                <a:pos x="249" y="169"/>
              </a:cxn>
            </a:cxnLst>
            <a:rect l="0" t="0" r="r" b="b"/>
            <a:pathLst>
              <a:path w="249" h="294">
                <a:moveTo>
                  <a:pt x="223" y="92"/>
                </a:moveTo>
                <a:cubicBezTo>
                  <a:pt x="221" y="90"/>
                  <a:pt x="220" y="89"/>
                  <a:pt x="218" y="89"/>
                </a:cubicBezTo>
                <a:cubicBezTo>
                  <a:pt x="216" y="89"/>
                  <a:pt x="214" y="90"/>
                  <a:pt x="212" y="91"/>
                </a:cubicBezTo>
                <a:cubicBezTo>
                  <a:pt x="200" y="103"/>
                  <a:pt x="200" y="103"/>
                  <a:pt x="200" y="103"/>
                </a:cubicBezTo>
                <a:cubicBezTo>
                  <a:pt x="196" y="106"/>
                  <a:pt x="196" y="106"/>
                  <a:pt x="196" y="106"/>
                </a:cubicBezTo>
                <a:cubicBezTo>
                  <a:pt x="193" y="109"/>
                  <a:pt x="193" y="113"/>
                  <a:pt x="195" y="116"/>
                </a:cubicBezTo>
                <a:cubicBezTo>
                  <a:pt x="207" y="131"/>
                  <a:pt x="213" y="150"/>
                  <a:pt x="213" y="169"/>
                </a:cubicBezTo>
                <a:cubicBezTo>
                  <a:pt x="213" y="192"/>
                  <a:pt x="204" y="214"/>
                  <a:pt x="187" y="231"/>
                </a:cubicBezTo>
                <a:cubicBezTo>
                  <a:pt x="170" y="249"/>
                  <a:pt x="147" y="257"/>
                  <a:pt x="125" y="257"/>
                </a:cubicBezTo>
                <a:cubicBezTo>
                  <a:pt x="110" y="257"/>
                  <a:pt x="96" y="254"/>
                  <a:pt x="83" y="247"/>
                </a:cubicBezTo>
                <a:cubicBezTo>
                  <a:pt x="128" y="202"/>
                  <a:pt x="128" y="202"/>
                  <a:pt x="128" y="202"/>
                </a:cubicBezTo>
                <a:cubicBezTo>
                  <a:pt x="172" y="227"/>
                  <a:pt x="172" y="227"/>
                  <a:pt x="172" y="227"/>
                </a:cubicBezTo>
                <a:cubicBezTo>
                  <a:pt x="175" y="229"/>
                  <a:pt x="178" y="229"/>
                  <a:pt x="181" y="226"/>
                </a:cubicBezTo>
                <a:cubicBezTo>
                  <a:pt x="184" y="223"/>
                  <a:pt x="184" y="223"/>
                  <a:pt x="184" y="223"/>
                </a:cubicBezTo>
                <a:cubicBezTo>
                  <a:pt x="186" y="220"/>
                  <a:pt x="186" y="217"/>
                  <a:pt x="184" y="214"/>
                </a:cubicBezTo>
                <a:cubicBezTo>
                  <a:pt x="141" y="157"/>
                  <a:pt x="141" y="157"/>
                  <a:pt x="141" y="157"/>
                </a:cubicBezTo>
                <a:cubicBezTo>
                  <a:pt x="140" y="156"/>
                  <a:pt x="138" y="155"/>
                  <a:pt x="136" y="155"/>
                </a:cubicBezTo>
                <a:cubicBezTo>
                  <a:pt x="134" y="154"/>
                  <a:pt x="132" y="155"/>
                  <a:pt x="130" y="157"/>
                </a:cubicBezTo>
                <a:cubicBezTo>
                  <a:pt x="119" y="169"/>
                  <a:pt x="119" y="169"/>
                  <a:pt x="119" y="169"/>
                </a:cubicBezTo>
                <a:cubicBezTo>
                  <a:pt x="93" y="135"/>
                  <a:pt x="93" y="135"/>
                  <a:pt x="93" y="135"/>
                </a:cubicBezTo>
                <a:cubicBezTo>
                  <a:pt x="122" y="153"/>
                  <a:pt x="122" y="153"/>
                  <a:pt x="122" y="153"/>
                </a:cubicBezTo>
                <a:cubicBezTo>
                  <a:pt x="124" y="155"/>
                  <a:pt x="128" y="154"/>
                  <a:pt x="130" y="152"/>
                </a:cubicBezTo>
                <a:cubicBezTo>
                  <a:pt x="186" y="98"/>
                  <a:pt x="186" y="98"/>
                  <a:pt x="186" y="98"/>
                </a:cubicBezTo>
                <a:cubicBezTo>
                  <a:pt x="187" y="96"/>
                  <a:pt x="188" y="94"/>
                  <a:pt x="188" y="91"/>
                </a:cubicBezTo>
                <a:cubicBezTo>
                  <a:pt x="187" y="90"/>
                  <a:pt x="186" y="88"/>
                  <a:pt x="185" y="87"/>
                </a:cubicBezTo>
                <a:cubicBezTo>
                  <a:pt x="185" y="87"/>
                  <a:pt x="185" y="87"/>
                  <a:pt x="185" y="87"/>
                </a:cubicBezTo>
                <a:cubicBezTo>
                  <a:pt x="167" y="74"/>
                  <a:pt x="146" y="67"/>
                  <a:pt x="125" y="67"/>
                </a:cubicBezTo>
                <a:cubicBezTo>
                  <a:pt x="100" y="67"/>
                  <a:pt x="76" y="76"/>
                  <a:pt x="57" y="93"/>
                </a:cubicBezTo>
                <a:cubicBezTo>
                  <a:pt x="57" y="93"/>
                  <a:pt x="57" y="93"/>
                  <a:pt x="57" y="93"/>
                </a:cubicBezTo>
                <a:cubicBezTo>
                  <a:pt x="48" y="101"/>
                  <a:pt x="48" y="101"/>
                  <a:pt x="48" y="101"/>
                </a:cubicBezTo>
                <a:cubicBezTo>
                  <a:pt x="48" y="102"/>
                  <a:pt x="48" y="102"/>
                  <a:pt x="48" y="102"/>
                </a:cubicBezTo>
                <a:cubicBezTo>
                  <a:pt x="31" y="121"/>
                  <a:pt x="23" y="145"/>
                  <a:pt x="23" y="169"/>
                </a:cubicBezTo>
                <a:cubicBezTo>
                  <a:pt x="23" y="189"/>
                  <a:pt x="29" y="209"/>
                  <a:pt x="40" y="226"/>
                </a:cubicBezTo>
                <a:cubicBezTo>
                  <a:pt x="34" y="233"/>
                  <a:pt x="34" y="233"/>
                  <a:pt x="34" y="233"/>
                </a:cubicBezTo>
                <a:cubicBezTo>
                  <a:pt x="20" y="214"/>
                  <a:pt x="14" y="191"/>
                  <a:pt x="14" y="169"/>
                </a:cubicBezTo>
                <a:cubicBezTo>
                  <a:pt x="14" y="141"/>
                  <a:pt x="25" y="112"/>
                  <a:pt x="46" y="91"/>
                </a:cubicBezTo>
                <a:cubicBezTo>
                  <a:pt x="64" y="72"/>
                  <a:pt x="87" y="62"/>
                  <a:pt x="111" y="59"/>
                </a:cubicBezTo>
                <a:cubicBezTo>
                  <a:pt x="112" y="59"/>
                  <a:pt x="112" y="59"/>
                  <a:pt x="112" y="59"/>
                </a:cubicBezTo>
                <a:cubicBezTo>
                  <a:pt x="113" y="58"/>
                  <a:pt x="113" y="58"/>
                  <a:pt x="113" y="58"/>
                </a:cubicBezTo>
                <a:cubicBezTo>
                  <a:pt x="116" y="58"/>
                  <a:pt x="118" y="56"/>
                  <a:pt x="118" y="53"/>
                </a:cubicBezTo>
                <a:cubicBezTo>
                  <a:pt x="118" y="50"/>
                  <a:pt x="117" y="48"/>
                  <a:pt x="115" y="46"/>
                </a:cubicBezTo>
                <a:cubicBezTo>
                  <a:pt x="110" y="43"/>
                  <a:pt x="107" y="37"/>
                  <a:pt x="107" y="31"/>
                </a:cubicBezTo>
                <a:cubicBezTo>
                  <a:pt x="107" y="21"/>
                  <a:pt x="115" y="14"/>
                  <a:pt x="125" y="13"/>
                </a:cubicBezTo>
                <a:cubicBezTo>
                  <a:pt x="135" y="14"/>
                  <a:pt x="143" y="21"/>
                  <a:pt x="143" y="31"/>
                </a:cubicBezTo>
                <a:cubicBezTo>
                  <a:pt x="143" y="37"/>
                  <a:pt x="139" y="43"/>
                  <a:pt x="135" y="46"/>
                </a:cubicBezTo>
                <a:cubicBezTo>
                  <a:pt x="132" y="48"/>
                  <a:pt x="131" y="51"/>
                  <a:pt x="132" y="53"/>
                </a:cubicBezTo>
                <a:cubicBezTo>
                  <a:pt x="132" y="56"/>
                  <a:pt x="135" y="58"/>
                  <a:pt x="137" y="59"/>
                </a:cubicBezTo>
                <a:cubicBezTo>
                  <a:pt x="139" y="59"/>
                  <a:pt x="139" y="59"/>
                  <a:pt x="139" y="59"/>
                </a:cubicBezTo>
                <a:cubicBezTo>
                  <a:pt x="140" y="59"/>
                  <a:pt x="140" y="59"/>
                  <a:pt x="140" y="59"/>
                </a:cubicBezTo>
                <a:cubicBezTo>
                  <a:pt x="159" y="62"/>
                  <a:pt x="178" y="70"/>
                  <a:pt x="194" y="82"/>
                </a:cubicBezTo>
                <a:cubicBezTo>
                  <a:pt x="197" y="85"/>
                  <a:pt x="201" y="84"/>
                  <a:pt x="204" y="81"/>
                </a:cubicBezTo>
                <a:cubicBezTo>
                  <a:pt x="206" y="78"/>
                  <a:pt x="206" y="74"/>
                  <a:pt x="203" y="72"/>
                </a:cubicBezTo>
                <a:cubicBezTo>
                  <a:pt x="187" y="59"/>
                  <a:pt x="170" y="51"/>
                  <a:pt x="152" y="47"/>
                </a:cubicBezTo>
                <a:cubicBezTo>
                  <a:pt x="155" y="43"/>
                  <a:pt x="157" y="37"/>
                  <a:pt x="157" y="31"/>
                </a:cubicBezTo>
                <a:cubicBezTo>
                  <a:pt x="157" y="14"/>
                  <a:pt x="142" y="0"/>
                  <a:pt x="125" y="0"/>
                </a:cubicBezTo>
                <a:cubicBezTo>
                  <a:pt x="107" y="0"/>
                  <a:pt x="93" y="14"/>
                  <a:pt x="93" y="31"/>
                </a:cubicBezTo>
                <a:cubicBezTo>
                  <a:pt x="93" y="37"/>
                  <a:pt x="95" y="43"/>
                  <a:pt x="97" y="47"/>
                </a:cubicBezTo>
                <a:cubicBezTo>
                  <a:pt x="75" y="52"/>
                  <a:pt x="54" y="63"/>
                  <a:pt x="36" y="81"/>
                </a:cubicBezTo>
                <a:cubicBezTo>
                  <a:pt x="12" y="105"/>
                  <a:pt x="0" y="137"/>
                  <a:pt x="0" y="169"/>
                </a:cubicBezTo>
                <a:cubicBezTo>
                  <a:pt x="0" y="197"/>
                  <a:pt x="9" y="225"/>
                  <a:pt x="28" y="247"/>
                </a:cubicBezTo>
                <a:cubicBezTo>
                  <a:pt x="29" y="249"/>
                  <a:pt x="31" y="250"/>
                  <a:pt x="33" y="250"/>
                </a:cubicBezTo>
                <a:cubicBezTo>
                  <a:pt x="33" y="250"/>
                  <a:pt x="33" y="250"/>
                  <a:pt x="33" y="250"/>
                </a:cubicBezTo>
                <a:cubicBezTo>
                  <a:pt x="35" y="250"/>
                  <a:pt x="36" y="249"/>
                  <a:pt x="38" y="248"/>
                </a:cubicBezTo>
                <a:cubicBezTo>
                  <a:pt x="50" y="236"/>
                  <a:pt x="50" y="236"/>
                  <a:pt x="50" y="236"/>
                </a:cubicBezTo>
                <a:cubicBezTo>
                  <a:pt x="54" y="233"/>
                  <a:pt x="54" y="233"/>
                  <a:pt x="54" y="233"/>
                </a:cubicBezTo>
                <a:cubicBezTo>
                  <a:pt x="57" y="230"/>
                  <a:pt x="57" y="226"/>
                  <a:pt x="55" y="223"/>
                </a:cubicBezTo>
                <a:cubicBezTo>
                  <a:pt x="43" y="207"/>
                  <a:pt x="37" y="188"/>
                  <a:pt x="37" y="169"/>
                </a:cubicBezTo>
                <a:cubicBezTo>
                  <a:pt x="37" y="148"/>
                  <a:pt x="44" y="128"/>
                  <a:pt x="58" y="111"/>
                </a:cubicBezTo>
                <a:cubicBezTo>
                  <a:pt x="66" y="103"/>
                  <a:pt x="66" y="103"/>
                  <a:pt x="66" y="103"/>
                </a:cubicBezTo>
                <a:cubicBezTo>
                  <a:pt x="83" y="88"/>
                  <a:pt x="104" y="81"/>
                  <a:pt x="125" y="81"/>
                </a:cubicBezTo>
                <a:cubicBezTo>
                  <a:pt x="140" y="81"/>
                  <a:pt x="156" y="85"/>
                  <a:pt x="170" y="94"/>
                </a:cubicBezTo>
                <a:cubicBezTo>
                  <a:pt x="124" y="138"/>
                  <a:pt x="124" y="138"/>
                  <a:pt x="124" y="138"/>
                </a:cubicBezTo>
                <a:cubicBezTo>
                  <a:pt x="78" y="109"/>
                  <a:pt x="78" y="109"/>
                  <a:pt x="78" y="109"/>
                </a:cubicBezTo>
                <a:cubicBezTo>
                  <a:pt x="76" y="108"/>
                  <a:pt x="72" y="108"/>
                  <a:pt x="70" y="110"/>
                </a:cubicBezTo>
                <a:cubicBezTo>
                  <a:pt x="67" y="113"/>
                  <a:pt x="67" y="113"/>
                  <a:pt x="67" y="113"/>
                </a:cubicBezTo>
                <a:cubicBezTo>
                  <a:pt x="64" y="116"/>
                  <a:pt x="64" y="120"/>
                  <a:pt x="66" y="123"/>
                </a:cubicBezTo>
                <a:cubicBezTo>
                  <a:pt x="112" y="183"/>
                  <a:pt x="112" y="183"/>
                  <a:pt x="112" y="183"/>
                </a:cubicBezTo>
                <a:cubicBezTo>
                  <a:pt x="114" y="185"/>
                  <a:pt x="115" y="186"/>
                  <a:pt x="117" y="186"/>
                </a:cubicBezTo>
                <a:cubicBezTo>
                  <a:pt x="119" y="186"/>
                  <a:pt x="121" y="185"/>
                  <a:pt x="123" y="184"/>
                </a:cubicBezTo>
                <a:cubicBezTo>
                  <a:pt x="135" y="172"/>
                  <a:pt x="135" y="172"/>
                  <a:pt x="135" y="172"/>
                </a:cubicBezTo>
                <a:cubicBezTo>
                  <a:pt x="159" y="204"/>
                  <a:pt x="159" y="204"/>
                  <a:pt x="159" y="204"/>
                </a:cubicBezTo>
                <a:cubicBezTo>
                  <a:pt x="131" y="187"/>
                  <a:pt x="131" y="187"/>
                  <a:pt x="131" y="187"/>
                </a:cubicBezTo>
                <a:cubicBezTo>
                  <a:pt x="128" y="185"/>
                  <a:pt x="125" y="186"/>
                  <a:pt x="122" y="188"/>
                </a:cubicBezTo>
                <a:cubicBezTo>
                  <a:pt x="67" y="243"/>
                  <a:pt x="67" y="243"/>
                  <a:pt x="67" y="243"/>
                </a:cubicBezTo>
                <a:cubicBezTo>
                  <a:pt x="65" y="245"/>
                  <a:pt x="65" y="247"/>
                  <a:pt x="65" y="249"/>
                </a:cubicBezTo>
                <a:cubicBezTo>
                  <a:pt x="65" y="251"/>
                  <a:pt x="66" y="253"/>
                  <a:pt x="68" y="254"/>
                </a:cubicBezTo>
                <a:cubicBezTo>
                  <a:pt x="85" y="265"/>
                  <a:pt x="105" y="271"/>
                  <a:pt x="125" y="271"/>
                </a:cubicBezTo>
                <a:cubicBezTo>
                  <a:pt x="151" y="271"/>
                  <a:pt x="177" y="261"/>
                  <a:pt x="197" y="241"/>
                </a:cubicBezTo>
                <a:cubicBezTo>
                  <a:pt x="217" y="221"/>
                  <a:pt x="227" y="195"/>
                  <a:pt x="227" y="169"/>
                </a:cubicBezTo>
                <a:cubicBezTo>
                  <a:pt x="227" y="149"/>
                  <a:pt x="221" y="129"/>
                  <a:pt x="210" y="112"/>
                </a:cubicBezTo>
                <a:cubicBezTo>
                  <a:pt x="216" y="106"/>
                  <a:pt x="216" y="106"/>
                  <a:pt x="216" y="106"/>
                </a:cubicBezTo>
                <a:cubicBezTo>
                  <a:pt x="229" y="125"/>
                  <a:pt x="236" y="147"/>
                  <a:pt x="236" y="169"/>
                </a:cubicBezTo>
                <a:cubicBezTo>
                  <a:pt x="236" y="197"/>
                  <a:pt x="225" y="226"/>
                  <a:pt x="203" y="247"/>
                </a:cubicBezTo>
                <a:cubicBezTo>
                  <a:pt x="181" y="269"/>
                  <a:pt x="153" y="280"/>
                  <a:pt x="125" y="280"/>
                </a:cubicBezTo>
                <a:cubicBezTo>
                  <a:pt x="101" y="280"/>
                  <a:pt x="78" y="273"/>
                  <a:pt x="59" y="258"/>
                </a:cubicBezTo>
                <a:cubicBezTo>
                  <a:pt x="56" y="256"/>
                  <a:pt x="51" y="257"/>
                  <a:pt x="49" y="260"/>
                </a:cubicBezTo>
                <a:cubicBezTo>
                  <a:pt x="47" y="263"/>
                  <a:pt x="47" y="267"/>
                  <a:pt x="50" y="269"/>
                </a:cubicBezTo>
                <a:cubicBezTo>
                  <a:pt x="50" y="269"/>
                  <a:pt x="50" y="269"/>
                  <a:pt x="50" y="269"/>
                </a:cubicBezTo>
                <a:cubicBezTo>
                  <a:pt x="72" y="286"/>
                  <a:pt x="99" y="294"/>
                  <a:pt x="125" y="294"/>
                </a:cubicBezTo>
                <a:cubicBezTo>
                  <a:pt x="125" y="294"/>
                  <a:pt x="125" y="294"/>
                  <a:pt x="125" y="294"/>
                </a:cubicBezTo>
                <a:cubicBezTo>
                  <a:pt x="157" y="294"/>
                  <a:pt x="189" y="282"/>
                  <a:pt x="213" y="257"/>
                </a:cubicBezTo>
                <a:cubicBezTo>
                  <a:pt x="237" y="233"/>
                  <a:pt x="249" y="201"/>
                  <a:pt x="249" y="169"/>
                </a:cubicBezTo>
                <a:cubicBezTo>
                  <a:pt x="249" y="142"/>
                  <a:pt x="241" y="114"/>
                  <a:pt x="223" y="9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7" name="Freeform 493"/>
          <p:cNvSpPr>
            <a:spLocks/>
          </p:cNvSpPr>
          <p:nvPr userDrawn="1"/>
        </p:nvSpPr>
        <p:spPr bwMode="auto">
          <a:xfrm>
            <a:off x="10006013" y="4403229"/>
            <a:ext cx="317500" cy="515937"/>
          </a:xfrm>
          <a:custGeom>
            <a:avLst/>
            <a:gdLst/>
            <a:ahLst/>
            <a:cxnLst>
              <a:cxn ang="0">
                <a:pos x="265" y="150"/>
              </a:cxn>
              <a:cxn ang="0">
                <a:pos x="275" y="105"/>
              </a:cxn>
              <a:cxn ang="0">
                <a:pos x="277" y="53"/>
              </a:cxn>
              <a:cxn ang="0">
                <a:pos x="260" y="17"/>
              </a:cxn>
              <a:cxn ang="0">
                <a:pos x="190" y="12"/>
              </a:cxn>
              <a:cxn ang="0">
                <a:pos x="58" y="19"/>
              </a:cxn>
              <a:cxn ang="0">
                <a:pos x="31" y="34"/>
              </a:cxn>
              <a:cxn ang="0">
                <a:pos x="0" y="80"/>
              </a:cxn>
              <a:cxn ang="0">
                <a:pos x="0" y="142"/>
              </a:cxn>
              <a:cxn ang="0">
                <a:pos x="11" y="174"/>
              </a:cxn>
              <a:cxn ang="0">
                <a:pos x="0" y="209"/>
              </a:cxn>
              <a:cxn ang="0">
                <a:pos x="43" y="240"/>
              </a:cxn>
              <a:cxn ang="0">
                <a:pos x="26" y="208"/>
              </a:cxn>
              <a:cxn ang="0">
                <a:pos x="49" y="173"/>
              </a:cxn>
              <a:cxn ang="0">
                <a:pos x="26" y="143"/>
              </a:cxn>
              <a:cxn ang="0">
                <a:pos x="38" y="125"/>
              </a:cxn>
              <a:cxn ang="0">
                <a:pos x="49" y="114"/>
              </a:cxn>
              <a:cxn ang="0">
                <a:pos x="48" y="103"/>
              </a:cxn>
              <a:cxn ang="0">
                <a:pos x="26" y="79"/>
              </a:cxn>
              <a:cxn ang="0">
                <a:pos x="38" y="60"/>
              </a:cxn>
              <a:cxn ang="0">
                <a:pos x="71" y="42"/>
              </a:cxn>
              <a:cxn ang="0">
                <a:pos x="106" y="27"/>
              </a:cxn>
              <a:cxn ang="0">
                <a:pos x="191" y="39"/>
              </a:cxn>
              <a:cxn ang="0">
                <a:pos x="231" y="35"/>
              </a:cxn>
              <a:cxn ang="0">
                <a:pos x="249" y="44"/>
              </a:cxn>
              <a:cxn ang="0">
                <a:pos x="236" y="71"/>
              </a:cxn>
              <a:cxn ang="0">
                <a:pos x="82" y="107"/>
              </a:cxn>
              <a:cxn ang="0">
                <a:pos x="238" y="98"/>
              </a:cxn>
              <a:cxn ang="0">
                <a:pos x="249" y="109"/>
              </a:cxn>
              <a:cxn ang="0">
                <a:pos x="236" y="137"/>
              </a:cxn>
              <a:cxn ang="0">
                <a:pos x="227" y="138"/>
              </a:cxn>
              <a:cxn ang="0">
                <a:pos x="96" y="155"/>
              </a:cxn>
              <a:cxn ang="0">
                <a:pos x="99" y="181"/>
              </a:cxn>
              <a:cxn ang="0">
                <a:pos x="231" y="165"/>
              </a:cxn>
              <a:cxn ang="0">
                <a:pos x="249" y="174"/>
              </a:cxn>
              <a:cxn ang="0">
                <a:pos x="251" y="188"/>
              </a:cxn>
              <a:cxn ang="0">
                <a:pos x="90" y="224"/>
              </a:cxn>
              <a:cxn ang="0">
                <a:pos x="58" y="247"/>
              </a:cxn>
              <a:cxn ang="0">
                <a:pos x="64" y="267"/>
              </a:cxn>
              <a:cxn ang="0">
                <a:pos x="54" y="278"/>
              </a:cxn>
              <a:cxn ang="0">
                <a:pos x="36" y="321"/>
              </a:cxn>
              <a:cxn ang="0">
                <a:pos x="91" y="394"/>
              </a:cxn>
              <a:cxn ang="0">
                <a:pos x="97" y="441"/>
              </a:cxn>
              <a:cxn ang="0">
                <a:pos x="139" y="459"/>
              </a:cxn>
              <a:cxn ang="0">
                <a:pos x="182" y="437"/>
              </a:cxn>
              <a:cxn ang="0">
                <a:pos x="231" y="360"/>
              </a:cxn>
              <a:cxn ang="0">
                <a:pos x="235" y="287"/>
              </a:cxn>
              <a:cxn ang="0">
                <a:pos x="186" y="278"/>
              </a:cxn>
              <a:cxn ang="0">
                <a:pos x="189" y="267"/>
              </a:cxn>
              <a:cxn ang="0">
                <a:pos x="163" y="262"/>
              </a:cxn>
              <a:cxn ang="0">
                <a:pos x="156" y="299"/>
              </a:cxn>
              <a:cxn ang="0">
                <a:pos x="212" y="304"/>
              </a:cxn>
              <a:cxn ang="0">
                <a:pos x="208" y="347"/>
              </a:cxn>
              <a:cxn ang="0">
                <a:pos x="160" y="383"/>
              </a:cxn>
              <a:cxn ang="0">
                <a:pos x="140" y="432"/>
              </a:cxn>
              <a:cxn ang="0">
                <a:pos x="121" y="428"/>
              </a:cxn>
              <a:cxn ang="0">
                <a:pos x="106" y="371"/>
              </a:cxn>
              <a:cxn ang="0">
                <a:pos x="63" y="321"/>
              </a:cxn>
              <a:cxn ang="0">
                <a:pos x="110" y="304"/>
              </a:cxn>
              <a:cxn ang="0">
                <a:pos x="124" y="291"/>
              </a:cxn>
              <a:cxn ang="0">
                <a:pos x="88" y="253"/>
              </a:cxn>
              <a:cxn ang="0">
                <a:pos x="240" y="227"/>
              </a:cxn>
              <a:cxn ang="0">
                <a:pos x="277" y="183"/>
              </a:cxn>
            </a:cxnLst>
            <a:rect l="0" t="0" r="r" b="b"/>
            <a:pathLst>
              <a:path w="280" h="459">
                <a:moveTo>
                  <a:pt x="275" y="170"/>
                </a:moveTo>
                <a:cubicBezTo>
                  <a:pt x="274" y="162"/>
                  <a:pt x="271" y="156"/>
                  <a:pt x="265" y="150"/>
                </a:cubicBezTo>
                <a:cubicBezTo>
                  <a:pt x="274" y="142"/>
                  <a:pt x="279" y="130"/>
                  <a:pt x="277" y="118"/>
                </a:cubicBezTo>
                <a:cubicBezTo>
                  <a:pt x="275" y="105"/>
                  <a:pt x="275" y="105"/>
                  <a:pt x="275" y="105"/>
                </a:cubicBezTo>
                <a:cubicBezTo>
                  <a:pt x="274" y="97"/>
                  <a:pt x="271" y="90"/>
                  <a:pt x="266" y="85"/>
                </a:cubicBezTo>
                <a:cubicBezTo>
                  <a:pt x="274" y="77"/>
                  <a:pt x="279" y="65"/>
                  <a:pt x="277" y="53"/>
                </a:cubicBezTo>
                <a:cubicBezTo>
                  <a:pt x="275" y="40"/>
                  <a:pt x="275" y="40"/>
                  <a:pt x="275" y="40"/>
                </a:cubicBezTo>
                <a:cubicBezTo>
                  <a:pt x="274" y="31"/>
                  <a:pt x="268" y="23"/>
                  <a:pt x="260" y="17"/>
                </a:cubicBezTo>
                <a:cubicBezTo>
                  <a:pt x="251" y="10"/>
                  <a:pt x="239" y="7"/>
                  <a:pt x="228" y="9"/>
                </a:cubicBezTo>
                <a:cubicBezTo>
                  <a:pt x="225" y="9"/>
                  <a:pt x="193" y="12"/>
                  <a:pt x="190" y="12"/>
                </a:cubicBezTo>
                <a:cubicBezTo>
                  <a:pt x="166" y="8"/>
                  <a:pt x="113" y="0"/>
                  <a:pt x="106" y="0"/>
                </a:cubicBezTo>
                <a:cubicBezTo>
                  <a:pt x="93" y="0"/>
                  <a:pt x="58" y="19"/>
                  <a:pt x="58" y="19"/>
                </a:cubicBezTo>
                <a:cubicBezTo>
                  <a:pt x="58" y="19"/>
                  <a:pt x="58" y="19"/>
                  <a:pt x="58" y="19"/>
                </a:cubicBezTo>
                <a:cubicBezTo>
                  <a:pt x="58" y="19"/>
                  <a:pt x="34" y="32"/>
                  <a:pt x="31" y="34"/>
                </a:cubicBezTo>
                <a:cubicBezTo>
                  <a:pt x="12" y="38"/>
                  <a:pt x="0" y="55"/>
                  <a:pt x="0" y="77"/>
                </a:cubicBezTo>
                <a:cubicBezTo>
                  <a:pt x="0" y="78"/>
                  <a:pt x="0" y="79"/>
                  <a:pt x="0" y="80"/>
                </a:cubicBezTo>
                <a:cubicBezTo>
                  <a:pt x="0" y="92"/>
                  <a:pt x="5" y="102"/>
                  <a:pt x="11" y="110"/>
                </a:cubicBezTo>
                <a:cubicBezTo>
                  <a:pt x="4" y="118"/>
                  <a:pt x="0" y="129"/>
                  <a:pt x="0" y="142"/>
                </a:cubicBezTo>
                <a:cubicBezTo>
                  <a:pt x="0" y="143"/>
                  <a:pt x="0" y="143"/>
                  <a:pt x="0" y="144"/>
                </a:cubicBezTo>
                <a:cubicBezTo>
                  <a:pt x="0" y="156"/>
                  <a:pt x="5" y="166"/>
                  <a:pt x="11" y="174"/>
                </a:cubicBezTo>
                <a:cubicBezTo>
                  <a:pt x="4" y="183"/>
                  <a:pt x="0" y="195"/>
                  <a:pt x="0" y="207"/>
                </a:cubicBezTo>
                <a:cubicBezTo>
                  <a:pt x="0" y="208"/>
                  <a:pt x="0" y="208"/>
                  <a:pt x="0" y="209"/>
                </a:cubicBezTo>
                <a:cubicBezTo>
                  <a:pt x="0" y="221"/>
                  <a:pt x="5" y="237"/>
                  <a:pt x="25" y="246"/>
                </a:cubicBezTo>
                <a:cubicBezTo>
                  <a:pt x="32" y="250"/>
                  <a:pt x="40" y="247"/>
                  <a:pt x="43" y="240"/>
                </a:cubicBezTo>
                <a:cubicBezTo>
                  <a:pt x="46" y="234"/>
                  <a:pt x="44" y="226"/>
                  <a:pt x="37" y="223"/>
                </a:cubicBezTo>
                <a:cubicBezTo>
                  <a:pt x="30" y="219"/>
                  <a:pt x="27" y="215"/>
                  <a:pt x="26" y="208"/>
                </a:cubicBezTo>
                <a:cubicBezTo>
                  <a:pt x="26" y="200"/>
                  <a:pt x="31" y="189"/>
                  <a:pt x="38" y="187"/>
                </a:cubicBezTo>
                <a:cubicBezTo>
                  <a:pt x="45" y="186"/>
                  <a:pt x="50" y="180"/>
                  <a:pt x="49" y="173"/>
                </a:cubicBezTo>
                <a:cubicBezTo>
                  <a:pt x="48" y="166"/>
                  <a:pt x="42" y="161"/>
                  <a:pt x="35" y="161"/>
                </a:cubicBezTo>
                <a:cubicBezTo>
                  <a:pt x="32" y="159"/>
                  <a:pt x="27" y="152"/>
                  <a:pt x="26" y="143"/>
                </a:cubicBezTo>
                <a:cubicBezTo>
                  <a:pt x="26" y="143"/>
                  <a:pt x="26" y="142"/>
                  <a:pt x="26" y="142"/>
                </a:cubicBezTo>
                <a:cubicBezTo>
                  <a:pt x="26" y="135"/>
                  <a:pt x="28" y="127"/>
                  <a:pt x="38" y="125"/>
                </a:cubicBezTo>
                <a:cubicBezTo>
                  <a:pt x="43" y="124"/>
                  <a:pt x="47" y="121"/>
                  <a:pt x="49" y="116"/>
                </a:cubicBezTo>
                <a:cubicBezTo>
                  <a:pt x="49" y="114"/>
                  <a:pt x="49" y="114"/>
                  <a:pt x="49" y="114"/>
                </a:cubicBezTo>
                <a:cubicBezTo>
                  <a:pt x="50" y="113"/>
                  <a:pt x="50" y="111"/>
                  <a:pt x="50" y="110"/>
                </a:cubicBezTo>
                <a:cubicBezTo>
                  <a:pt x="50" y="108"/>
                  <a:pt x="49" y="105"/>
                  <a:pt x="48" y="103"/>
                </a:cubicBezTo>
                <a:cubicBezTo>
                  <a:pt x="45" y="100"/>
                  <a:pt x="42" y="97"/>
                  <a:pt x="38" y="97"/>
                </a:cubicBezTo>
                <a:cubicBezTo>
                  <a:pt x="33" y="96"/>
                  <a:pt x="27" y="89"/>
                  <a:pt x="26" y="79"/>
                </a:cubicBezTo>
                <a:cubicBezTo>
                  <a:pt x="26" y="78"/>
                  <a:pt x="26" y="78"/>
                  <a:pt x="26" y="77"/>
                </a:cubicBezTo>
                <a:cubicBezTo>
                  <a:pt x="26" y="72"/>
                  <a:pt x="28" y="61"/>
                  <a:pt x="38" y="60"/>
                </a:cubicBezTo>
                <a:cubicBezTo>
                  <a:pt x="39" y="59"/>
                  <a:pt x="41" y="59"/>
                  <a:pt x="42" y="58"/>
                </a:cubicBezTo>
                <a:cubicBezTo>
                  <a:pt x="71" y="42"/>
                  <a:pt x="71" y="42"/>
                  <a:pt x="71" y="42"/>
                </a:cubicBezTo>
                <a:cubicBezTo>
                  <a:pt x="71" y="42"/>
                  <a:pt x="71" y="42"/>
                  <a:pt x="71" y="42"/>
                </a:cubicBezTo>
                <a:cubicBezTo>
                  <a:pt x="78" y="38"/>
                  <a:pt x="100" y="28"/>
                  <a:pt x="106" y="27"/>
                </a:cubicBezTo>
                <a:cubicBezTo>
                  <a:pt x="113" y="27"/>
                  <a:pt x="158" y="34"/>
                  <a:pt x="188" y="39"/>
                </a:cubicBezTo>
                <a:cubicBezTo>
                  <a:pt x="189" y="39"/>
                  <a:pt x="190" y="39"/>
                  <a:pt x="191" y="39"/>
                </a:cubicBezTo>
                <a:cubicBezTo>
                  <a:pt x="230" y="35"/>
                  <a:pt x="230" y="35"/>
                  <a:pt x="230" y="35"/>
                </a:cubicBezTo>
                <a:cubicBezTo>
                  <a:pt x="230" y="35"/>
                  <a:pt x="231" y="35"/>
                  <a:pt x="231" y="35"/>
                </a:cubicBezTo>
                <a:cubicBezTo>
                  <a:pt x="236" y="35"/>
                  <a:pt x="241" y="36"/>
                  <a:pt x="245" y="38"/>
                </a:cubicBezTo>
                <a:cubicBezTo>
                  <a:pt x="246" y="39"/>
                  <a:pt x="248" y="41"/>
                  <a:pt x="249" y="44"/>
                </a:cubicBezTo>
                <a:cubicBezTo>
                  <a:pt x="251" y="57"/>
                  <a:pt x="251" y="57"/>
                  <a:pt x="251" y="57"/>
                </a:cubicBezTo>
                <a:cubicBezTo>
                  <a:pt x="251" y="64"/>
                  <a:pt x="245" y="70"/>
                  <a:pt x="236" y="71"/>
                </a:cubicBezTo>
                <a:cubicBezTo>
                  <a:pt x="93" y="92"/>
                  <a:pt x="93" y="92"/>
                  <a:pt x="93" y="92"/>
                </a:cubicBezTo>
                <a:cubicBezTo>
                  <a:pt x="86" y="93"/>
                  <a:pt x="81" y="100"/>
                  <a:pt x="82" y="107"/>
                </a:cubicBezTo>
                <a:cubicBezTo>
                  <a:pt x="83" y="114"/>
                  <a:pt x="90" y="119"/>
                  <a:pt x="97" y="118"/>
                </a:cubicBezTo>
                <a:cubicBezTo>
                  <a:pt x="238" y="98"/>
                  <a:pt x="238" y="98"/>
                  <a:pt x="238" y="98"/>
                </a:cubicBezTo>
                <a:cubicBezTo>
                  <a:pt x="238" y="98"/>
                  <a:pt x="239" y="98"/>
                  <a:pt x="239" y="98"/>
                </a:cubicBezTo>
                <a:cubicBezTo>
                  <a:pt x="245" y="100"/>
                  <a:pt x="248" y="105"/>
                  <a:pt x="249" y="109"/>
                </a:cubicBezTo>
                <a:cubicBezTo>
                  <a:pt x="251" y="122"/>
                  <a:pt x="251" y="122"/>
                  <a:pt x="251" y="122"/>
                </a:cubicBezTo>
                <a:cubicBezTo>
                  <a:pt x="251" y="128"/>
                  <a:pt x="245" y="135"/>
                  <a:pt x="236" y="137"/>
                </a:cubicBezTo>
                <a:cubicBezTo>
                  <a:pt x="235" y="137"/>
                  <a:pt x="234" y="137"/>
                  <a:pt x="233" y="138"/>
                </a:cubicBezTo>
                <a:cubicBezTo>
                  <a:pt x="231" y="138"/>
                  <a:pt x="229" y="138"/>
                  <a:pt x="227" y="138"/>
                </a:cubicBezTo>
                <a:cubicBezTo>
                  <a:pt x="227" y="138"/>
                  <a:pt x="227" y="138"/>
                  <a:pt x="227" y="138"/>
                </a:cubicBezTo>
                <a:cubicBezTo>
                  <a:pt x="96" y="155"/>
                  <a:pt x="96" y="155"/>
                  <a:pt x="96" y="155"/>
                </a:cubicBezTo>
                <a:cubicBezTo>
                  <a:pt x="89" y="156"/>
                  <a:pt x="84" y="162"/>
                  <a:pt x="85" y="169"/>
                </a:cubicBezTo>
                <a:cubicBezTo>
                  <a:pt x="85" y="177"/>
                  <a:pt x="92" y="182"/>
                  <a:pt x="99" y="181"/>
                </a:cubicBezTo>
                <a:cubicBezTo>
                  <a:pt x="231" y="165"/>
                  <a:pt x="231" y="165"/>
                  <a:pt x="231" y="165"/>
                </a:cubicBezTo>
                <a:cubicBezTo>
                  <a:pt x="231" y="165"/>
                  <a:pt x="231" y="165"/>
                  <a:pt x="231" y="165"/>
                </a:cubicBezTo>
                <a:cubicBezTo>
                  <a:pt x="236" y="164"/>
                  <a:pt x="241" y="165"/>
                  <a:pt x="245" y="168"/>
                </a:cubicBezTo>
                <a:cubicBezTo>
                  <a:pt x="246" y="169"/>
                  <a:pt x="248" y="171"/>
                  <a:pt x="249" y="174"/>
                </a:cubicBezTo>
                <a:cubicBezTo>
                  <a:pt x="251" y="187"/>
                  <a:pt x="251" y="187"/>
                  <a:pt x="251" y="187"/>
                </a:cubicBezTo>
                <a:cubicBezTo>
                  <a:pt x="251" y="187"/>
                  <a:pt x="251" y="187"/>
                  <a:pt x="251" y="188"/>
                </a:cubicBezTo>
                <a:cubicBezTo>
                  <a:pt x="251" y="194"/>
                  <a:pt x="244" y="199"/>
                  <a:pt x="236" y="200"/>
                </a:cubicBezTo>
                <a:cubicBezTo>
                  <a:pt x="236" y="200"/>
                  <a:pt x="90" y="224"/>
                  <a:pt x="90" y="224"/>
                </a:cubicBezTo>
                <a:cubicBezTo>
                  <a:pt x="90" y="224"/>
                  <a:pt x="89" y="224"/>
                  <a:pt x="89" y="224"/>
                </a:cubicBezTo>
                <a:cubicBezTo>
                  <a:pt x="81" y="226"/>
                  <a:pt x="62" y="233"/>
                  <a:pt x="58" y="247"/>
                </a:cubicBezTo>
                <a:cubicBezTo>
                  <a:pt x="58" y="248"/>
                  <a:pt x="58" y="250"/>
                  <a:pt x="58" y="252"/>
                </a:cubicBezTo>
                <a:cubicBezTo>
                  <a:pt x="58" y="257"/>
                  <a:pt x="60" y="262"/>
                  <a:pt x="64" y="267"/>
                </a:cubicBezTo>
                <a:cubicBezTo>
                  <a:pt x="68" y="270"/>
                  <a:pt x="72" y="274"/>
                  <a:pt x="76" y="278"/>
                </a:cubicBezTo>
                <a:cubicBezTo>
                  <a:pt x="66" y="278"/>
                  <a:pt x="54" y="278"/>
                  <a:pt x="54" y="278"/>
                </a:cubicBezTo>
                <a:cubicBezTo>
                  <a:pt x="49" y="278"/>
                  <a:pt x="43" y="281"/>
                  <a:pt x="42" y="287"/>
                </a:cubicBezTo>
                <a:cubicBezTo>
                  <a:pt x="41" y="288"/>
                  <a:pt x="36" y="302"/>
                  <a:pt x="36" y="321"/>
                </a:cubicBezTo>
                <a:cubicBezTo>
                  <a:pt x="36" y="333"/>
                  <a:pt x="38" y="347"/>
                  <a:pt x="46" y="360"/>
                </a:cubicBezTo>
                <a:cubicBezTo>
                  <a:pt x="55" y="377"/>
                  <a:pt x="70" y="388"/>
                  <a:pt x="91" y="394"/>
                </a:cubicBezTo>
                <a:cubicBezTo>
                  <a:pt x="92" y="420"/>
                  <a:pt x="95" y="436"/>
                  <a:pt x="95" y="437"/>
                </a:cubicBezTo>
                <a:cubicBezTo>
                  <a:pt x="95" y="438"/>
                  <a:pt x="96" y="440"/>
                  <a:pt x="97" y="441"/>
                </a:cubicBezTo>
                <a:cubicBezTo>
                  <a:pt x="98" y="443"/>
                  <a:pt x="108" y="459"/>
                  <a:pt x="137" y="459"/>
                </a:cubicBezTo>
                <a:cubicBezTo>
                  <a:pt x="139" y="459"/>
                  <a:pt x="139" y="459"/>
                  <a:pt x="139" y="459"/>
                </a:cubicBezTo>
                <a:cubicBezTo>
                  <a:pt x="169" y="459"/>
                  <a:pt x="179" y="443"/>
                  <a:pt x="180" y="441"/>
                </a:cubicBezTo>
                <a:cubicBezTo>
                  <a:pt x="181" y="440"/>
                  <a:pt x="181" y="438"/>
                  <a:pt x="182" y="437"/>
                </a:cubicBezTo>
                <a:cubicBezTo>
                  <a:pt x="182" y="436"/>
                  <a:pt x="185" y="420"/>
                  <a:pt x="186" y="394"/>
                </a:cubicBezTo>
                <a:cubicBezTo>
                  <a:pt x="207" y="388"/>
                  <a:pt x="222" y="377"/>
                  <a:pt x="231" y="360"/>
                </a:cubicBezTo>
                <a:cubicBezTo>
                  <a:pt x="238" y="347"/>
                  <a:pt x="241" y="333"/>
                  <a:pt x="241" y="321"/>
                </a:cubicBezTo>
                <a:cubicBezTo>
                  <a:pt x="241" y="302"/>
                  <a:pt x="235" y="288"/>
                  <a:pt x="235" y="287"/>
                </a:cubicBezTo>
                <a:cubicBezTo>
                  <a:pt x="233" y="281"/>
                  <a:pt x="228" y="278"/>
                  <a:pt x="223" y="278"/>
                </a:cubicBezTo>
                <a:cubicBezTo>
                  <a:pt x="223" y="278"/>
                  <a:pt x="203" y="278"/>
                  <a:pt x="186" y="278"/>
                </a:cubicBezTo>
                <a:cubicBezTo>
                  <a:pt x="187" y="276"/>
                  <a:pt x="188" y="272"/>
                  <a:pt x="188" y="272"/>
                </a:cubicBezTo>
                <a:cubicBezTo>
                  <a:pt x="189" y="270"/>
                  <a:pt x="189" y="269"/>
                  <a:pt x="189" y="267"/>
                </a:cubicBezTo>
                <a:cubicBezTo>
                  <a:pt x="189" y="262"/>
                  <a:pt x="186" y="257"/>
                  <a:pt x="181" y="255"/>
                </a:cubicBezTo>
                <a:cubicBezTo>
                  <a:pt x="174" y="252"/>
                  <a:pt x="166" y="255"/>
                  <a:pt x="163" y="262"/>
                </a:cubicBezTo>
                <a:cubicBezTo>
                  <a:pt x="154" y="286"/>
                  <a:pt x="154" y="286"/>
                  <a:pt x="154" y="286"/>
                </a:cubicBezTo>
                <a:cubicBezTo>
                  <a:pt x="152" y="290"/>
                  <a:pt x="153" y="295"/>
                  <a:pt x="156" y="299"/>
                </a:cubicBezTo>
                <a:cubicBezTo>
                  <a:pt x="158" y="302"/>
                  <a:pt x="162" y="304"/>
                  <a:pt x="167" y="304"/>
                </a:cubicBezTo>
                <a:cubicBezTo>
                  <a:pt x="167" y="304"/>
                  <a:pt x="199" y="304"/>
                  <a:pt x="212" y="304"/>
                </a:cubicBezTo>
                <a:cubicBezTo>
                  <a:pt x="213" y="309"/>
                  <a:pt x="214" y="315"/>
                  <a:pt x="214" y="321"/>
                </a:cubicBezTo>
                <a:cubicBezTo>
                  <a:pt x="214" y="330"/>
                  <a:pt x="213" y="339"/>
                  <a:pt x="208" y="347"/>
                </a:cubicBezTo>
                <a:cubicBezTo>
                  <a:pt x="201" y="359"/>
                  <a:pt x="189" y="367"/>
                  <a:pt x="170" y="371"/>
                </a:cubicBezTo>
                <a:cubicBezTo>
                  <a:pt x="164" y="372"/>
                  <a:pt x="160" y="377"/>
                  <a:pt x="160" y="383"/>
                </a:cubicBezTo>
                <a:cubicBezTo>
                  <a:pt x="159" y="405"/>
                  <a:pt x="157" y="421"/>
                  <a:pt x="156" y="428"/>
                </a:cubicBezTo>
                <a:cubicBezTo>
                  <a:pt x="154" y="430"/>
                  <a:pt x="149" y="432"/>
                  <a:pt x="140" y="432"/>
                </a:cubicBezTo>
                <a:cubicBezTo>
                  <a:pt x="140" y="432"/>
                  <a:pt x="137" y="432"/>
                  <a:pt x="137" y="432"/>
                </a:cubicBezTo>
                <a:cubicBezTo>
                  <a:pt x="128" y="432"/>
                  <a:pt x="123" y="430"/>
                  <a:pt x="121" y="428"/>
                </a:cubicBezTo>
                <a:cubicBezTo>
                  <a:pt x="120" y="421"/>
                  <a:pt x="118" y="405"/>
                  <a:pt x="117" y="383"/>
                </a:cubicBezTo>
                <a:cubicBezTo>
                  <a:pt x="117" y="377"/>
                  <a:pt x="112" y="372"/>
                  <a:pt x="106" y="371"/>
                </a:cubicBezTo>
                <a:cubicBezTo>
                  <a:pt x="88" y="367"/>
                  <a:pt x="76" y="359"/>
                  <a:pt x="69" y="347"/>
                </a:cubicBezTo>
                <a:cubicBezTo>
                  <a:pt x="64" y="339"/>
                  <a:pt x="63" y="330"/>
                  <a:pt x="63" y="321"/>
                </a:cubicBezTo>
                <a:cubicBezTo>
                  <a:pt x="63" y="315"/>
                  <a:pt x="64" y="309"/>
                  <a:pt x="64" y="304"/>
                </a:cubicBezTo>
                <a:cubicBezTo>
                  <a:pt x="78" y="304"/>
                  <a:pt x="110" y="304"/>
                  <a:pt x="110" y="304"/>
                </a:cubicBezTo>
                <a:cubicBezTo>
                  <a:pt x="116" y="304"/>
                  <a:pt x="121" y="301"/>
                  <a:pt x="123" y="296"/>
                </a:cubicBezTo>
                <a:cubicBezTo>
                  <a:pt x="123" y="294"/>
                  <a:pt x="124" y="293"/>
                  <a:pt x="124" y="291"/>
                </a:cubicBezTo>
                <a:cubicBezTo>
                  <a:pt x="124" y="287"/>
                  <a:pt x="122" y="284"/>
                  <a:pt x="119" y="281"/>
                </a:cubicBezTo>
                <a:cubicBezTo>
                  <a:pt x="119" y="281"/>
                  <a:pt x="101" y="265"/>
                  <a:pt x="88" y="253"/>
                </a:cubicBezTo>
                <a:cubicBezTo>
                  <a:pt x="90" y="252"/>
                  <a:pt x="93" y="251"/>
                  <a:pt x="95" y="250"/>
                </a:cubicBezTo>
                <a:cubicBezTo>
                  <a:pt x="97" y="250"/>
                  <a:pt x="240" y="227"/>
                  <a:pt x="240" y="227"/>
                </a:cubicBezTo>
                <a:cubicBezTo>
                  <a:pt x="240" y="227"/>
                  <a:pt x="240" y="227"/>
                  <a:pt x="240" y="227"/>
                </a:cubicBezTo>
                <a:cubicBezTo>
                  <a:pt x="263" y="223"/>
                  <a:pt x="280" y="204"/>
                  <a:pt x="277" y="183"/>
                </a:cubicBezTo>
                <a:lnTo>
                  <a:pt x="275" y="170"/>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8" name="Freeform 529"/>
          <p:cNvSpPr>
            <a:spLocks noEditPoints="1"/>
          </p:cNvSpPr>
          <p:nvPr userDrawn="1"/>
        </p:nvSpPr>
        <p:spPr bwMode="auto">
          <a:xfrm>
            <a:off x="9975060" y="2498943"/>
            <a:ext cx="379413" cy="285751"/>
          </a:xfrm>
          <a:custGeom>
            <a:avLst/>
            <a:gdLst/>
            <a:ahLst/>
            <a:cxnLst>
              <a:cxn ang="0">
                <a:pos x="315" y="4"/>
              </a:cxn>
              <a:cxn ang="0">
                <a:pos x="260" y="34"/>
              </a:cxn>
              <a:cxn ang="0">
                <a:pos x="201" y="2"/>
              </a:cxn>
              <a:cxn ang="0">
                <a:pos x="192" y="4"/>
              </a:cxn>
              <a:cxn ang="0">
                <a:pos x="137" y="34"/>
              </a:cxn>
              <a:cxn ang="0">
                <a:pos x="69" y="4"/>
              </a:cxn>
              <a:cxn ang="0">
                <a:pos x="65" y="8"/>
              </a:cxn>
              <a:cxn ang="0">
                <a:pos x="1" y="46"/>
              </a:cxn>
              <a:cxn ang="0">
                <a:pos x="4" y="120"/>
              </a:cxn>
              <a:cxn ang="0">
                <a:pos x="136" y="131"/>
              </a:cxn>
              <a:cxn ang="0">
                <a:pos x="260" y="131"/>
              </a:cxn>
              <a:cxn ang="0">
                <a:pos x="309" y="204"/>
              </a:cxn>
              <a:cxn ang="0">
                <a:pos x="209" y="201"/>
              </a:cxn>
              <a:cxn ang="0">
                <a:pos x="192" y="198"/>
              </a:cxn>
              <a:cxn ang="0">
                <a:pos x="137" y="227"/>
              </a:cxn>
              <a:cxn ang="0">
                <a:pos x="69" y="198"/>
              </a:cxn>
              <a:cxn ang="0">
                <a:pos x="65" y="202"/>
              </a:cxn>
              <a:cxn ang="0">
                <a:pos x="1" y="240"/>
              </a:cxn>
              <a:cxn ang="0">
                <a:pos x="75" y="228"/>
              </a:cxn>
              <a:cxn ang="0">
                <a:pos x="199" y="228"/>
              </a:cxn>
              <a:cxn ang="0">
                <a:pos x="332" y="216"/>
              </a:cxn>
              <a:cxn ang="0">
                <a:pos x="334" y="143"/>
              </a:cxn>
              <a:cxn ang="0">
                <a:pos x="270" y="105"/>
              </a:cxn>
              <a:cxn ang="0">
                <a:pos x="253" y="101"/>
              </a:cxn>
              <a:cxn ang="0">
                <a:pos x="198" y="130"/>
              </a:cxn>
              <a:cxn ang="0">
                <a:pos x="130" y="101"/>
              </a:cxn>
              <a:cxn ang="0">
                <a:pos x="126" y="105"/>
              </a:cxn>
              <a:cxn ang="0">
                <a:pos x="26" y="107"/>
              </a:cxn>
              <a:cxn ang="0">
                <a:pos x="75" y="34"/>
              </a:cxn>
              <a:cxn ang="0">
                <a:pos x="199" y="34"/>
              </a:cxn>
              <a:cxn ang="0">
                <a:pos x="332" y="22"/>
              </a:cxn>
              <a:cxn ang="0">
                <a:pos x="333" y="8"/>
              </a:cxn>
              <a:cxn ang="0">
                <a:pos x="330" y="24"/>
              </a:cxn>
              <a:cxn ang="0">
                <a:pos x="330" y="24"/>
              </a:cxn>
              <a:cxn ang="0">
                <a:pos x="330" y="218"/>
              </a:cxn>
            </a:cxnLst>
            <a:rect l="0" t="0" r="r" b="b"/>
            <a:pathLst>
              <a:path w="335" h="253">
                <a:moveTo>
                  <a:pt x="316" y="4"/>
                </a:moveTo>
                <a:cubicBezTo>
                  <a:pt x="315" y="4"/>
                  <a:pt x="315" y="4"/>
                  <a:pt x="315" y="4"/>
                </a:cubicBezTo>
                <a:cubicBezTo>
                  <a:pt x="314" y="5"/>
                  <a:pt x="312" y="6"/>
                  <a:pt x="311" y="8"/>
                </a:cubicBezTo>
                <a:cubicBezTo>
                  <a:pt x="301" y="24"/>
                  <a:pt x="281" y="34"/>
                  <a:pt x="260" y="34"/>
                </a:cubicBezTo>
                <a:cubicBezTo>
                  <a:pt x="239" y="34"/>
                  <a:pt x="220" y="24"/>
                  <a:pt x="209" y="8"/>
                </a:cubicBezTo>
                <a:cubicBezTo>
                  <a:pt x="207" y="5"/>
                  <a:pt x="205" y="3"/>
                  <a:pt x="201" y="2"/>
                </a:cubicBezTo>
                <a:cubicBezTo>
                  <a:pt x="198" y="2"/>
                  <a:pt x="195" y="2"/>
                  <a:pt x="192" y="4"/>
                </a:cubicBezTo>
                <a:cubicBezTo>
                  <a:pt x="192" y="4"/>
                  <a:pt x="192" y="4"/>
                  <a:pt x="192" y="4"/>
                </a:cubicBezTo>
                <a:cubicBezTo>
                  <a:pt x="190" y="5"/>
                  <a:pt x="189" y="6"/>
                  <a:pt x="188" y="8"/>
                </a:cubicBezTo>
                <a:cubicBezTo>
                  <a:pt x="178" y="24"/>
                  <a:pt x="158" y="34"/>
                  <a:pt x="137" y="34"/>
                </a:cubicBezTo>
                <a:cubicBezTo>
                  <a:pt x="116" y="34"/>
                  <a:pt x="96" y="24"/>
                  <a:pt x="86" y="8"/>
                </a:cubicBezTo>
                <a:cubicBezTo>
                  <a:pt x="82" y="2"/>
                  <a:pt x="74" y="0"/>
                  <a:pt x="69" y="4"/>
                </a:cubicBezTo>
                <a:cubicBezTo>
                  <a:pt x="68" y="4"/>
                  <a:pt x="68" y="4"/>
                  <a:pt x="68" y="4"/>
                </a:cubicBezTo>
                <a:cubicBezTo>
                  <a:pt x="67" y="5"/>
                  <a:pt x="66" y="6"/>
                  <a:pt x="65" y="8"/>
                </a:cubicBezTo>
                <a:cubicBezTo>
                  <a:pt x="54" y="24"/>
                  <a:pt x="35" y="34"/>
                  <a:pt x="14" y="34"/>
                </a:cubicBezTo>
                <a:cubicBezTo>
                  <a:pt x="7" y="34"/>
                  <a:pt x="1" y="39"/>
                  <a:pt x="1" y="46"/>
                </a:cubicBezTo>
                <a:cubicBezTo>
                  <a:pt x="1" y="46"/>
                  <a:pt x="0" y="112"/>
                  <a:pt x="0" y="112"/>
                </a:cubicBezTo>
                <a:cubicBezTo>
                  <a:pt x="0" y="115"/>
                  <a:pt x="1" y="118"/>
                  <a:pt x="4" y="120"/>
                </a:cubicBezTo>
                <a:cubicBezTo>
                  <a:pt x="19" y="142"/>
                  <a:pt x="46" y="156"/>
                  <a:pt x="75" y="156"/>
                </a:cubicBezTo>
                <a:cubicBezTo>
                  <a:pt x="98" y="156"/>
                  <a:pt x="121" y="147"/>
                  <a:pt x="136" y="131"/>
                </a:cubicBezTo>
                <a:cubicBezTo>
                  <a:pt x="152" y="147"/>
                  <a:pt x="174" y="156"/>
                  <a:pt x="198" y="156"/>
                </a:cubicBezTo>
                <a:cubicBezTo>
                  <a:pt x="221" y="156"/>
                  <a:pt x="244" y="147"/>
                  <a:pt x="260" y="131"/>
                </a:cubicBezTo>
                <a:cubicBezTo>
                  <a:pt x="272" y="144"/>
                  <a:pt x="290" y="152"/>
                  <a:pt x="309" y="155"/>
                </a:cubicBezTo>
                <a:cubicBezTo>
                  <a:pt x="309" y="169"/>
                  <a:pt x="309" y="198"/>
                  <a:pt x="309" y="204"/>
                </a:cubicBezTo>
                <a:cubicBezTo>
                  <a:pt x="298" y="218"/>
                  <a:pt x="280" y="227"/>
                  <a:pt x="260" y="227"/>
                </a:cubicBezTo>
                <a:cubicBezTo>
                  <a:pt x="239" y="227"/>
                  <a:pt x="220" y="217"/>
                  <a:pt x="209" y="201"/>
                </a:cubicBezTo>
                <a:cubicBezTo>
                  <a:pt x="206" y="196"/>
                  <a:pt x="198" y="194"/>
                  <a:pt x="192" y="198"/>
                </a:cubicBezTo>
                <a:cubicBezTo>
                  <a:pt x="192" y="198"/>
                  <a:pt x="192" y="198"/>
                  <a:pt x="192" y="198"/>
                </a:cubicBezTo>
                <a:cubicBezTo>
                  <a:pt x="190" y="199"/>
                  <a:pt x="189" y="200"/>
                  <a:pt x="188" y="202"/>
                </a:cubicBezTo>
                <a:cubicBezTo>
                  <a:pt x="178" y="217"/>
                  <a:pt x="158" y="227"/>
                  <a:pt x="137" y="227"/>
                </a:cubicBezTo>
                <a:cubicBezTo>
                  <a:pt x="116" y="227"/>
                  <a:pt x="96" y="217"/>
                  <a:pt x="86" y="201"/>
                </a:cubicBezTo>
                <a:cubicBezTo>
                  <a:pt x="82" y="196"/>
                  <a:pt x="75" y="194"/>
                  <a:pt x="69" y="198"/>
                </a:cubicBezTo>
                <a:cubicBezTo>
                  <a:pt x="69" y="198"/>
                  <a:pt x="69" y="198"/>
                  <a:pt x="69" y="198"/>
                </a:cubicBezTo>
                <a:cubicBezTo>
                  <a:pt x="67" y="199"/>
                  <a:pt x="66" y="200"/>
                  <a:pt x="65" y="202"/>
                </a:cubicBezTo>
                <a:cubicBezTo>
                  <a:pt x="54" y="217"/>
                  <a:pt x="35" y="227"/>
                  <a:pt x="14" y="227"/>
                </a:cubicBezTo>
                <a:cubicBezTo>
                  <a:pt x="7" y="227"/>
                  <a:pt x="1" y="233"/>
                  <a:pt x="1" y="240"/>
                </a:cubicBezTo>
                <a:cubicBezTo>
                  <a:pt x="1" y="247"/>
                  <a:pt x="7" y="253"/>
                  <a:pt x="14" y="253"/>
                </a:cubicBezTo>
                <a:cubicBezTo>
                  <a:pt x="37" y="253"/>
                  <a:pt x="60" y="244"/>
                  <a:pt x="75" y="228"/>
                </a:cubicBezTo>
                <a:cubicBezTo>
                  <a:pt x="91" y="244"/>
                  <a:pt x="113" y="253"/>
                  <a:pt x="137" y="253"/>
                </a:cubicBezTo>
                <a:cubicBezTo>
                  <a:pt x="161" y="253"/>
                  <a:pt x="183" y="244"/>
                  <a:pt x="199" y="228"/>
                </a:cubicBezTo>
                <a:cubicBezTo>
                  <a:pt x="214" y="244"/>
                  <a:pt x="237" y="253"/>
                  <a:pt x="260" y="253"/>
                </a:cubicBezTo>
                <a:cubicBezTo>
                  <a:pt x="290" y="253"/>
                  <a:pt x="317" y="239"/>
                  <a:pt x="332" y="216"/>
                </a:cubicBezTo>
                <a:cubicBezTo>
                  <a:pt x="334" y="214"/>
                  <a:pt x="335" y="211"/>
                  <a:pt x="335" y="208"/>
                </a:cubicBezTo>
                <a:cubicBezTo>
                  <a:pt x="335" y="208"/>
                  <a:pt x="334" y="143"/>
                  <a:pt x="334" y="143"/>
                </a:cubicBezTo>
                <a:cubicBezTo>
                  <a:pt x="334" y="136"/>
                  <a:pt x="328" y="130"/>
                  <a:pt x="321" y="130"/>
                </a:cubicBezTo>
                <a:cubicBezTo>
                  <a:pt x="300" y="130"/>
                  <a:pt x="281" y="121"/>
                  <a:pt x="270" y="105"/>
                </a:cubicBezTo>
                <a:cubicBezTo>
                  <a:pt x="267" y="99"/>
                  <a:pt x="259" y="97"/>
                  <a:pt x="253" y="101"/>
                </a:cubicBezTo>
                <a:cubicBezTo>
                  <a:pt x="253" y="101"/>
                  <a:pt x="253" y="101"/>
                  <a:pt x="253" y="101"/>
                </a:cubicBezTo>
                <a:cubicBezTo>
                  <a:pt x="251" y="102"/>
                  <a:pt x="250" y="103"/>
                  <a:pt x="249" y="105"/>
                </a:cubicBezTo>
                <a:cubicBezTo>
                  <a:pt x="238" y="121"/>
                  <a:pt x="219" y="130"/>
                  <a:pt x="198" y="130"/>
                </a:cubicBezTo>
                <a:cubicBezTo>
                  <a:pt x="177" y="130"/>
                  <a:pt x="157" y="121"/>
                  <a:pt x="147" y="105"/>
                </a:cubicBezTo>
                <a:cubicBezTo>
                  <a:pt x="143" y="99"/>
                  <a:pt x="136" y="97"/>
                  <a:pt x="130" y="101"/>
                </a:cubicBezTo>
                <a:cubicBezTo>
                  <a:pt x="130" y="101"/>
                  <a:pt x="130" y="101"/>
                  <a:pt x="130" y="101"/>
                </a:cubicBezTo>
                <a:cubicBezTo>
                  <a:pt x="128" y="102"/>
                  <a:pt x="127" y="103"/>
                  <a:pt x="126" y="105"/>
                </a:cubicBezTo>
                <a:cubicBezTo>
                  <a:pt x="115" y="121"/>
                  <a:pt x="96" y="130"/>
                  <a:pt x="75" y="130"/>
                </a:cubicBezTo>
                <a:cubicBezTo>
                  <a:pt x="55" y="130"/>
                  <a:pt x="36" y="122"/>
                  <a:pt x="26" y="107"/>
                </a:cubicBezTo>
                <a:cubicBezTo>
                  <a:pt x="26" y="101"/>
                  <a:pt x="26" y="72"/>
                  <a:pt x="26" y="58"/>
                </a:cubicBezTo>
                <a:cubicBezTo>
                  <a:pt x="45" y="55"/>
                  <a:pt x="62" y="47"/>
                  <a:pt x="75" y="34"/>
                </a:cubicBezTo>
                <a:cubicBezTo>
                  <a:pt x="91" y="50"/>
                  <a:pt x="113" y="59"/>
                  <a:pt x="137" y="59"/>
                </a:cubicBezTo>
                <a:cubicBezTo>
                  <a:pt x="161" y="59"/>
                  <a:pt x="183" y="50"/>
                  <a:pt x="199" y="34"/>
                </a:cubicBezTo>
                <a:cubicBezTo>
                  <a:pt x="214" y="50"/>
                  <a:pt x="237" y="59"/>
                  <a:pt x="260" y="59"/>
                </a:cubicBezTo>
                <a:cubicBezTo>
                  <a:pt x="290" y="59"/>
                  <a:pt x="317" y="45"/>
                  <a:pt x="332" y="22"/>
                </a:cubicBezTo>
                <a:cubicBezTo>
                  <a:pt x="334" y="20"/>
                  <a:pt x="335" y="17"/>
                  <a:pt x="335" y="15"/>
                </a:cubicBezTo>
                <a:cubicBezTo>
                  <a:pt x="335" y="13"/>
                  <a:pt x="334" y="10"/>
                  <a:pt x="333" y="8"/>
                </a:cubicBezTo>
                <a:cubicBezTo>
                  <a:pt x="329" y="2"/>
                  <a:pt x="322" y="0"/>
                  <a:pt x="316" y="4"/>
                </a:cubicBezTo>
                <a:close/>
                <a:moveTo>
                  <a:pt x="330" y="24"/>
                </a:moveTo>
                <a:cubicBezTo>
                  <a:pt x="330" y="24"/>
                  <a:pt x="330" y="24"/>
                  <a:pt x="329" y="25"/>
                </a:cubicBezTo>
                <a:cubicBezTo>
                  <a:pt x="330" y="24"/>
                  <a:pt x="330" y="24"/>
                  <a:pt x="330" y="24"/>
                </a:cubicBezTo>
                <a:close/>
                <a:moveTo>
                  <a:pt x="330" y="218"/>
                </a:moveTo>
                <a:cubicBezTo>
                  <a:pt x="330" y="218"/>
                  <a:pt x="330" y="218"/>
                  <a:pt x="330" y="218"/>
                </a:cubicBezTo>
                <a:cubicBezTo>
                  <a:pt x="330" y="218"/>
                  <a:pt x="330" y="218"/>
                  <a:pt x="330" y="21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39" name="Freeform 588"/>
          <p:cNvSpPr>
            <a:spLocks/>
          </p:cNvSpPr>
          <p:nvPr userDrawn="1"/>
        </p:nvSpPr>
        <p:spPr bwMode="auto">
          <a:xfrm>
            <a:off x="9934577" y="3740614"/>
            <a:ext cx="460375" cy="392113"/>
          </a:xfrm>
          <a:custGeom>
            <a:avLst/>
            <a:gdLst/>
            <a:ahLst/>
            <a:cxnLst>
              <a:cxn ang="0">
                <a:pos x="26" y="70"/>
              </a:cxn>
              <a:cxn ang="0">
                <a:pos x="6" y="162"/>
              </a:cxn>
              <a:cxn ang="0">
                <a:pos x="57" y="242"/>
              </a:cxn>
              <a:cxn ang="0">
                <a:pos x="150" y="262"/>
              </a:cxn>
              <a:cxn ang="0">
                <a:pos x="192" y="245"/>
              </a:cxn>
              <a:cxn ang="0">
                <a:pos x="197" y="227"/>
              </a:cxn>
              <a:cxn ang="0">
                <a:pos x="178" y="223"/>
              </a:cxn>
              <a:cxn ang="0">
                <a:pos x="145" y="235"/>
              </a:cxn>
              <a:cxn ang="0">
                <a:pos x="72" y="220"/>
              </a:cxn>
              <a:cxn ang="0">
                <a:pos x="32" y="157"/>
              </a:cxn>
              <a:cxn ang="0">
                <a:pos x="48" y="85"/>
              </a:cxn>
              <a:cxn ang="0">
                <a:pos x="183" y="60"/>
              </a:cxn>
              <a:cxn ang="0">
                <a:pos x="215" y="183"/>
              </a:cxn>
              <a:cxn ang="0">
                <a:pos x="217" y="198"/>
              </a:cxn>
              <a:cxn ang="0">
                <a:pos x="232" y="201"/>
              </a:cxn>
              <a:cxn ang="0">
                <a:pos x="248" y="202"/>
              </a:cxn>
              <a:cxn ang="0">
                <a:pos x="373" y="289"/>
              </a:cxn>
              <a:cxn ang="0">
                <a:pos x="377" y="312"/>
              </a:cxn>
              <a:cxn ang="0">
                <a:pos x="366" y="319"/>
              </a:cxn>
              <a:cxn ang="0">
                <a:pos x="353" y="317"/>
              </a:cxn>
              <a:cxn ang="0">
                <a:pos x="248" y="244"/>
              </a:cxn>
              <a:cxn ang="0">
                <a:pos x="230" y="247"/>
              </a:cxn>
              <a:cxn ang="0">
                <a:pos x="233" y="266"/>
              </a:cxn>
              <a:cxn ang="0">
                <a:pos x="338" y="339"/>
              </a:cxn>
              <a:cxn ang="0">
                <a:pos x="371" y="346"/>
              </a:cxn>
              <a:cxn ang="0">
                <a:pos x="399" y="327"/>
              </a:cxn>
              <a:cxn ang="0">
                <a:pos x="407" y="303"/>
              </a:cxn>
              <a:cxn ang="0">
                <a:pos x="388" y="267"/>
              </a:cxn>
              <a:cxn ang="0">
                <a:pos x="263" y="180"/>
              </a:cxn>
              <a:cxn ang="0">
                <a:pos x="246" y="174"/>
              </a:cxn>
              <a:cxn ang="0">
                <a:pos x="251" y="140"/>
              </a:cxn>
              <a:cxn ang="0">
                <a:pos x="247" y="109"/>
              </a:cxn>
              <a:cxn ang="0">
                <a:pos x="198" y="38"/>
              </a:cxn>
              <a:cxn ang="0">
                <a:pos x="26" y="70"/>
              </a:cxn>
            </a:cxnLst>
            <a:rect l="0" t="0" r="r" b="b"/>
            <a:pathLst>
              <a:path w="407" h="348">
                <a:moveTo>
                  <a:pt x="26" y="70"/>
                </a:moveTo>
                <a:cubicBezTo>
                  <a:pt x="7" y="97"/>
                  <a:pt x="0" y="130"/>
                  <a:pt x="6" y="162"/>
                </a:cubicBezTo>
                <a:cubicBezTo>
                  <a:pt x="12" y="195"/>
                  <a:pt x="30" y="223"/>
                  <a:pt x="57" y="242"/>
                </a:cubicBezTo>
                <a:cubicBezTo>
                  <a:pt x="84" y="260"/>
                  <a:pt x="117" y="267"/>
                  <a:pt x="150" y="262"/>
                </a:cubicBezTo>
                <a:cubicBezTo>
                  <a:pt x="165" y="259"/>
                  <a:pt x="179" y="253"/>
                  <a:pt x="192" y="245"/>
                </a:cubicBezTo>
                <a:cubicBezTo>
                  <a:pt x="199" y="241"/>
                  <a:pt x="201" y="233"/>
                  <a:pt x="197" y="227"/>
                </a:cubicBezTo>
                <a:cubicBezTo>
                  <a:pt x="193" y="221"/>
                  <a:pt x="185" y="219"/>
                  <a:pt x="178" y="223"/>
                </a:cubicBezTo>
                <a:cubicBezTo>
                  <a:pt x="168" y="229"/>
                  <a:pt x="157" y="233"/>
                  <a:pt x="145" y="235"/>
                </a:cubicBezTo>
                <a:cubicBezTo>
                  <a:pt x="119" y="240"/>
                  <a:pt x="94" y="234"/>
                  <a:pt x="72" y="220"/>
                </a:cubicBezTo>
                <a:cubicBezTo>
                  <a:pt x="51" y="205"/>
                  <a:pt x="37" y="183"/>
                  <a:pt x="32" y="157"/>
                </a:cubicBezTo>
                <a:cubicBezTo>
                  <a:pt x="28" y="132"/>
                  <a:pt x="33" y="106"/>
                  <a:pt x="48" y="85"/>
                </a:cubicBezTo>
                <a:cubicBezTo>
                  <a:pt x="78" y="41"/>
                  <a:pt x="139" y="30"/>
                  <a:pt x="183" y="60"/>
                </a:cubicBezTo>
                <a:cubicBezTo>
                  <a:pt x="222" y="87"/>
                  <a:pt x="236" y="140"/>
                  <a:pt x="215" y="183"/>
                </a:cubicBezTo>
                <a:cubicBezTo>
                  <a:pt x="212" y="188"/>
                  <a:pt x="213" y="194"/>
                  <a:pt x="217" y="198"/>
                </a:cubicBezTo>
                <a:cubicBezTo>
                  <a:pt x="221" y="202"/>
                  <a:pt x="227" y="203"/>
                  <a:pt x="232" y="201"/>
                </a:cubicBezTo>
                <a:cubicBezTo>
                  <a:pt x="237" y="198"/>
                  <a:pt x="243" y="199"/>
                  <a:pt x="248" y="202"/>
                </a:cubicBezTo>
                <a:cubicBezTo>
                  <a:pt x="373" y="289"/>
                  <a:pt x="373" y="289"/>
                  <a:pt x="373" y="289"/>
                </a:cubicBezTo>
                <a:cubicBezTo>
                  <a:pt x="380" y="294"/>
                  <a:pt x="382" y="305"/>
                  <a:pt x="377" y="312"/>
                </a:cubicBezTo>
                <a:cubicBezTo>
                  <a:pt x="374" y="316"/>
                  <a:pt x="371" y="319"/>
                  <a:pt x="366" y="319"/>
                </a:cubicBezTo>
                <a:cubicBezTo>
                  <a:pt x="362" y="320"/>
                  <a:pt x="357" y="319"/>
                  <a:pt x="353" y="317"/>
                </a:cubicBezTo>
                <a:cubicBezTo>
                  <a:pt x="248" y="244"/>
                  <a:pt x="248" y="244"/>
                  <a:pt x="248" y="244"/>
                </a:cubicBezTo>
                <a:cubicBezTo>
                  <a:pt x="242" y="240"/>
                  <a:pt x="234" y="241"/>
                  <a:pt x="230" y="247"/>
                </a:cubicBezTo>
                <a:cubicBezTo>
                  <a:pt x="226" y="253"/>
                  <a:pt x="227" y="262"/>
                  <a:pt x="233" y="266"/>
                </a:cubicBezTo>
                <a:cubicBezTo>
                  <a:pt x="338" y="339"/>
                  <a:pt x="338" y="339"/>
                  <a:pt x="338" y="339"/>
                </a:cubicBezTo>
                <a:cubicBezTo>
                  <a:pt x="348" y="345"/>
                  <a:pt x="359" y="348"/>
                  <a:pt x="371" y="346"/>
                </a:cubicBezTo>
                <a:cubicBezTo>
                  <a:pt x="382" y="344"/>
                  <a:pt x="392" y="337"/>
                  <a:pt x="399" y="327"/>
                </a:cubicBezTo>
                <a:cubicBezTo>
                  <a:pt x="404" y="320"/>
                  <a:pt x="407" y="311"/>
                  <a:pt x="407" y="303"/>
                </a:cubicBezTo>
                <a:cubicBezTo>
                  <a:pt x="407" y="289"/>
                  <a:pt x="400" y="275"/>
                  <a:pt x="388" y="267"/>
                </a:cubicBezTo>
                <a:cubicBezTo>
                  <a:pt x="263" y="180"/>
                  <a:pt x="263" y="180"/>
                  <a:pt x="263" y="180"/>
                </a:cubicBezTo>
                <a:cubicBezTo>
                  <a:pt x="258" y="177"/>
                  <a:pt x="252" y="175"/>
                  <a:pt x="246" y="174"/>
                </a:cubicBezTo>
                <a:cubicBezTo>
                  <a:pt x="250" y="163"/>
                  <a:pt x="251" y="151"/>
                  <a:pt x="251" y="140"/>
                </a:cubicBezTo>
                <a:cubicBezTo>
                  <a:pt x="251" y="130"/>
                  <a:pt x="250" y="119"/>
                  <a:pt x="247" y="109"/>
                </a:cubicBezTo>
                <a:cubicBezTo>
                  <a:pt x="240" y="80"/>
                  <a:pt x="222" y="55"/>
                  <a:pt x="198" y="38"/>
                </a:cubicBezTo>
                <a:cubicBezTo>
                  <a:pt x="142" y="0"/>
                  <a:pt x="65" y="14"/>
                  <a:pt x="26" y="7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0" name="Freeform 608"/>
          <p:cNvSpPr>
            <a:spLocks/>
          </p:cNvSpPr>
          <p:nvPr userDrawn="1"/>
        </p:nvSpPr>
        <p:spPr bwMode="auto">
          <a:xfrm>
            <a:off x="9982207" y="5066717"/>
            <a:ext cx="365125" cy="512763"/>
          </a:xfrm>
          <a:custGeom>
            <a:avLst/>
            <a:gdLst/>
            <a:ahLst/>
            <a:cxnLst>
              <a:cxn ang="0">
                <a:pos x="163" y="454"/>
              </a:cxn>
              <a:cxn ang="0">
                <a:pos x="13" y="261"/>
              </a:cxn>
              <a:cxn ang="0">
                <a:pos x="2" y="77"/>
              </a:cxn>
              <a:cxn ang="0">
                <a:pos x="15" y="58"/>
              </a:cxn>
              <a:cxn ang="0">
                <a:pos x="62" y="29"/>
              </a:cxn>
              <a:cxn ang="0">
                <a:pos x="252" y="24"/>
              </a:cxn>
              <a:cxn ang="0">
                <a:pos x="318" y="83"/>
              </a:cxn>
              <a:cxn ang="0">
                <a:pos x="295" y="80"/>
              </a:cxn>
              <a:cxn ang="0">
                <a:pos x="163" y="27"/>
              </a:cxn>
              <a:cxn ang="0">
                <a:pos x="31" y="80"/>
              </a:cxn>
              <a:cxn ang="0">
                <a:pos x="28" y="84"/>
              </a:cxn>
              <a:cxn ang="0">
                <a:pos x="115" y="405"/>
              </a:cxn>
              <a:cxn ang="0">
                <a:pos x="162" y="427"/>
              </a:cxn>
              <a:cxn ang="0">
                <a:pos x="211" y="405"/>
              </a:cxn>
              <a:cxn ang="0">
                <a:pos x="296" y="165"/>
              </a:cxn>
              <a:cxn ang="0">
                <a:pos x="264" y="216"/>
              </a:cxn>
              <a:cxn ang="0">
                <a:pos x="253" y="319"/>
              </a:cxn>
              <a:cxn ang="0">
                <a:pos x="72" y="320"/>
              </a:cxn>
              <a:cxn ang="0">
                <a:pos x="58" y="225"/>
              </a:cxn>
              <a:cxn ang="0">
                <a:pos x="93" y="177"/>
              </a:cxn>
              <a:cxn ang="0">
                <a:pos x="94" y="134"/>
              </a:cxn>
              <a:cxn ang="0">
                <a:pos x="162" y="78"/>
              </a:cxn>
              <a:cxn ang="0">
                <a:pos x="229" y="127"/>
              </a:cxn>
              <a:cxn ang="0">
                <a:pos x="229" y="197"/>
              </a:cxn>
              <a:cxn ang="0">
                <a:pos x="205" y="212"/>
              </a:cxn>
              <a:cxn ang="0">
                <a:pos x="177" y="183"/>
              </a:cxn>
              <a:cxn ang="0">
                <a:pos x="173" y="139"/>
              </a:cxn>
              <a:cxn ang="0">
                <a:pos x="153" y="140"/>
              </a:cxn>
              <a:cxn ang="0">
                <a:pos x="149" y="191"/>
              </a:cxn>
              <a:cxn ang="0">
                <a:pos x="168" y="223"/>
              </a:cxn>
              <a:cxn ang="0">
                <a:pos x="195" y="241"/>
              </a:cxn>
              <a:cxn ang="0">
                <a:pos x="185" y="285"/>
              </a:cxn>
              <a:cxn ang="0">
                <a:pos x="145" y="288"/>
              </a:cxn>
              <a:cxn ang="0">
                <a:pos x="139" y="244"/>
              </a:cxn>
              <a:cxn ang="0">
                <a:pos x="153" y="261"/>
              </a:cxn>
              <a:cxn ang="0">
                <a:pos x="167" y="264"/>
              </a:cxn>
              <a:cxn ang="0">
                <a:pos x="172" y="257"/>
              </a:cxn>
              <a:cxn ang="0">
                <a:pos x="162" y="249"/>
              </a:cxn>
              <a:cxn ang="0">
                <a:pos x="144" y="239"/>
              </a:cxn>
              <a:cxn ang="0">
                <a:pos x="141" y="217"/>
              </a:cxn>
              <a:cxn ang="0">
                <a:pos x="126" y="209"/>
              </a:cxn>
              <a:cxn ang="0">
                <a:pos x="122" y="153"/>
              </a:cxn>
              <a:cxn ang="0">
                <a:pos x="144" y="113"/>
              </a:cxn>
              <a:cxn ang="0">
                <a:pos x="204" y="153"/>
              </a:cxn>
              <a:cxn ang="0">
                <a:pos x="204" y="186"/>
              </a:cxn>
              <a:cxn ang="0">
                <a:pos x="206" y="183"/>
              </a:cxn>
              <a:cxn ang="0">
                <a:pos x="201" y="128"/>
              </a:cxn>
              <a:cxn ang="0">
                <a:pos x="134" y="115"/>
              </a:cxn>
              <a:cxn ang="0">
                <a:pos x="119" y="147"/>
              </a:cxn>
              <a:cxn ang="0">
                <a:pos x="114" y="197"/>
              </a:cxn>
              <a:cxn ang="0">
                <a:pos x="97" y="205"/>
              </a:cxn>
              <a:cxn ang="0">
                <a:pos x="84" y="287"/>
              </a:cxn>
              <a:cxn ang="0">
                <a:pos x="106" y="309"/>
              </a:cxn>
              <a:cxn ang="0">
                <a:pos x="238" y="287"/>
              </a:cxn>
              <a:cxn ang="0">
                <a:pos x="242" y="189"/>
              </a:cxn>
              <a:cxn ang="0">
                <a:pos x="313" y="117"/>
              </a:cxn>
              <a:cxn ang="0">
                <a:pos x="313" y="261"/>
              </a:cxn>
              <a:cxn ang="0">
                <a:pos x="193" y="448"/>
              </a:cxn>
            </a:cxnLst>
            <a:rect l="0" t="0" r="r" b="b"/>
            <a:pathLst>
              <a:path w="325" h="454">
                <a:moveTo>
                  <a:pt x="163" y="454"/>
                </a:moveTo>
                <a:cubicBezTo>
                  <a:pt x="163" y="454"/>
                  <a:pt x="163" y="454"/>
                  <a:pt x="163" y="454"/>
                </a:cubicBezTo>
                <a:cubicBezTo>
                  <a:pt x="163" y="454"/>
                  <a:pt x="163" y="454"/>
                  <a:pt x="163" y="454"/>
                </a:cubicBezTo>
                <a:cubicBezTo>
                  <a:pt x="163" y="454"/>
                  <a:pt x="163" y="454"/>
                  <a:pt x="163" y="454"/>
                </a:cubicBezTo>
                <a:cubicBezTo>
                  <a:pt x="163" y="454"/>
                  <a:pt x="163" y="454"/>
                  <a:pt x="163" y="454"/>
                </a:cubicBezTo>
                <a:cubicBezTo>
                  <a:pt x="154" y="454"/>
                  <a:pt x="144" y="452"/>
                  <a:pt x="133" y="448"/>
                </a:cubicBezTo>
                <a:cubicBezTo>
                  <a:pt x="133" y="448"/>
                  <a:pt x="133" y="448"/>
                  <a:pt x="133" y="448"/>
                </a:cubicBezTo>
                <a:cubicBezTo>
                  <a:pt x="122" y="443"/>
                  <a:pt x="110" y="436"/>
                  <a:pt x="97" y="425"/>
                </a:cubicBezTo>
                <a:cubicBezTo>
                  <a:pt x="97" y="425"/>
                  <a:pt x="97" y="425"/>
                  <a:pt x="97" y="425"/>
                </a:cubicBezTo>
                <a:cubicBezTo>
                  <a:pt x="67" y="399"/>
                  <a:pt x="26" y="348"/>
                  <a:pt x="13" y="261"/>
                </a:cubicBezTo>
                <a:cubicBezTo>
                  <a:pt x="13" y="261"/>
                  <a:pt x="13" y="261"/>
                  <a:pt x="13" y="261"/>
                </a:cubicBezTo>
                <a:cubicBezTo>
                  <a:pt x="8" y="229"/>
                  <a:pt x="0" y="145"/>
                  <a:pt x="0" y="101"/>
                </a:cubicBezTo>
                <a:cubicBezTo>
                  <a:pt x="0" y="101"/>
                  <a:pt x="0" y="101"/>
                  <a:pt x="0" y="101"/>
                </a:cubicBezTo>
                <a:cubicBezTo>
                  <a:pt x="0" y="91"/>
                  <a:pt x="1" y="83"/>
                  <a:pt x="2" y="77"/>
                </a:cubicBezTo>
                <a:cubicBezTo>
                  <a:pt x="2" y="77"/>
                  <a:pt x="2" y="77"/>
                  <a:pt x="2" y="77"/>
                </a:cubicBezTo>
                <a:cubicBezTo>
                  <a:pt x="2" y="74"/>
                  <a:pt x="3" y="72"/>
                  <a:pt x="4" y="70"/>
                </a:cubicBezTo>
                <a:cubicBezTo>
                  <a:pt x="4" y="70"/>
                  <a:pt x="4" y="70"/>
                  <a:pt x="4" y="70"/>
                </a:cubicBezTo>
                <a:cubicBezTo>
                  <a:pt x="4" y="68"/>
                  <a:pt x="5" y="67"/>
                  <a:pt x="7" y="65"/>
                </a:cubicBezTo>
                <a:cubicBezTo>
                  <a:pt x="7" y="65"/>
                  <a:pt x="7" y="65"/>
                  <a:pt x="7" y="65"/>
                </a:cubicBezTo>
                <a:cubicBezTo>
                  <a:pt x="9" y="63"/>
                  <a:pt x="11" y="61"/>
                  <a:pt x="15" y="58"/>
                </a:cubicBezTo>
                <a:cubicBezTo>
                  <a:pt x="15" y="58"/>
                  <a:pt x="15" y="58"/>
                  <a:pt x="15" y="58"/>
                </a:cubicBezTo>
                <a:cubicBezTo>
                  <a:pt x="18" y="56"/>
                  <a:pt x="22" y="53"/>
                  <a:pt x="26" y="50"/>
                </a:cubicBezTo>
                <a:cubicBezTo>
                  <a:pt x="26" y="50"/>
                  <a:pt x="26" y="50"/>
                  <a:pt x="26" y="50"/>
                </a:cubicBezTo>
                <a:cubicBezTo>
                  <a:pt x="36" y="44"/>
                  <a:pt x="48" y="36"/>
                  <a:pt x="62" y="29"/>
                </a:cubicBezTo>
                <a:cubicBezTo>
                  <a:pt x="62" y="29"/>
                  <a:pt x="62" y="29"/>
                  <a:pt x="62" y="29"/>
                </a:cubicBezTo>
                <a:cubicBezTo>
                  <a:pt x="91" y="14"/>
                  <a:pt x="127" y="1"/>
                  <a:pt x="163" y="0"/>
                </a:cubicBezTo>
                <a:cubicBezTo>
                  <a:pt x="163" y="0"/>
                  <a:pt x="163" y="0"/>
                  <a:pt x="163" y="0"/>
                </a:cubicBezTo>
                <a:cubicBezTo>
                  <a:pt x="163" y="0"/>
                  <a:pt x="163" y="0"/>
                  <a:pt x="163" y="0"/>
                </a:cubicBezTo>
                <a:cubicBezTo>
                  <a:pt x="195" y="0"/>
                  <a:pt x="226" y="11"/>
                  <a:pt x="252" y="24"/>
                </a:cubicBezTo>
                <a:cubicBezTo>
                  <a:pt x="252" y="24"/>
                  <a:pt x="252" y="24"/>
                  <a:pt x="252" y="24"/>
                </a:cubicBezTo>
                <a:cubicBezTo>
                  <a:pt x="279" y="36"/>
                  <a:pt x="300" y="50"/>
                  <a:pt x="311" y="58"/>
                </a:cubicBezTo>
                <a:cubicBezTo>
                  <a:pt x="311" y="58"/>
                  <a:pt x="311" y="58"/>
                  <a:pt x="311" y="58"/>
                </a:cubicBezTo>
                <a:cubicBezTo>
                  <a:pt x="314" y="61"/>
                  <a:pt x="317" y="63"/>
                  <a:pt x="318" y="65"/>
                </a:cubicBezTo>
                <a:cubicBezTo>
                  <a:pt x="318" y="65"/>
                  <a:pt x="318" y="65"/>
                  <a:pt x="318" y="65"/>
                </a:cubicBezTo>
                <a:cubicBezTo>
                  <a:pt x="324" y="70"/>
                  <a:pt x="324" y="78"/>
                  <a:pt x="318" y="83"/>
                </a:cubicBezTo>
                <a:cubicBezTo>
                  <a:pt x="318" y="83"/>
                  <a:pt x="318" y="83"/>
                  <a:pt x="318" y="83"/>
                </a:cubicBezTo>
                <a:cubicBezTo>
                  <a:pt x="313" y="89"/>
                  <a:pt x="305" y="89"/>
                  <a:pt x="300" y="83"/>
                </a:cubicBezTo>
                <a:cubicBezTo>
                  <a:pt x="300" y="83"/>
                  <a:pt x="300" y="83"/>
                  <a:pt x="300" y="83"/>
                </a:cubicBezTo>
                <a:cubicBezTo>
                  <a:pt x="300" y="83"/>
                  <a:pt x="298" y="82"/>
                  <a:pt x="295" y="80"/>
                </a:cubicBezTo>
                <a:cubicBezTo>
                  <a:pt x="295" y="80"/>
                  <a:pt x="295" y="80"/>
                  <a:pt x="295" y="80"/>
                </a:cubicBezTo>
                <a:cubicBezTo>
                  <a:pt x="292" y="78"/>
                  <a:pt x="289" y="75"/>
                  <a:pt x="285" y="72"/>
                </a:cubicBezTo>
                <a:cubicBezTo>
                  <a:pt x="285" y="72"/>
                  <a:pt x="285" y="72"/>
                  <a:pt x="285" y="72"/>
                </a:cubicBezTo>
                <a:cubicBezTo>
                  <a:pt x="276" y="66"/>
                  <a:pt x="264" y="59"/>
                  <a:pt x="251" y="53"/>
                </a:cubicBezTo>
                <a:cubicBezTo>
                  <a:pt x="251" y="53"/>
                  <a:pt x="251" y="53"/>
                  <a:pt x="251" y="53"/>
                </a:cubicBezTo>
                <a:cubicBezTo>
                  <a:pt x="225" y="39"/>
                  <a:pt x="192" y="27"/>
                  <a:pt x="163" y="27"/>
                </a:cubicBezTo>
                <a:cubicBezTo>
                  <a:pt x="163" y="27"/>
                  <a:pt x="163" y="27"/>
                  <a:pt x="163" y="27"/>
                </a:cubicBezTo>
                <a:cubicBezTo>
                  <a:pt x="163" y="27"/>
                  <a:pt x="163" y="27"/>
                  <a:pt x="163" y="27"/>
                </a:cubicBezTo>
                <a:cubicBezTo>
                  <a:pt x="137" y="27"/>
                  <a:pt x="109" y="36"/>
                  <a:pt x="85" y="48"/>
                </a:cubicBezTo>
                <a:cubicBezTo>
                  <a:pt x="85" y="48"/>
                  <a:pt x="85" y="48"/>
                  <a:pt x="85" y="48"/>
                </a:cubicBezTo>
                <a:cubicBezTo>
                  <a:pt x="60" y="59"/>
                  <a:pt x="40" y="73"/>
                  <a:pt x="31" y="80"/>
                </a:cubicBezTo>
                <a:cubicBezTo>
                  <a:pt x="31" y="80"/>
                  <a:pt x="31" y="80"/>
                  <a:pt x="31" y="80"/>
                </a:cubicBezTo>
                <a:cubicBezTo>
                  <a:pt x="30" y="80"/>
                  <a:pt x="29" y="81"/>
                  <a:pt x="28" y="82"/>
                </a:cubicBezTo>
                <a:cubicBezTo>
                  <a:pt x="28" y="82"/>
                  <a:pt x="28" y="82"/>
                  <a:pt x="28" y="82"/>
                </a:cubicBezTo>
                <a:cubicBezTo>
                  <a:pt x="28" y="82"/>
                  <a:pt x="28" y="83"/>
                  <a:pt x="28" y="84"/>
                </a:cubicBezTo>
                <a:cubicBezTo>
                  <a:pt x="28" y="84"/>
                  <a:pt x="28" y="84"/>
                  <a:pt x="28" y="84"/>
                </a:cubicBezTo>
                <a:cubicBezTo>
                  <a:pt x="27" y="88"/>
                  <a:pt x="27" y="94"/>
                  <a:pt x="27" y="101"/>
                </a:cubicBezTo>
                <a:cubicBezTo>
                  <a:pt x="27" y="101"/>
                  <a:pt x="27" y="101"/>
                  <a:pt x="27" y="101"/>
                </a:cubicBezTo>
                <a:cubicBezTo>
                  <a:pt x="27" y="143"/>
                  <a:pt x="34" y="227"/>
                  <a:pt x="39" y="257"/>
                </a:cubicBezTo>
                <a:cubicBezTo>
                  <a:pt x="39" y="257"/>
                  <a:pt x="39" y="257"/>
                  <a:pt x="39" y="257"/>
                </a:cubicBezTo>
                <a:cubicBezTo>
                  <a:pt x="51" y="337"/>
                  <a:pt x="88" y="382"/>
                  <a:pt x="115" y="405"/>
                </a:cubicBezTo>
                <a:cubicBezTo>
                  <a:pt x="115" y="405"/>
                  <a:pt x="115" y="405"/>
                  <a:pt x="115" y="405"/>
                </a:cubicBezTo>
                <a:cubicBezTo>
                  <a:pt x="126" y="415"/>
                  <a:pt x="135" y="420"/>
                  <a:pt x="143" y="423"/>
                </a:cubicBezTo>
                <a:cubicBezTo>
                  <a:pt x="143" y="423"/>
                  <a:pt x="143" y="423"/>
                  <a:pt x="143" y="423"/>
                </a:cubicBezTo>
                <a:cubicBezTo>
                  <a:pt x="150" y="426"/>
                  <a:pt x="156" y="427"/>
                  <a:pt x="162" y="427"/>
                </a:cubicBezTo>
                <a:cubicBezTo>
                  <a:pt x="162" y="427"/>
                  <a:pt x="162" y="427"/>
                  <a:pt x="162" y="427"/>
                </a:cubicBezTo>
                <a:cubicBezTo>
                  <a:pt x="162" y="427"/>
                  <a:pt x="163" y="427"/>
                  <a:pt x="164" y="427"/>
                </a:cubicBezTo>
                <a:cubicBezTo>
                  <a:pt x="164" y="427"/>
                  <a:pt x="164" y="427"/>
                  <a:pt x="164" y="427"/>
                </a:cubicBezTo>
                <a:cubicBezTo>
                  <a:pt x="170" y="427"/>
                  <a:pt x="176" y="426"/>
                  <a:pt x="183" y="423"/>
                </a:cubicBezTo>
                <a:cubicBezTo>
                  <a:pt x="183" y="423"/>
                  <a:pt x="183" y="423"/>
                  <a:pt x="183" y="423"/>
                </a:cubicBezTo>
                <a:cubicBezTo>
                  <a:pt x="191" y="420"/>
                  <a:pt x="200" y="415"/>
                  <a:pt x="211" y="405"/>
                </a:cubicBezTo>
                <a:cubicBezTo>
                  <a:pt x="211" y="405"/>
                  <a:pt x="211" y="405"/>
                  <a:pt x="211" y="405"/>
                </a:cubicBezTo>
                <a:cubicBezTo>
                  <a:pt x="238" y="382"/>
                  <a:pt x="275" y="337"/>
                  <a:pt x="287" y="257"/>
                </a:cubicBezTo>
                <a:cubicBezTo>
                  <a:pt x="287" y="257"/>
                  <a:pt x="287" y="257"/>
                  <a:pt x="287" y="257"/>
                </a:cubicBezTo>
                <a:cubicBezTo>
                  <a:pt x="289" y="239"/>
                  <a:pt x="293" y="201"/>
                  <a:pt x="296" y="165"/>
                </a:cubicBezTo>
                <a:cubicBezTo>
                  <a:pt x="296" y="165"/>
                  <a:pt x="296" y="165"/>
                  <a:pt x="296" y="165"/>
                </a:cubicBezTo>
                <a:cubicBezTo>
                  <a:pt x="288" y="173"/>
                  <a:pt x="280" y="180"/>
                  <a:pt x="276" y="184"/>
                </a:cubicBezTo>
                <a:cubicBezTo>
                  <a:pt x="276" y="184"/>
                  <a:pt x="276" y="184"/>
                  <a:pt x="276" y="184"/>
                </a:cubicBezTo>
                <a:cubicBezTo>
                  <a:pt x="271" y="189"/>
                  <a:pt x="269" y="193"/>
                  <a:pt x="267" y="198"/>
                </a:cubicBezTo>
                <a:cubicBezTo>
                  <a:pt x="267" y="198"/>
                  <a:pt x="267" y="198"/>
                  <a:pt x="267" y="198"/>
                </a:cubicBezTo>
                <a:cubicBezTo>
                  <a:pt x="265" y="203"/>
                  <a:pt x="264" y="208"/>
                  <a:pt x="264" y="216"/>
                </a:cubicBezTo>
                <a:cubicBezTo>
                  <a:pt x="264" y="216"/>
                  <a:pt x="264" y="216"/>
                  <a:pt x="264" y="216"/>
                </a:cubicBezTo>
                <a:cubicBezTo>
                  <a:pt x="264" y="233"/>
                  <a:pt x="264" y="270"/>
                  <a:pt x="264" y="287"/>
                </a:cubicBezTo>
                <a:cubicBezTo>
                  <a:pt x="264" y="287"/>
                  <a:pt x="264" y="287"/>
                  <a:pt x="264" y="287"/>
                </a:cubicBezTo>
                <a:cubicBezTo>
                  <a:pt x="264" y="299"/>
                  <a:pt x="260" y="310"/>
                  <a:pt x="253" y="319"/>
                </a:cubicBezTo>
                <a:cubicBezTo>
                  <a:pt x="253" y="319"/>
                  <a:pt x="253" y="319"/>
                  <a:pt x="253" y="319"/>
                </a:cubicBezTo>
                <a:cubicBezTo>
                  <a:pt x="245" y="329"/>
                  <a:pt x="233" y="335"/>
                  <a:pt x="219" y="335"/>
                </a:cubicBezTo>
                <a:cubicBezTo>
                  <a:pt x="219" y="335"/>
                  <a:pt x="219" y="335"/>
                  <a:pt x="219" y="335"/>
                </a:cubicBezTo>
                <a:cubicBezTo>
                  <a:pt x="205" y="335"/>
                  <a:pt x="121" y="335"/>
                  <a:pt x="106" y="335"/>
                </a:cubicBezTo>
                <a:cubicBezTo>
                  <a:pt x="106" y="335"/>
                  <a:pt x="106" y="335"/>
                  <a:pt x="106" y="335"/>
                </a:cubicBezTo>
                <a:cubicBezTo>
                  <a:pt x="92" y="335"/>
                  <a:pt x="81" y="329"/>
                  <a:pt x="72" y="320"/>
                </a:cubicBezTo>
                <a:cubicBezTo>
                  <a:pt x="72" y="320"/>
                  <a:pt x="72" y="320"/>
                  <a:pt x="72" y="320"/>
                </a:cubicBezTo>
                <a:cubicBezTo>
                  <a:pt x="64" y="311"/>
                  <a:pt x="58" y="300"/>
                  <a:pt x="58" y="287"/>
                </a:cubicBezTo>
                <a:cubicBezTo>
                  <a:pt x="58" y="287"/>
                  <a:pt x="58" y="287"/>
                  <a:pt x="58" y="287"/>
                </a:cubicBezTo>
                <a:cubicBezTo>
                  <a:pt x="58" y="274"/>
                  <a:pt x="58" y="241"/>
                  <a:pt x="58" y="225"/>
                </a:cubicBezTo>
                <a:cubicBezTo>
                  <a:pt x="58" y="225"/>
                  <a:pt x="58" y="225"/>
                  <a:pt x="58" y="225"/>
                </a:cubicBezTo>
                <a:cubicBezTo>
                  <a:pt x="58" y="213"/>
                  <a:pt x="61" y="202"/>
                  <a:pt x="68" y="193"/>
                </a:cubicBezTo>
                <a:cubicBezTo>
                  <a:pt x="68" y="193"/>
                  <a:pt x="68" y="193"/>
                  <a:pt x="68" y="193"/>
                </a:cubicBezTo>
                <a:cubicBezTo>
                  <a:pt x="74" y="186"/>
                  <a:pt x="82" y="180"/>
                  <a:pt x="93" y="179"/>
                </a:cubicBezTo>
                <a:cubicBezTo>
                  <a:pt x="93" y="179"/>
                  <a:pt x="93" y="179"/>
                  <a:pt x="93" y="179"/>
                </a:cubicBezTo>
                <a:cubicBezTo>
                  <a:pt x="93" y="178"/>
                  <a:pt x="93" y="178"/>
                  <a:pt x="93" y="177"/>
                </a:cubicBezTo>
                <a:cubicBezTo>
                  <a:pt x="93" y="177"/>
                  <a:pt x="93" y="177"/>
                  <a:pt x="93" y="177"/>
                </a:cubicBezTo>
                <a:cubicBezTo>
                  <a:pt x="93" y="170"/>
                  <a:pt x="93" y="161"/>
                  <a:pt x="93" y="147"/>
                </a:cubicBezTo>
                <a:cubicBezTo>
                  <a:pt x="93" y="147"/>
                  <a:pt x="93" y="147"/>
                  <a:pt x="93" y="147"/>
                </a:cubicBezTo>
                <a:cubicBezTo>
                  <a:pt x="93" y="143"/>
                  <a:pt x="93" y="139"/>
                  <a:pt x="94" y="134"/>
                </a:cubicBezTo>
                <a:cubicBezTo>
                  <a:pt x="94" y="134"/>
                  <a:pt x="94" y="134"/>
                  <a:pt x="94" y="134"/>
                </a:cubicBezTo>
                <a:cubicBezTo>
                  <a:pt x="96" y="129"/>
                  <a:pt x="98" y="123"/>
                  <a:pt x="100" y="118"/>
                </a:cubicBezTo>
                <a:cubicBezTo>
                  <a:pt x="100" y="118"/>
                  <a:pt x="100" y="118"/>
                  <a:pt x="100" y="118"/>
                </a:cubicBezTo>
                <a:cubicBezTo>
                  <a:pt x="106" y="106"/>
                  <a:pt x="114" y="94"/>
                  <a:pt x="129" y="87"/>
                </a:cubicBezTo>
                <a:cubicBezTo>
                  <a:pt x="129" y="87"/>
                  <a:pt x="129" y="87"/>
                  <a:pt x="129" y="87"/>
                </a:cubicBezTo>
                <a:cubicBezTo>
                  <a:pt x="138" y="81"/>
                  <a:pt x="149" y="78"/>
                  <a:pt x="162" y="78"/>
                </a:cubicBezTo>
                <a:cubicBezTo>
                  <a:pt x="162" y="78"/>
                  <a:pt x="162" y="78"/>
                  <a:pt x="162" y="78"/>
                </a:cubicBezTo>
                <a:cubicBezTo>
                  <a:pt x="182" y="78"/>
                  <a:pt x="198" y="85"/>
                  <a:pt x="209" y="94"/>
                </a:cubicBezTo>
                <a:cubicBezTo>
                  <a:pt x="209" y="94"/>
                  <a:pt x="209" y="94"/>
                  <a:pt x="209" y="94"/>
                </a:cubicBezTo>
                <a:cubicBezTo>
                  <a:pt x="220" y="104"/>
                  <a:pt x="226" y="116"/>
                  <a:pt x="229" y="127"/>
                </a:cubicBezTo>
                <a:cubicBezTo>
                  <a:pt x="229" y="127"/>
                  <a:pt x="229" y="127"/>
                  <a:pt x="229" y="127"/>
                </a:cubicBezTo>
                <a:cubicBezTo>
                  <a:pt x="232" y="134"/>
                  <a:pt x="233" y="141"/>
                  <a:pt x="233" y="147"/>
                </a:cubicBezTo>
                <a:cubicBezTo>
                  <a:pt x="233" y="147"/>
                  <a:pt x="233" y="147"/>
                  <a:pt x="233" y="147"/>
                </a:cubicBezTo>
                <a:cubicBezTo>
                  <a:pt x="233" y="160"/>
                  <a:pt x="233" y="175"/>
                  <a:pt x="233" y="183"/>
                </a:cubicBezTo>
                <a:cubicBezTo>
                  <a:pt x="233" y="183"/>
                  <a:pt x="233" y="183"/>
                  <a:pt x="233" y="183"/>
                </a:cubicBezTo>
                <a:cubicBezTo>
                  <a:pt x="233" y="187"/>
                  <a:pt x="232" y="192"/>
                  <a:pt x="229" y="197"/>
                </a:cubicBezTo>
                <a:cubicBezTo>
                  <a:pt x="229" y="197"/>
                  <a:pt x="229" y="197"/>
                  <a:pt x="229" y="197"/>
                </a:cubicBezTo>
                <a:cubicBezTo>
                  <a:pt x="227" y="202"/>
                  <a:pt x="223" y="207"/>
                  <a:pt x="217" y="210"/>
                </a:cubicBezTo>
                <a:cubicBezTo>
                  <a:pt x="217" y="210"/>
                  <a:pt x="217" y="210"/>
                  <a:pt x="217" y="210"/>
                </a:cubicBezTo>
                <a:cubicBezTo>
                  <a:pt x="213" y="212"/>
                  <a:pt x="209" y="212"/>
                  <a:pt x="205" y="212"/>
                </a:cubicBezTo>
                <a:cubicBezTo>
                  <a:pt x="205" y="212"/>
                  <a:pt x="205" y="212"/>
                  <a:pt x="205" y="212"/>
                </a:cubicBezTo>
                <a:cubicBezTo>
                  <a:pt x="200" y="212"/>
                  <a:pt x="196" y="212"/>
                  <a:pt x="192" y="210"/>
                </a:cubicBezTo>
                <a:cubicBezTo>
                  <a:pt x="192" y="210"/>
                  <a:pt x="192" y="210"/>
                  <a:pt x="192" y="210"/>
                </a:cubicBezTo>
                <a:cubicBezTo>
                  <a:pt x="188" y="208"/>
                  <a:pt x="185" y="205"/>
                  <a:pt x="183" y="202"/>
                </a:cubicBezTo>
                <a:cubicBezTo>
                  <a:pt x="183" y="202"/>
                  <a:pt x="183" y="202"/>
                  <a:pt x="183" y="202"/>
                </a:cubicBezTo>
                <a:cubicBezTo>
                  <a:pt x="178" y="196"/>
                  <a:pt x="177" y="189"/>
                  <a:pt x="177" y="183"/>
                </a:cubicBezTo>
                <a:cubicBezTo>
                  <a:pt x="177" y="183"/>
                  <a:pt x="177" y="183"/>
                  <a:pt x="177" y="183"/>
                </a:cubicBezTo>
                <a:cubicBezTo>
                  <a:pt x="177" y="177"/>
                  <a:pt x="177" y="171"/>
                  <a:pt x="177" y="153"/>
                </a:cubicBezTo>
                <a:cubicBezTo>
                  <a:pt x="177" y="153"/>
                  <a:pt x="177" y="153"/>
                  <a:pt x="177" y="153"/>
                </a:cubicBezTo>
                <a:cubicBezTo>
                  <a:pt x="177" y="147"/>
                  <a:pt x="175" y="142"/>
                  <a:pt x="173" y="139"/>
                </a:cubicBezTo>
                <a:cubicBezTo>
                  <a:pt x="173" y="139"/>
                  <a:pt x="173" y="139"/>
                  <a:pt x="173" y="139"/>
                </a:cubicBezTo>
                <a:cubicBezTo>
                  <a:pt x="170" y="136"/>
                  <a:pt x="168" y="135"/>
                  <a:pt x="162" y="135"/>
                </a:cubicBezTo>
                <a:cubicBezTo>
                  <a:pt x="162" y="135"/>
                  <a:pt x="162" y="135"/>
                  <a:pt x="162" y="135"/>
                </a:cubicBezTo>
                <a:cubicBezTo>
                  <a:pt x="160" y="135"/>
                  <a:pt x="158" y="135"/>
                  <a:pt x="157" y="136"/>
                </a:cubicBezTo>
                <a:cubicBezTo>
                  <a:pt x="157" y="136"/>
                  <a:pt x="157" y="136"/>
                  <a:pt x="157" y="136"/>
                </a:cubicBezTo>
                <a:cubicBezTo>
                  <a:pt x="155" y="137"/>
                  <a:pt x="154" y="138"/>
                  <a:pt x="153" y="140"/>
                </a:cubicBezTo>
                <a:cubicBezTo>
                  <a:pt x="153" y="140"/>
                  <a:pt x="153" y="140"/>
                  <a:pt x="153" y="140"/>
                </a:cubicBezTo>
                <a:cubicBezTo>
                  <a:pt x="150" y="143"/>
                  <a:pt x="148" y="148"/>
                  <a:pt x="149" y="153"/>
                </a:cubicBezTo>
                <a:cubicBezTo>
                  <a:pt x="149" y="153"/>
                  <a:pt x="149" y="153"/>
                  <a:pt x="149" y="153"/>
                </a:cubicBezTo>
                <a:cubicBezTo>
                  <a:pt x="149" y="167"/>
                  <a:pt x="149" y="182"/>
                  <a:pt x="149" y="191"/>
                </a:cubicBezTo>
                <a:cubicBezTo>
                  <a:pt x="149" y="191"/>
                  <a:pt x="149" y="191"/>
                  <a:pt x="149" y="191"/>
                </a:cubicBezTo>
                <a:cubicBezTo>
                  <a:pt x="153" y="191"/>
                  <a:pt x="157" y="193"/>
                  <a:pt x="161" y="197"/>
                </a:cubicBezTo>
                <a:cubicBezTo>
                  <a:pt x="161" y="197"/>
                  <a:pt x="161" y="197"/>
                  <a:pt x="161" y="197"/>
                </a:cubicBezTo>
                <a:cubicBezTo>
                  <a:pt x="165" y="201"/>
                  <a:pt x="168" y="207"/>
                  <a:pt x="168" y="213"/>
                </a:cubicBezTo>
                <a:cubicBezTo>
                  <a:pt x="168" y="213"/>
                  <a:pt x="168" y="213"/>
                  <a:pt x="168" y="213"/>
                </a:cubicBezTo>
                <a:cubicBezTo>
                  <a:pt x="168" y="220"/>
                  <a:pt x="168" y="218"/>
                  <a:pt x="168" y="223"/>
                </a:cubicBezTo>
                <a:cubicBezTo>
                  <a:pt x="168" y="223"/>
                  <a:pt x="168" y="223"/>
                  <a:pt x="168" y="223"/>
                </a:cubicBezTo>
                <a:cubicBezTo>
                  <a:pt x="171" y="223"/>
                  <a:pt x="175" y="224"/>
                  <a:pt x="179" y="226"/>
                </a:cubicBezTo>
                <a:cubicBezTo>
                  <a:pt x="179" y="226"/>
                  <a:pt x="179" y="226"/>
                  <a:pt x="179" y="226"/>
                </a:cubicBezTo>
                <a:cubicBezTo>
                  <a:pt x="185" y="229"/>
                  <a:pt x="191" y="234"/>
                  <a:pt x="195" y="241"/>
                </a:cubicBezTo>
                <a:cubicBezTo>
                  <a:pt x="195" y="241"/>
                  <a:pt x="195" y="241"/>
                  <a:pt x="195" y="241"/>
                </a:cubicBezTo>
                <a:cubicBezTo>
                  <a:pt x="197" y="246"/>
                  <a:pt x="198" y="251"/>
                  <a:pt x="198" y="257"/>
                </a:cubicBezTo>
                <a:cubicBezTo>
                  <a:pt x="198" y="257"/>
                  <a:pt x="198" y="257"/>
                  <a:pt x="198" y="257"/>
                </a:cubicBezTo>
                <a:cubicBezTo>
                  <a:pt x="198" y="263"/>
                  <a:pt x="197" y="269"/>
                  <a:pt x="194" y="273"/>
                </a:cubicBezTo>
                <a:cubicBezTo>
                  <a:pt x="194" y="273"/>
                  <a:pt x="194" y="273"/>
                  <a:pt x="194" y="273"/>
                </a:cubicBezTo>
                <a:cubicBezTo>
                  <a:pt x="192" y="278"/>
                  <a:pt x="189" y="282"/>
                  <a:pt x="185" y="285"/>
                </a:cubicBezTo>
                <a:cubicBezTo>
                  <a:pt x="185" y="285"/>
                  <a:pt x="185" y="285"/>
                  <a:pt x="185" y="285"/>
                </a:cubicBezTo>
                <a:cubicBezTo>
                  <a:pt x="177" y="290"/>
                  <a:pt x="169" y="292"/>
                  <a:pt x="162" y="292"/>
                </a:cubicBezTo>
                <a:cubicBezTo>
                  <a:pt x="162" y="292"/>
                  <a:pt x="162" y="292"/>
                  <a:pt x="162" y="292"/>
                </a:cubicBezTo>
                <a:cubicBezTo>
                  <a:pt x="157" y="292"/>
                  <a:pt x="151" y="291"/>
                  <a:pt x="145" y="288"/>
                </a:cubicBezTo>
                <a:cubicBezTo>
                  <a:pt x="145" y="288"/>
                  <a:pt x="145" y="288"/>
                  <a:pt x="145" y="288"/>
                </a:cubicBezTo>
                <a:cubicBezTo>
                  <a:pt x="140" y="286"/>
                  <a:pt x="134" y="281"/>
                  <a:pt x="130" y="274"/>
                </a:cubicBezTo>
                <a:cubicBezTo>
                  <a:pt x="130" y="274"/>
                  <a:pt x="130" y="274"/>
                  <a:pt x="130" y="274"/>
                </a:cubicBezTo>
                <a:cubicBezTo>
                  <a:pt x="127" y="269"/>
                  <a:pt x="126" y="263"/>
                  <a:pt x="126" y="257"/>
                </a:cubicBezTo>
                <a:cubicBezTo>
                  <a:pt x="126" y="257"/>
                  <a:pt x="126" y="257"/>
                  <a:pt x="126" y="257"/>
                </a:cubicBezTo>
                <a:cubicBezTo>
                  <a:pt x="126" y="250"/>
                  <a:pt x="132" y="244"/>
                  <a:pt x="139" y="244"/>
                </a:cubicBezTo>
                <a:cubicBezTo>
                  <a:pt x="139" y="244"/>
                  <a:pt x="139" y="244"/>
                  <a:pt x="139" y="244"/>
                </a:cubicBezTo>
                <a:cubicBezTo>
                  <a:pt x="146" y="244"/>
                  <a:pt x="152" y="250"/>
                  <a:pt x="152" y="257"/>
                </a:cubicBezTo>
                <a:cubicBezTo>
                  <a:pt x="152" y="257"/>
                  <a:pt x="152" y="257"/>
                  <a:pt x="152" y="257"/>
                </a:cubicBezTo>
                <a:cubicBezTo>
                  <a:pt x="152" y="259"/>
                  <a:pt x="153" y="260"/>
                  <a:pt x="153" y="261"/>
                </a:cubicBezTo>
                <a:cubicBezTo>
                  <a:pt x="153" y="261"/>
                  <a:pt x="153" y="261"/>
                  <a:pt x="153" y="261"/>
                </a:cubicBezTo>
                <a:cubicBezTo>
                  <a:pt x="154" y="262"/>
                  <a:pt x="154" y="263"/>
                  <a:pt x="155" y="263"/>
                </a:cubicBezTo>
                <a:cubicBezTo>
                  <a:pt x="155" y="263"/>
                  <a:pt x="155" y="263"/>
                  <a:pt x="155" y="263"/>
                </a:cubicBezTo>
                <a:cubicBezTo>
                  <a:pt x="157" y="265"/>
                  <a:pt x="161" y="266"/>
                  <a:pt x="162" y="266"/>
                </a:cubicBezTo>
                <a:cubicBezTo>
                  <a:pt x="162" y="266"/>
                  <a:pt x="162" y="266"/>
                  <a:pt x="162" y="266"/>
                </a:cubicBezTo>
                <a:cubicBezTo>
                  <a:pt x="163" y="266"/>
                  <a:pt x="166" y="265"/>
                  <a:pt x="167" y="264"/>
                </a:cubicBezTo>
                <a:cubicBezTo>
                  <a:pt x="167" y="264"/>
                  <a:pt x="167" y="264"/>
                  <a:pt x="167" y="264"/>
                </a:cubicBezTo>
                <a:cubicBezTo>
                  <a:pt x="169" y="263"/>
                  <a:pt x="170" y="262"/>
                  <a:pt x="171" y="261"/>
                </a:cubicBezTo>
                <a:cubicBezTo>
                  <a:pt x="171" y="261"/>
                  <a:pt x="171" y="261"/>
                  <a:pt x="171" y="261"/>
                </a:cubicBezTo>
                <a:cubicBezTo>
                  <a:pt x="171" y="260"/>
                  <a:pt x="172" y="259"/>
                  <a:pt x="172" y="257"/>
                </a:cubicBezTo>
                <a:cubicBezTo>
                  <a:pt x="172" y="257"/>
                  <a:pt x="172" y="257"/>
                  <a:pt x="172" y="257"/>
                </a:cubicBezTo>
                <a:cubicBezTo>
                  <a:pt x="172" y="255"/>
                  <a:pt x="171" y="254"/>
                  <a:pt x="171" y="253"/>
                </a:cubicBezTo>
                <a:cubicBezTo>
                  <a:pt x="171" y="253"/>
                  <a:pt x="171" y="253"/>
                  <a:pt x="171" y="253"/>
                </a:cubicBezTo>
                <a:cubicBezTo>
                  <a:pt x="170" y="252"/>
                  <a:pt x="170" y="252"/>
                  <a:pt x="169" y="251"/>
                </a:cubicBezTo>
                <a:cubicBezTo>
                  <a:pt x="169" y="251"/>
                  <a:pt x="169" y="251"/>
                  <a:pt x="169" y="251"/>
                </a:cubicBezTo>
                <a:cubicBezTo>
                  <a:pt x="168" y="250"/>
                  <a:pt x="164" y="249"/>
                  <a:pt x="162" y="249"/>
                </a:cubicBezTo>
                <a:cubicBezTo>
                  <a:pt x="162" y="249"/>
                  <a:pt x="162" y="249"/>
                  <a:pt x="162" y="249"/>
                </a:cubicBezTo>
                <a:cubicBezTo>
                  <a:pt x="159" y="249"/>
                  <a:pt x="156" y="249"/>
                  <a:pt x="152" y="247"/>
                </a:cubicBezTo>
                <a:cubicBezTo>
                  <a:pt x="152" y="247"/>
                  <a:pt x="152" y="247"/>
                  <a:pt x="152" y="247"/>
                </a:cubicBezTo>
                <a:cubicBezTo>
                  <a:pt x="149" y="245"/>
                  <a:pt x="145" y="242"/>
                  <a:pt x="144" y="239"/>
                </a:cubicBezTo>
                <a:cubicBezTo>
                  <a:pt x="144" y="239"/>
                  <a:pt x="144" y="239"/>
                  <a:pt x="144" y="239"/>
                </a:cubicBezTo>
                <a:cubicBezTo>
                  <a:pt x="143" y="236"/>
                  <a:pt x="142" y="234"/>
                  <a:pt x="142" y="232"/>
                </a:cubicBezTo>
                <a:cubicBezTo>
                  <a:pt x="142" y="232"/>
                  <a:pt x="142" y="232"/>
                  <a:pt x="142" y="232"/>
                </a:cubicBezTo>
                <a:cubicBezTo>
                  <a:pt x="141" y="230"/>
                  <a:pt x="141" y="227"/>
                  <a:pt x="141" y="225"/>
                </a:cubicBezTo>
                <a:cubicBezTo>
                  <a:pt x="141" y="225"/>
                  <a:pt x="141" y="225"/>
                  <a:pt x="141" y="225"/>
                </a:cubicBezTo>
                <a:cubicBezTo>
                  <a:pt x="141" y="219"/>
                  <a:pt x="141" y="220"/>
                  <a:pt x="141" y="217"/>
                </a:cubicBezTo>
                <a:cubicBezTo>
                  <a:pt x="141" y="217"/>
                  <a:pt x="141" y="217"/>
                  <a:pt x="141" y="217"/>
                </a:cubicBezTo>
                <a:cubicBezTo>
                  <a:pt x="139" y="217"/>
                  <a:pt x="138" y="216"/>
                  <a:pt x="136" y="216"/>
                </a:cubicBezTo>
                <a:cubicBezTo>
                  <a:pt x="136" y="216"/>
                  <a:pt x="136" y="216"/>
                  <a:pt x="136" y="216"/>
                </a:cubicBezTo>
                <a:cubicBezTo>
                  <a:pt x="132" y="215"/>
                  <a:pt x="129" y="212"/>
                  <a:pt x="126" y="209"/>
                </a:cubicBezTo>
                <a:cubicBezTo>
                  <a:pt x="126" y="209"/>
                  <a:pt x="126" y="209"/>
                  <a:pt x="126" y="209"/>
                </a:cubicBezTo>
                <a:cubicBezTo>
                  <a:pt x="124" y="207"/>
                  <a:pt x="123" y="204"/>
                  <a:pt x="123" y="202"/>
                </a:cubicBezTo>
                <a:cubicBezTo>
                  <a:pt x="123" y="202"/>
                  <a:pt x="123" y="202"/>
                  <a:pt x="123" y="202"/>
                </a:cubicBezTo>
                <a:cubicBezTo>
                  <a:pt x="122" y="199"/>
                  <a:pt x="122" y="196"/>
                  <a:pt x="122" y="194"/>
                </a:cubicBezTo>
                <a:cubicBezTo>
                  <a:pt x="122" y="194"/>
                  <a:pt x="122" y="194"/>
                  <a:pt x="122" y="194"/>
                </a:cubicBezTo>
                <a:cubicBezTo>
                  <a:pt x="122" y="186"/>
                  <a:pt x="122" y="168"/>
                  <a:pt x="122" y="153"/>
                </a:cubicBezTo>
                <a:cubicBezTo>
                  <a:pt x="122" y="153"/>
                  <a:pt x="122" y="153"/>
                  <a:pt x="122" y="153"/>
                </a:cubicBezTo>
                <a:cubicBezTo>
                  <a:pt x="122" y="146"/>
                  <a:pt x="124" y="138"/>
                  <a:pt x="127" y="131"/>
                </a:cubicBezTo>
                <a:cubicBezTo>
                  <a:pt x="127" y="131"/>
                  <a:pt x="127" y="131"/>
                  <a:pt x="127" y="131"/>
                </a:cubicBezTo>
                <a:cubicBezTo>
                  <a:pt x="131" y="123"/>
                  <a:pt x="136" y="117"/>
                  <a:pt x="144" y="113"/>
                </a:cubicBezTo>
                <a:cubicBezTo>
                  <a:pt x="144" y="113"/>
                  <a:pt x="144" y="113"/>
                  <a:pt x="144" y="113"/>
                </a:cubicBezTo>
                <a:cubicBezTo>
                  <a:pt x="150" y="110"/>
                  <a:pt x="156" y="108"/>
                  <a:pt x="162" y="108"/>
                </a:cubicBezTo>
                <a:cubicBezTo>
                  <a:pt x="162" y="108"/>
                  <a:pt x="162" y="108"/>
                  <a:pt x="162" y="108"/>
                </a:cubicBezTo>
                <a:cubicBezTo>
                  <a:pt x="175" y="108"/>
                  <a:pt x="186" y="114"/>
                  <a:pt x="193" y="122"/>
                </a:cubicBezTo>
                <a:cubicBezTo>
                  <a:pt x="193" y="122"/>
                  <a:pt x="193" y="122"/>
                  <a:pt x="193" y="122"/>
                </a:cubicBezTo>
                <a:cubicBezTo>
                  <a:pt x="200" y="131"/>
                  <a:pt x="204" y="142"/>
                  <a:pt x="204" y="153"/>
                </a:cubicBezTo>
                <a:cubicBezTo>
                  <a:pt x="204" y="153"/>
                  <a:pt x="204" y="153"/>
                  <a:pt x="204" y="153"/>
                </a:cubicBezTo>
                <a:cubicBezTo>
                  <a:pt x="204" y="171"/>
                  <a:pt x="204" y="177"/>
                  <a:pt x="204" y="183"/>
                </a:cubicBezTo>
                <a:cubicBezTo>
                  <a:pt x="204" y="183"/>
                  <a:pt x="204" y="183"/>
                  <a:pt x="204" y="183"/>
                </a:cubicBezTo>
                <a:cubicBezTo>
                  <a:pt x="204" y="184"/>
                  <a:pt x="204" y="185"/>
                  <a:pt x="204" y="186"/>
                </a:cubicBezTo>
                <a:cubicBezTo>
                  <a:pt x="204" y="186"/>
                  <a:pt x="204" y="186"/>
                  <a:pt x="204" y="186"/>
                </a:cubicBezTo>
                <a:cubicBezTo>
                  <a:pt x="204" y="186"/>
                  <a:pt x="204" y="186"/>
                  <a:pt x="205" y="186"/>
                </a:cubicBezTo>
                <a:cubicBezTo>
                  <a:pt x="205" y="186"/>
                  <a:pt x="205" y="186"/>
                  <a:pt x="205" y="186"/>
                </a:cubicBezTo>
                <a:cubicBezTo>
                  <a:pt x="205" y="186"/>
                  <a:pt x="205" y="186"/>
                  <a:pt x="205" y="186"/>
                </a:cubicBezTo>
                <a:cubicBezTo>
                  <a:pt x="205" y="186"/>
                  <a:pt x="205" y="186"/>
                  <a:pt x="205" y="186"/>
                </a:cubicBezTo>
                <a:cubicBezTo>
                  <a:pt x="206" y="185"/>
                  <a:pt x="206" y="184"/>
                  <a:pt x="206" y="183"/>
                </a:cubicBezTo>
                <a:cubicBezTo>
                  <a:pt x="206" y="183"/>
                  <a:pt x="206" y="183"/>
                  <a:pt x="206" y="183"/>
                </a:cubicBezTo>
                <a:cubicBezTo>
                  <a:pt x="206" y="175"/>
                  <a:pt x="206" y="160"/>
                  <a:pt x="206" y="147"/>
                </a:cubicBezTo>
                <a:cubicBezTo>
                  <a:pt x="206" y="147"/>
                  <a:pt x="206" y="147"/>
                  <a:pt x="206" y="147"/>
                </a:cubicBezTo>
                <a:cubicBezTo>
                  <a:pt x="206" y="143"/>
                  <a:pt x="205" y="135"/>
                  <a:pt x="201" y="128"/>
                </a:cubicBezTo>
                <a:cubicBezTo>
                  <a:pt x="201" y="128"/>
                  <a:pt x="201" y="128"/>
                  <a:pt x="201" y="128"/>
                </a:cubicBezTo>
                <a:cubicBezTo>
                  <a:pt x="197" y="120"/>
                  <a:pt x="192" y="114"/>
                  <a:pt x="184" y="110"/>
                </a:cubicBezTo>
                <a:cubicBezTo>
                  <a:pt x="184" y="110"/>
                  <a:pt x="184" y="110"/>
                  <a:pt x="184" y="110"/>
                </a:cubicBezTo>
                <a:cubicBezTo>
                  <a:pt x="178" y="107"/>
                  <a:pt x="172" y="105"/>
                  <a:pt x="162" y="105"/>
                </a:cubicBezTo>
                <a:cubicBezTo>
                  <a:pt x="162" y="105"/>
                  <a:pt x="162" y="105"/>
                  <a:pt x="162" y="105"/>
                </a:cubicBezTo>
                <a:cubicBezTo>
                  <a:pt x="149" y="105"/>
                  <a:pt x="141" y="109"/>
                  <a:pt x="134" y="115"/>
                </a:cubicBezTo>
                <a:cubicBezTo>
                  <a:pt x="134" y="115"/>
                  <a:pt x="134" y="115"/>
                  <a:pt x="134" y="115"/>
                </a:cubicBezTo>
                <a:cubicBezTo>
                  <a:pt x="128" y="121"/>
                  <a:pt x="124" y="129"/>
                  <a:pt x="121" y="137"/>
                </a:cubicBezTo>
                <a:cubicBezTo>
                  <a:pt x="121" y="137"/>
                  <a:pt x="121" y="137"/>
                  <a:pt x="121" y="137"/>
                </a:cubicBezTo>
                <a:cubicBezTo>
                  <a:pt x="120" y="141"/>
                  <a:pt x="119" y="146"/>
                  <a:pt x="119" y="147"/>
                </a:cubicBezTo>
                <a:cubicBezTo>
                  <a:pt x="119" y="147"/>
                  <a:pt x="119" y="147"/>
                  <a:pt x="119" y="147"/>
                </a:cubicBezTo>
                <a:cubicBezTo>
                  <a:pt x="119" y="161"/>
                  <a:pt x="119" y="170"/>
                  <a:pt x="119" y="177"/>
                </a:cubicBezTo>
                <a:cubicBezTo>
                  <a:pt x="119" y="177"/>
                  <a:pt x="119" y="177"/>
                  <a:pt x="119" y="177"/>
                </a:cubicBezTo>
                <a:cubicBezTo>
                  <a:pt x="119" y="181"/>
                  <a:pt x="119" y="184"/>
                  <a:pt x="118" y="187"/>
                </a:cubicBezTo>
                <a:cubicBezTo>
                  <a:pt x="118" y="187"/>
                  <a:pt x="118" y="187"/>
                  <a:pt x="118" y="187"/>
                </a:cubicBezTo>
                <a:cubicBezTo>
                  <a:pt x="118" y="191"/>
                  <a:pt x="117" y="194"/>
                  <a:pt x="114" y="197"/>
                </a:cubicBezTo>
                <a:cubicBezTo>
                  <a:pt x="114" y="197"/>
                  <a:pt x="114" y="197"/>
                  <a:pt x="114" y="197"/>
                </a:cubicBezTo>
                <a:cubicBezTo>
                  <a:pt x="112" y="200"/>
                  <a:pt x="110" y="202"/>
                  <a:pt x="107" y="203"/>
                </a:cubicBezTo>
                <a:cubicBezTo>
                  <a:pt x="107" y="203"/>
                  <a:pt x="107" y="203"/>
                  <a:pt x="107" y="203"/>
                </a:cubicBezTo>
                <a:cubicBezTo>
                  <a:pt x="104" y="204"/>
                  <a:pt x="100" y="205"/>
                  <a:pt x="97" y="205"/>
                </a:cubicBezTo>
                <a:cubicBezTo>
                  <a:pt x="97" y="205"/>
                  <a:pt x="97" y="205"/>
                  <a:pt x="97" y="205"/>
                </a:cubicBezTo>
                <a:cubicBezTo>
                  <a:pt x="94" y="205"/>
                  <a:pt x="92" y="206"/>
                  <a:pt x="89" y="210"/>
                </a:cubicBezTo>
                <a:cubicBezTo>
                  <a:pt x="89" y="210"/>
                  <a:pt x="89" y="210"/>
                  <a:pt x="89" y="210"/>
                </a:cubicBezTo>
                <a:cubicBezTo>
                  <a:pt x="86" y="213"/>
                  <a:pt x="84" y="218"/>
                  <a:pt x="84" y="225"/>
                </a:cubicBezTo>
                <a:cubicBezTo>
                  <a:pt x="84" y="225"/>
                  <a:pt x="84" y="225"/>
                  <a:pt x="84" y="225"/>
                </a:cubicBezTo>
                <a:cubicBezTo>
                  <a:pt x="84" y="241"/>
                  <a:pt x="84" y="274"/>
                  <a:pt x="84" y="287"/>
                </a:cubicBezTo>
                <a:cubicBezTo>
                  <a:pt x="84" y="287"/>
                  <a:pt x="84" y="287"/>
                  <a:pt x="84" y="287"/>
                </a:cubicBezTo>
                <a:cubicBezTo>
                  <a:pt x="84" y="291"/>
                  <a:pt x="87" y="297"/>
                  <a:pt x="91" y="301"/>
                </a:cubicBezTo>
                <a:cubicBezTo>
                  <a:pt x="91" y="301"/>
                  <a:pt x="91" y="301"/>
                  <a:pt x="91" y="301"/>
                </a:cubicBezTo>
                <a:cubicBezTo>
                  <a:pt x="96" y="306"/>
                  <a:pt x="102" y="309"/>
                  <a:pt x="106" y="309"/>
                </a:cubicBezTo>
                <a:cubicBezTo>
                  <a:pt x="106" y="309"/>
                  <a:pt x="106" y="309"/>
                  <a:pt x="106" y="309"/>
                </a:cubicBezTo>
                <a:cubicBezTo>
                  <a:pt x="121" y="309"/>
                  <a:pt x="205" y="309"/>
                  <a:pt x="219" y="309"/>
                </a:cubicBezTo>
                <a:cubicBezTo>
                  <a:pt x="219" y="309"/>
                  <a:pt x="219" y="309"/>
                  <a:pt x="219" y="309"/>
                </a:cubicBezTo>
                <a:cubicBezTo>
                  <a:pt x="225" y="309"/>
                  <a:pt x="229" y="306"/>
                  <a:pt x="232" y="302"/>
                </a:cubicBezTo>
                <a:cubicBezTo>
                  <a:pt x="232" y="302"/>
                  <a:pt x="232" y="302"/>
                  <a:pt x="232" y="302"/>
                </a:cubicBezTo>
                <a:cubicBezTo>
                  <a:pt x="236" y="298"/>
                  <a:pt x="238" y="292"/>
                  <a:pt x="238" y="287"/>
                </a:cubicBezTo>
                <a:cubicBezTo>
                  <a:pt x="238" y="287"/>
                  <a:pt x="238" y="287"/>
                  <a:pt x="238" y="287"/>
                </a:cubicBezTo>
                <a:cubicBezTo>
                  <a:pt x="238" y="270"/>
                  <a:pt x="238" y="233"/>
                  <a:pt x="238" y="216"/>
                </a:cubicBezTo>
                <a:cubicBezTo>
                  <a:pt x="238" y="216"/>
                  <a:pt x="238" y="216"/>
                  <a:pt x="238" y="216"/>
                </a:cubicBezTo>
                <a:cubicBezTo>
                  <a:pt x="238" y="207"/>
                  <a:pt x="239" y="198"/>
                  <a:pt x="242" y="189"/>
                </a:cubicBezTo>
                <a:cubicBezTo>
                  <a:pt x="242" y="189"/>
                  <a:pt x="242" y="189"/>
                  <a:pt x="242" y="189"/>
                </a:cubicBezTo>
                <a:cubicBezTo>
                  <a:pt x="245" y="180"/>
                  <a:pt x="250" y="172"/>
                  <a:pt x="257" y="165"/>
                </a:cubicBezTo>
                <a:cubicBezTo>
                  <a:pt x="257" y="165"/>
                  <a:pt x="257" y="165"/>
                  <a:pt x="257" y="165"/>
                </a:cubicBezTo>
                <a:cubicBezTo>
                  <a:pt x="266" y="157"/>
                  <a:pt x="288" y="134"/>
                  <a:pt x="302" y="121"/>
                </a:cubicBezTo>
                <a:cubicBezTo>
                  <a:pt x="302" y="121"/>
                  <a:pt x="302" y="121"/>
                  <a:pt x="302" y="121"/>
                </a:cubicBezTo>
                <a:cubicBezTo>
                  <a:pt x="305" y="118"/>
                  <a:pt x="309" y="117"/>
                  <a:pt x="313" y="117"/>
                </a:cubicBezTo>
                <a:cubicBezTo>
                  <a:pt x="313" y="117"/>
                  <a:pt x="313" y="117"/>
                  <a:pt x="313" y="117"/>
                </a:cubicBezTo>
                <a:cubicBezTo>
                  <a:pt x="313" y="117"/>
                  <a:pt x="313" y="117"/>
                  <a:pt x="313" y="117"/>
                </a:cubicBezTo>
                <a:cubicBezTo>
                  <a:pt x="320" y="118"/>
                  <a:pt x="325" y="124"/>
                  <a:pt x="324" y="131"/>
                </a:cubicBezTo>
                <a:cubicBezTo>
                  <a:pt x="324" y="131"/>
                  <a:pt x="324" y="131"/>
                  <a:pt x="324" y="131"/>
                </a:cubicBezTo>
                <a:cubicBezTo>
                  <a:pt x="322" y="176"/>
                  <a:pt x="317" y="235"/>
                  <a:pt x="313" y="261"/>
                </a:cubicBezTo>
                <a:cubicBezTo>
                  <a:pt x="313" y="261"/>
                  <a:pt x="313" y="261"/>
                  <a:pt x="313" y="261"/>
                </a:cubicBezTo>
                <a:cubicBezTo>
                  <a:pt x="300" y="348"/>
                  <a:pt x="259" y="399"/>
                  <a:pt x="228" y="425"/>
                </a:cubicBezTo>
                <a:cubicBezTo>
                  <a:pt x="228" y="425"/>
                  <a:pt x="228" y="425"/>
                  <a:pt x="228" y="425"/>
                </a:cubicBezTo>
                <a:cubicBezTo>
                  <a:pt x="216" y="436"/>
                  <a:pt x="204" y="443"/>
                  <a:pt x="193" y="448"/>
                </a:cubicBezTo>
                <a:cubicBezTo>
                  <a:pt x="193" y="448"/>
                  <a:pt x="193" y="448"/>
                  <a:pt x="193" y="448"/>
                </a:cubicBezTo>
                <a:cubicBezTo>
                  <a:pt x="182" y="452"/>
                  <a:pt x="172" y="454"/>
                  <a:pt x="163" y="454"/>
                </a:cubicBezTo>
                <a:cubicBezTo>
                  <a:pt x="163" y="454"/>
                  <a:pt x="163" y="454"/>
                  <a:pt x="163" y="454"/>
                </a:cubicBezTo>
                <a:cubicBezTo>
                  <a:pt x="163" y="454"/>
                  <a:pt x="163" y="454"/>
                  <a:pt x="163" y="45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1" name="Freeform 628"/>
          <p:cNvSpPr>
            <a:spLocks/>
          </p:cNvSpPr>
          <p:nvPr userDrawn="1"/>
        </p:nvSpPr>
        <p:spPr bwMode="auto">
          <a:xfrm>
            <a:off x="9925050" y="3066376"/>
            <a:ext cx="479424" cy="363537"/>
          </a:xfrm>
          <a:custGeom>
            <a:avLst/>
            <a:gdLst/>
            <a:ahLst/>
            <a:cxnLst>
              <a:cxn ang="0">
                <a:pos x="417" y="7"/>
              </a:cxn>
              <a:cxn ang="0">
                <a:pos x="397" y="0"/>
              </a:cxn>
              <a:cxn ang="0">
                <a:pos x="143" y="0"/>
              </a:cxn>
              <a:cxn ang="0">
                <a:pos x="114" y="28"/>
              </a:cxn>
              <a:cxn ang="0">
                <a:pos x="114" y="158"/>
              </a:cxn>
              <a:cxn ang="0">
                <a:pos x="128" y="171"/>
              </a:cxn>
              <a:cxn ang="0">
                <a:pos x="202" y="171"/>
              </a:cxn>
              <a:cxn ang="0">
                <a:pos x="204" y="176"/>
              </a:cxn>
              <a:cxn ang="0">
                <a:pos x="204" y="292"/>
              </a:cxn>
              <a:cxn ang="0">
                <a:pos x="202" y="296"/>
              </a:cxn>
              <a:cxn ang="0">
                <a:pos x="29" y="296"/>
              </a:cxn>
              <a:cxn ang="0">
                <a:pos x="27" y="292"/>
              </a:cxn>
              <a:cxn ang="0">
                <a:pos x="27" y="176"/>
              </a:cxn>
              <a:cxn ang="0">
                <a:pos x="29" y="171"/>
              </a:cxn>
              <a:cxn ang="0">
                <a:pos x="77" y="171"/>
              </a:cxn>
              <a:cxn ang="0">
                <a:pos x="90" y="158"/>
              </a:cxn>
              <a:cxn ang="0">
                <a:pos x="77" y="145"/>
              </a:cxn>
              <a:cxn ang="0">
                <a:pos x="28" y="145"/>
              </a:cxn>
              <a:cxn ang="0">
                <a:pos x="0" y="176"/>
              </a:cxn>
              <a:cxn ang="0">
                <a:pos x="0" y="292"/>
              </a:cxn>
              <a:cxn ang="0">
                <a:pos x="28" y="323"/>
              </a:cxn>
              <a:cxn ang="0">
                <a:pos x="203" y="323"/>
              </a:cxn>
              <a:cxn ang="0">
                <a:pos x="231" y="292"/>
              </a:cxn>
              <a:cxn ang="0">
                <a:pos x="231" y="176"/>
              </a:cxn>
              <a:cxn ang="0">
                <a:pos x="203" y="145"/>
              </a:cxn>
              <a:cxn ang="0">
                <a:pos x="141" y="145"/>
              </a:cxn>
              <a:cxn ang="0">
                <a:pos x="141" y="28"/>
              </a:cxn>
              <a:cxn ang="0">
                <a:pos x="143" y="26"/>
              </a:cxn>
              <a:cxn ang="0">
                <a:pos x="397" y="26"/>
              </a:cxn>
              <a:cxn ang="0">
                <a:pos x="400" y="28"/>
              </a:cxn>
              <a:cxn ang="0">
                <a:pos x="400" y="223"/>
              </a:cxn>
              <a:cxn ang="0">
                <a:pos x="397" y="224"/>
              </a:cxn>
              <a:cxn ang="0">
                <a:pos x="292" y="224"/>
              </a:cxn>
              <a:cxn ang="0">
                <a:pos x="304" y="212"/>
              </a:cxn>
              <a:cxn ang="0">
                <a:pos x="304" y="195"/>
              </a:cxn>
              <a:cxn ang="0">
                <a:pos x="287" y="195"/>
              </a:cxn>
              <a:cxn ang="0">
                <a:pos x="252" y="230"/>
              </a:cxn>
              <a:cxn ang="0">
                <a:pos x="252" y="247"/>
              </a:cxn>
              <a:cxn ang="0">
                <a:pos x="287" y="283"/>
              </a:cxn>
              <a:cxn ang="0">
                <a:pos x="304" y="283"/>
              </a:cxn>
              <a:cxn ang="0">
                <a:pos x="304" y="266"/>
              </a:cxn>
              <a:cxn ang="0">
                <a:pos x="290" y="252"/>
              </a:cxn>
              <a:cxn ang="0">
                <a:pos x="290" y="251"/>
              </a:cxn>
              <a:cxn ang="0">
                <a:pos x="397" y="251"/>
              </a:cxn>
              <a:cxn ang="0">
                <a:pos x="426" y="223"/>
              </a:cxn>
              <a:cxn ang="0">
                <a:pos x="426" y="28"/>
              </a:cxn>
              <a:cxn ang="0">
                <a:pos x="417" y="7"/>
              </a:cxn>
            </a:cxnLst>
            <a:rect l="0" t="0" r="r" b="b"/>
            <a:pathLst>
              <a:path w="426" h="323">
                <a:moveTo>
                  <a:pt x="417" y="7"/>
                </a:moveTo>
                <a:cubicBezTo>
                  <a:pt x="412" y="2"/>
                  <a:pt x="405" y="0"/>
                  <a:pt x="397" y="0"/>
                </a:cubicBezTo>
                <a:cubicBezTo>
                  <a:pt x="143" y="0"/>
                  <a:pt x="143" y="0"/>
                  <a:pt x="143" y="0"/>
                </a:cubicBezTo>
                <a:cubicBezTo>
                  <a:pt x="127" y="0"/>
                  <a:pt x="114" y="12"/>
                  <a:pt x="114" y="28"/>
                </a:cubicBezTo>
                <a:cubicBezTo>
                  <a:pt x="114" y="158"/>
                  <a:pt x="114" y="158"/>
                  <a:pt x="114" y="158"/>
                </a:cubicBezTo>
                <a:cubicBezTo>
                  <a:pt x="114" y="165"/>
                  <a:pt x="120" y="171"/>
                  <a:pt x="128" y="171"/>
                </a:cubicBezTo>
                <a:cubicBezTo>
                  <a:pt x="128" y="171"/>
                  <a:pt x="202" y="171"/>
                  <a:pt x="202" y="171"/>
                </a:cubicBezTo>
                <a:cubicBezTo>
                  <a:pt x="203" y="172"/>
                  <a:pt x="204" y="173"/>
                  <a:pt x="204" y="176"/>
                </a:cubicBezTo>
                <a:cubicBezTo>
                  <a:pt x="204" y="292"/>
                  <a:pt x="204" y="292"/>
                  <a:pt x="204" y="292"/>
                </a:cubicBezTo>
                <a:cubicBezTo>
                  <a:pt x="204" y="295"/>
                  <a:pt x="203" y="296"/>
                  <a:pt x="202" y="296"/>
                </a:cubicBezTo>
                <a:cubicBezTo>
                  <a:pt x="202" y="296"/>
                  <a:pt x="29" y="296"/>
                  <a:pt x="29" y="296"/>
                </a:cubicBezTo>
                <a:cubicBezTo>
                  <a:pt x="28" y="296"/>
                  <a:pt x="27" y="295"/>
                  <a:pt x="27" y="292"/>
                </a:cubicBezTo>
                <a:cubicBezTo>
                  <a:pt x="27" y="176"/>
                  <a:pt x="27" y="176"/>
                  <a:pt x="27" y="176"/>
                </a:cubicBezTo>
                <a:cubicBezTo>
                  <a:pt x="27" y="173"/>
                  <a:pt x="28" y="172"/>
                  <a:pt x="29" y="171"/>
                </a:cubicBezTo>
                <a:cubicBezTo>
                  <a:pt x="29" y="171"/>
                  <a:pt x="77" y="171"/>
                  <a:pt x="77" y="171"/>
                </a:cubicBezTo>
                <a:cubicBezTo>
                  <a:pt x="84" y="171"/>
                  <a:pt x="90" y="165"/>
                  <a:pt x="90" y="158"/>
                </a:cubicBezTo>
                <a:cubicBezTo>
                  <a:pt x="90" y="151"/>
                  <a:pt x="84" y="145"/>
                  <a:pt x="77" y="145"/>
                </a:cubicBezTo>
                <a:cubicBezTo>
                  <a:pt x="28" y="145"/>
                  <a:pt x="28" y="145"/>
                  <a:pt x="28" y="145"/>
                </a:cubicBezTo>
                <a:cubicBezTo>
                  <a:pt x="13" y="145"/>
                  <a:pt x="0" y="159"/>
                  <a:pt x="0" y="176"/>
                </a:cubicBezTo>
                <a:cubicBezTo>
                  <a:pt x="0" y="292"/>
                  <a:pt x="0" y="292"/>
                  <a:pt x="0" y="292"/>
                </a:cubicBezTo>
                <a:cubicBezTo>
                  <a:pt x="0" y="309"/>
                  <a:pt x="13" y="323"/>
                  <a:pt x="28" y="323"/>
                </a:cubicBezTo>
                <a:cubicBezTo>
                  <a:pt x="203" y="323"/>
                  <a:pt x="203" y="323"/>
                  <a:pt x="203" y="323"/>
                </a:cubicBezTo>
                <a:cubicBezTo>
                  <a:pt x="218" y="323"/>
                  <a:pt x="231" y="309"/>
                  <a:pt x="231" y="292"/>
                </a:cubicBezTo>
                <a:cubicBezTo>
                  <a:pt x="231" y="176"/>
                  <a:pt x="231" y="176"/>
                  <a:pt x="231" y="176"/>
                </a:cubicBezTo>
                <a:cubicBezTo>
                  <a:pt x="231" y="159"/>
                  <a:pt x="218" y="145"/>
                  <a:pt x="203" y="145"/>
                </a:cubicBezTo>
                <a:cubicBezTo>
                  <a:pt x="203" y="145"/>
                  <a:pt x="159" y="145"/>
                  <a:pt x="141" y="145"/>
                </a:cubicBezTo>
                <a:cubicBezTo>
                  <a:pt x="141" y="123"/>
                  <a:pt x="141" y="28"/>
                  <a:pt x="141" y="28"/>
                </a:cubicBezTo>
                <a:cubicBezTo>
                  <a:pt x="141" y="27"/>
                  <a:pt x="142" y="26"/>
                  <a:pt x="143" y="26"/>
                </a:cubicBezTo>
                <a:cubicBezTo>
                  <a:pt x="397" y="26"/>
                  <a:pt x="397" y="26"/>
                  <a:pt x="397" y="26"/>
                </a:cubicBezTo>
                <a:cubicBezTo>
                  <a:pt x="399" y="26"/>
                  <a:pt x="400" y="27"/>
                  <a:pt x="400" y="28"/>
                </a:cubicBezTo>
                <a:cubicBezTo>
                  <a:pt x="400" y="223"/>
                  <a:pt x="400" y="223"/>
                  <a:pt x="400" y="223"/>
                </a:cubicBezTo>
                <a:cubicBezTo>
                  <a:pt x="400" y="223"/>
                  <a:pt x="399" y="224"/>
                  <a:pt x="397" y="224"/>
                </a:cubicBezTo>
                <a:cubicBezTo>
                  <a:pt x="292" y="224"/>
                  <a:pt x="292" y="224"/>
                  <a:pt x="292" y="224"/>
                </a:cubicBezTo>
                <a:cubicBezTo>
                  <a:pt x="304" y="212"/>
                  <a:pt x="304" y="212"/>
                  <a:pt x="304" y="212"/>
                </a:cubicBezTo>
                <a:cubicBezTo>
                  <a:pt x="309" y="207"/>
                  <a:pt x="309" y="199"/>
                  <a:pt x="304" y="195"/>
                </a:cubicBezTo>
                <a:cubicBezTo>
                  <a:pt x="300" y="190"/>
                  <a:pt x="292" y="190"/>
                  <a:pt x="287" y="195"/>
                </a:cubicBezTo>
                <a:cubicBezTo>
                  <a:pt x="252" y="230"/>
                  <a:pt x="252" y="230"/>
                  <a:pt x="252" y="230"/>
                </a:cubicBezTo>
                <a:cubicBezTo>
                  <a:pt x="247" y="235"/>
                  <a:pt x="247" y="243"/>
                  <a:pt x="252" y="247"/>
                </a:cubicBezTo>
                <a:cubicBezTo>
                  <a:pt x="287" y="283"/>
                  <a:pt x="287" y="283"/>
                  <a:pt x="287" y="283"/>
                </a:cubicBezTo>
                <a:cubicBezTo>
                  <a:pt x="292" y="288"/>
                  <a:pt x="300" y="288"/>
                  <a:pt x="304" y="283"/>
                </a:cubicBezTo>
                <a:cubicBezTo>
                  <a:pt x="309" y="278"/>
                  <a:pt x="309" y="270"/>
                  <a:pt x="304" y="266"/>
                </a:cubicBezTo>
                <a:cubicBezTo>
                  <a:pt x="290" y="252"/>
                  <a:pt x="290" y="252"/>
                  <a:pt x="290" y="252"/>
                </a:cubicBezTo>
                <a:cubicBezTo>
                  <a:pt x="290" y="251"/>
                  <a:pt x="290" y="251"/>
                  <a:pt x="290" y="251"/>
                </a:cubicBezTo>
                <a:cubicBezTo>
                  <a:pt x="397" y="251"/>
                  <a:pt x="397" y="251"/>
                  <a:pt x="397" y="251"/>
                </a:cubicBezTo>
                <a:cubicBezTo>
                  <a:pt x="413" y="251"/>
                  <a:pt x="426" y="238"/>
                  <a:pt x="426" y="223"/>
                </a:cubicBezTo>
                <a:cubicBezTo>
                  <a:pt x="426" y="28"/>
                  <a:pt x="426" y="28"/>
                  <a:pt x="426" y="28"/>
                </a:cubicBezTo>
                <a:cubicBezTo>
                  <a:pt x="426" y="20"/>
                  <a:pt x="423" y="13"/>
                  <a:pt x="417" y="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2" name="Freeform 648"/>
          <p:cNvSpPr>
            <a:spLocks/>
          </p:cNvSpPr>
          <p:nvPr userDrawn="1"/>
        </p:nvSpPr>
        <p:spPr bwMode="auto">
          <a:xfrm>
            <a:off x="10011569" y="1263258"/>
            <a:ext cx="306388" cy="317500"/>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3" name="Freeform 652"/>
          <p:cNvSpPr>
            <a:spLocks/>
          </p:cNvSpPr>
          <p:nvPr userDrawn="1"/>
        </p:nvSpPr>
        <p:spPr bwMode="auto">
          <a:xfrm>
            <a:off x="9954418" y="1888239"/>
            <a:ext cx="420688" cy="231775"/>
          </a:xfrm>
          <a:custGeom>
            <a:avLst/>
            <a:gdLst/>
            <a:ahLst/>
            <a:cxnLst>
              <a:cxn ang="0">
                <a:pos x="46" y="10"/>
              </a:cxn>
              <a:cxn ang="0">
                <a:pos x="0" y="96"/>
              </a:cxn>
              <a:cxn ang="0">
                <a:pos x="29" y="171"/>
              </a:cxn>
              <a:cxn ang="0">
                <a:pos x="39" y="176"/>
              </a:cxn>
              <a:cxn ang="0">
                <a:pos x="49" y="176"/>
              </a:cxn>
              <a:cxn ang="0">
                <a:pos x="87" y="204"/>
              </a:cxn>
              <a:cxn ang="0">
                <a:pos x="127" y="164"/>
              </a:cxn>
              <a:cxn ang="0">
                <a:pos x="127" y="148"/>
              </a:cxn>
              <a:cxn ang="0">
                <a:pos x="115" y="136"/>
              </a:cxn>
              <a:cxn ang="0">
                <a:pos x="103" y="148"/>
              </a:cxn>
              <a:cxn ang="0">
                <a:pos x="103" y="165"/>
              </a:cxn>
              <a:cxn ang="0">
                <a:pos x="87" y="181"/>
              </a:cxn>
              <a:cxn ang="0">
                <a:pos x="71" y="164"/>
              </a:cxn>
              <a:cxn ang="0">
                <a:pos x="67" y="156"/>
              </a:cxn>
              <a:cxn ang="0">
                <a:pos x="59" y="153"/>
              </a:cxn>
              <a:cxn ang="0">
                <a:pos x="46" y="153"/>
              </a:cxn>
              <a:cxn ang="0">
                <a:pos x="24" y="96"/>
              </a:cxn>
              <a:cxn ang="0">
                <a:pos x="57" y="32"/>
              </a:cxn>
              <a:cxn ang="0">
                <a:pos x="224" y="32"/>
              </a:cxn>
              <a:cxn ang="0">
                <a:pos x="281" y="88"/>
              </a:cxn>
              <a:cxn ang="0">
                <a:pos x="284" y="90"/>
              </a:cxn>
              <a:cxn ang="0">
                <a:pos x="307" y="98"/>
              </a:cxn>
              <a:cxn ang="0">
                <a:pos x="341" y="110"/>
              </a:cxn>
              <a:cxn ang="0">
                <a:pos x="351" y="128"/>
              </a:cxn>
              <a:cxn ang="0">
                <a:pos x="350" y="131"/>
              </a:cxn>
              <a:cxn ang="0">
                <a:pos x="335" y="134"/>
              </a:cxn>
              <a:cxn ang="0">
                <a:pos x="332" y="134"/>
              </a:cxn>
              <a:cxn ang="0">
                <a:pos x="307" y="134"/>
              </a:cxn>
              <a:cxn ang="0">
                <a:pos x="296" y="142"/>
              </a:cxn>
              <a:cxn ang="0">
                <a:pos x="299" y="155"/>
              </a:cxn>
              <a:cxn ang="0">
                <a:pos x="304" y="166"/>
              </a:cxn>
              <a:cxn ang="0">
                <a:pos x="288" y="182"/>
              </a:cxn>
              <a:cxn ang="0">
                <a:pos x="272" y="166"/>
              </a:cxn>
              <a:cxn ang="0">
                <a:pos x="275" y="156"/>
              </a:cxn>
              <a:cxn ang="0">
                <a:pos x="277" y="143"/>
              </a:cxn>
              <a:cxn ang="0">
                <a:pos x="266" y="136"/>
              </a:cxn>
              <a:cxn ang="0">
                <a:pos x="156" y="136"/>
              </a:cxn>
              <a:cxn ang="0">
                <a:pos x="144" y="148"/>
              </a:cxn>
              <a:cxn ang="0">
                <a:pos x="156" y="160"/>
              </a:cxn>
              <a:cxn ang="0">
                <a:pos x="248" y="160"/>
              </a:cxn>
              <a:cxn ang="0">
                <a:pos x="248" y="166"/>
              </a:cxn>
              <a:cxn ang="0">
                <a:pos x="288" y="206"/>
              </a:cxn>
              <a:cxn ang="0">
                <a:pos x="328" y="166"/>
              </a:cxn>
              <a:cxn ang="0">
                <a:pos x="327" y="158"/>
              </a:cxn>
              <a:cxn ang="0">
                <a:pos x="332" y="158"/>
              </a:cxn>
              <a:cxn ang="0">
                <a:pos x="334" y="158"/>
              </a:cxn>
              <a:cxn ang="0">
                <a:pos x="373" y="139"/>
              </a:cxn>
              <a:cxn ang="0">
                <a:pos x="375" y="128"/>
              </a:cxn>
              <a:cxn ang="0">
                <a:pos x="352" y="89"/>
              </a:cxn>
              <a:cxn ang="0">
                <a:pos x="314" y="75"/>
              </a:cxn>
              <a:cxn ang="0">
                <a:pos x="296" y="70"/>
              </a:cxn>
              <a:cxn ang="0">
                <a:pos x="235" y="11"/>
              </a:cxn>
              <a:cxn ang="0">
                <a:pos x="46" y="10"/>
              </a:cxn>
            </a:cxnLst>
            <a:rect l="0" t="0" r="r" b="b"/>
            <a:pathLst>
              <a:path w="375" h="206">
                <a:moveTo>
                  <a:pt x="46" y="10"/>
                </a:moveTo>
                <a:cubicBezTo>
                  <a:pt x="28" y="19"/>
                  <a:pt x="0" y="59"/>
                  <a:pt x="0" y="96"/>
                </a:cubicBezTo>
                <a:cubicBezTo>
                  <a:pt x="0" y="126"/>
                  <a:pt x="26" y="166"/>
                  <a:pt x="29" y="171"/>
                </a:cubicBezTo>
                <a:cubicBezTo>
                  <a:pt x="31" y="174"/>
                  <a:pt x="35" y="176"/>
                  <a:pt x="39" y="176"/>
                </a:cubicBezTo>
                <a:cubicBezTo>
                  <a:pt x="39" y="176"/>
                  <a:pt x="44" y="176"/>
                  <a:pt x="49" y="176"/>
                </a:cubicBezTo>
                <a:cubicBezTo>
                  <a:pt x="54" y="193"/>
                  <a:pt x="69" y="204"/>
                  <a:pt x="87" y="204"/>
                </a:cubicBezTo>
                <a:cubicBezTo>
                  <a:pt x="109" y="204"/>
                  <a:pt x="127" y="186"/>
                  <a:pt x="127" y="164"/>
                </a:cubicBezTo>
                <a:cubicBezTo>
                  <a:pt x="127" y="164"/>
                  <a:pt x="127" y="148"/>
                  <a:pt x="127" y="148"/>
                </a:cubicBezTo>
                <a:cubicBezTo>
                  <a:pt x="126" y="141"/>
                  <a:pt x="121" y="136"/>
                  <a:pt x="115" y="136"/>
                </a:cubicBezTo>
                <a:cubicBezTo>
                  <a:pt x="108" y="136"/>
                  <a:pt x="103" y="141"/>
                  <a:pt x="103" y="148"/>
                </a:cubicBezTo>
                <a:cubicBezTo>
                  <a:pt x="103" y="165"/>
                  <a:pt x="103" y="165"/>
                  <a:pt x="103" y="165"/>
                </a:cubicBezTo>
                <a:cubicBezTo>
                  <a:pt x="103" y="173"/>
                  <a:pt x="96" y="181"/>
                  <a:pt x="87" y="181"/>
                </a:cubicBezTo>
                <a:cubicBezTo>
                  <a:pt x="78" y="181"/>
                  <a:pt x="71" y="173"/>
                  <a:pt x="71" y="164"/>
                </a:cubicBezTo>
                <a:cubicBezTo>
                  <a:pt x="71" y="161"/>
                  <a:pt x="69" y="158"/>
                  <a:pt x="67" y="156"/>
                </a:cubicBezTo>
                <a:cubicBezTo>
                  <a:pt x="65" y="154"/>
                  <a:pt x="62" y="153"/>
                  <a:pt x="59" y="153"/>
                </a:cubicBezTo>
                <a:cubicBezTo>
                  <a:pt x="59" y="153"/>
                  <a:pt x="51" y="153"/>
                  <a:pt x="46" y="153"/>
                </a:cubicBezTo>
                <a:cubicBezTo>
                  <a:pt x="37" y="139"/>
                  <a:pt x="24" y="113"/>
                  <a:pt x="24" y="96"/>
                </a:cubicBezTo>
                <a:cubicBezTo>
                  <a:pt x="24" y="67"/>
                  <a:pt x="47" y="36"/>
                  <a:pt x="57" y="32"/>
                </a:cubicBezTo>
                <a:cubicBezTo>
                  <a:pt x="71" y="25"/>
                  <a:pt x="207" y="25"/>
                  <a:pt x="224" y="32"/>
                </a:cubicBezTo>
                <a:cubicBezTo>
                  <a:pt x="230" y="36"/>
                  <a:pt x="258" y="64"/>
                  <a:pt x="281" y="88"/>
                </a:cubicBezTo>
                <a:cubicBezTo>
                  <a:pt x="282" y="89"/>
                  <a:pt x="283" y="89"/>
                  <a:pt x="284" y="90"/>
                </a:cubicBezTo>
                <a:cubicBezTo>
                  <a:pt x="288" y="92"/>
                  <a:pt x="296" y="95"/>
                  <a:pt x="307" y="98"/>
                </a:cubicBezTo>
                <a:cubicBezTo>
                  <a:pt x="319" y="101"/>
                  <a:pt x="334" y="106"/>
                  <a:pt x="341" y="110"/>
                </a:cubicBezTo>
                <a:cubicBezTo>
                  <a:pt x="345" y="112"/>
                  <a:pt x="351" y="121"/>
                  <a:pt x="351" y="128"/>
                </a:cubicBezTo>
                <a:cubicBezTo>
                  <a:pt x="351" y="129"/>
                  <a:pt x="351" y="130"/>
                  <a:pt x="350" y="131"/>
                </a:cubicBezTo>
                <a:cubicBezTo>
                  <a:pt x="349" y="134"/>
                  <a:pt x="342" y="134"/>
                  <a:pt x="335" y="134"/>
                </a:cubicBezTo>
                <a:cubicBezTo>
                  <a:pt x="332" y="134"/>
                  <a:pt x="332" y="134"/>
                  <a:pt x="332" y="134"/>
                </a:cubicBezTo>
                <a:cubicBezTo>
                  <a:pt x="307" y="134"/>
                  <a:pt x="307" y="134"/>
                  <a:pt x="307" y="134"/>
                </a:cubicBezTo>
                <a:cubicBezTo>
                  <a:pt x="303" y="134"/>
                  <a:pt x="298" y="137"/>
                  <a:pt x="296" y="142"/>
                </a:cubicBezTo>
                <a:cubicBezTo>
                  <a:pt x="295" y="146"/>
                  <a:pt x="296" y="151"/>
                  <a:pt x="299" y="155"/>
                </a:cubicBezTo>
                <a:cubicBezTo>
                  <a:pt x="302" y="158"/>
                  <a:pt x="304" y="162"/>
                  <a:pt x="304" y="166"/>
                </a:cubicBezTo>
                <a:cubicBezTo>
                  <a:pt x="304" y="175"/>
                  <a:pt x="297" y="182"/>
                  <a:pt x="288" y="182"/>
                </a:cubicBezTo>
                <a:cubicBezTo>
                  <a:pt x="279" y="182"/>
                  <a:pt x="272" y="175"/>
                  <a:pt x="272" y="166"/>
                </a:cubicBezTo>
                <a:cubicBezTo>
                  <a:pt x="272" y="161"/>
                  <a:pt x="274" y="158"/>
                  <a:pt x="275" y="156"/>
                </a:cubicBezTo>
                <a:cubicBezTo>
                  <a:pt x="278" y="152"/>
                  <a:pt x="279" y="147"/>
                  <a:pt x="277" y="143"/>
                </a:cubicBezTo>
                <a:cubicBezTo>
                  <a:pt x="275" y="139"/>
                  <a:pt x="271" y="136"/>
                  <a:pt x="266" y="136"/>
                </a:cubicBezTo>
                <a:cubicBezTo>
                  <a:pt x="156" y="136"/>
                  <a:pt x="156" y="136"/>
                  <a:pt x="156" y="136"/>
                </a:cubicBezTo>
                <a:cubicBezTo>
                  <a:pt x="149" y="136"/>
                  <a:pt x="144" y="142"/>
                  <a:pt x="144" y="148"/>
                </a:cubicBezTo>
                <a:cubicBezTo>
                  <a:pt x="144" y="155"/>
                  <a:pt x="149" y="160"/>
                  <a:pt x="156" y="160"/>
                </a:cubicBezTo>
                <a:cubicBezTo>
                  <a:pt x="156" y="160"/>
                  <a:pt x="223" y="160"/>
                  <a:pt x="248" y="160"/>
                </a:cubicBezTo>
                <a:cubicBezTo>
                  <a:pt x="248" y="162"/>
                  <a:pt x="248" y="164"/>
                  <a:pt x="248" y="166"/>
                </a:cubicBezTo>
                <a:cubicBezTo>
                  <a:pt x="248" y="188"/>
                  <a:pt x="266" y="206"/>
                  <a:pt x="288" y="206"/>
                </a:cubicBezTo>
                <a:cubicBezTo>
                  <a:pt x="310" y="206"/>
                  <a:pt x="328" y="188"/>
                  <a:pt x="328" y="166"/>
                </a:cubicBezTo>
                <a:cubicBezTo>
                  <a:pt x="328" y="163"/>
                  <a:pt x="328" y="161"/>
                  <a:pt x="327" y="158"/>
                </a:cubicBezTo>
                <a:cubicBezTo>
                  <a:pt x="329" y="158"/>
                  <a:pt x="332" y="158"/>
                  <a:pt x="332" y="158"/>
                </a:cubicBezTo>
                <a:cubicBezTo>
                  <a:pt x="334" y="158"/>
                  <a:pt x="334" y="158"/>
                  <a:pt x="334" y="158"/>
                </a:cubicBezTo>
                <a:cubicBezTo>
                  <a:pt x="344" y="158"/>
                  <a:pt x="365" y="158"/>
                  <a:pt x="373" y="139"/>
                </a:cubicBezTo>
                <a:cubicBezTo>
                  <a:pt x="374" y="135"/>
                  <a:pt x="375" y="131"/>
                  <a:pt x="375" y="128"/>
                </a:cubicBezTo>
                <a:cubicBezTo>
                  <a:pt x="375" y="111"/>
                  <a:pt x="363" y="95"/>
                  <a:pt x="352" y="89"/>
                </a:cubicBezTo>
                <a:cubicBezTo>
                  <a:pt x="343" y="84"/>
                  <a:pt x="328" y="79"/>
                  <a:pt x="314" y="75"/>
                </a:cubicBezTo>
                <a:cubicBezTo>
                  <a:pt x="308" y="73"/>
                  <a:pt x="300" y="71"/>
                  <a:pt x="296" y="70"/>
                </a:cubicBezTo>
                <a:cubicBezTo>
                  <a:pt x="277" y="49"/>
                  <a:pt x="244" y="15"/>
                  <a:pt x="235" y="11"/>
                </a:cubicBezTo>
                <a:cubicBezTo>
                  <a:pt x="214" y="0"/>
                  <a:pt x="68" y="0"/>
                  <a:pt x="46" y="10"/>
                </a:cubicBezTo>
                <a:close/>
              </a:path>
            </a:pathLst>
          </a:custGeom>
          <a:solidFill>
            <a:schemeClr val="bg1"/>
          </a:solidFill>
          <a:ln w="1588" cap="flat">
            <a:noFill/>
            <a:prstDash val="solid"/>
            <a:miter lim="800000"/>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4" name="Freeform 525"/>
          <p:cNvSpPr>
            <a:spLocks/>
          </p:cNvSpPr>
          <p:nvPr userDrawn="1"/>
        </p:nvSpPr>
        <p:spPr bwMode="auto">
          <a:xfrm>
            <a:off x="10561591" y="2500541"/>
            <a:ext cx="369888" cy="282575"/>
          </a:xfrm>
          <a:custGeom>
            <a:avLst/>
            <a:gdLst/>
            <a:ahLst/>
            <a:cxnLst>
              <a:cxn ang="0">
                <a:pos x="314" y="224"/>
              </a:cxn>
              <a:cxn ang="0">
                <a:pos x="25" y="224"/>
              </a:cxn>
              <a:cxn ang="0">
                <a:pos x="25" y="98"/>
              </a:cxn>
              <a:cxn ang="0">
                <a:pos x="60" y="133"/>
              </a:cxn>
              <a:cxn ang="0">
                <a:pos x="77" y="133"/>
              </a:cxn>
              <a:cxn ang="0">
                <a:pos x="116" y="94"/>
              </a:cxn>
              <a:cxn ang="0">
                <a:pos x="144" y="121"/>
              </a:cxn>
              <a:cxn ang="0">
                <a:pos x="152" y="125"/>
              </a:cxn>
              <a:cxn ang="0">
                <a:pos x="161" y="121"/>
              </a:cxn>
              <a:cxn ang="0">
                <a:pos x="241" y="41"/>
              </a:cxn>
              <a:cxn ang="0">
                <a:pos x="241" y="63"/>
              </a:cxn>
              <a:cxn ang="0">
                <a:pos x="253" y="75"/>
              </a:cxn>
              <a:cxn ang="0">
                <a:pos x="266" y="63"/>
              </a:cxn>
              <a:cxn ang="0">
                <a:pos x="266" y="12"/>
              </a:cxn>
              <a:cxn ang="0">
                <a:pos x="253" y="0"/>
              </a:cxn>
              <a:cxn ang="0">
                <a:pos x="203" y="0"/>
              </a:cxn>
              <a:cxn ang="0">
                <a:pos x="191" y="12"/>
              </a:cxn>
              <a:cxn ang="0">
                <a:pos x="203" y="25"/>
              </a:cxn>
              <a:cxn ang="0">
                <a:pos x="223" y="25"/>
              </a:cxn>
              <a:cxn ang="0">
                <a:pos x="152" y="95"/>
              </a:cxn>
              <a:cxn ang="0">
                <a:pos x="125" y="68"/>
              </a:cxn>
              <a:cxn ang="0">
                <a:pos x="116" y="64"/>
              </a:cxn>
              <a:cxn ang="0">
                <a:pos x="108" y="68"/>
              </a:cxn>
              <a:cxn ang="0">
                <a:pos x="68" y="107"/>
              </a:cxn>
              <a:cxn ang="0">
                <a:pos x="21" y="60"/>
              </a:cxn>
              <a:cxn ang="0">
                <a:pos x="8" y="57"/>
              </a:cxn>
              <a:cxn ang="0">
                <a:pos x="0" y="68"/>
              </a:cxn>
              <a:cxn ang="0">
                <a:pos x="0" y="236"/>
              </a:cxn>
              <a:cxn ang="0">
                <a:pos x="12" y="249"/>
              </a:cxn>
              <a:cxn ang="0">
                <a:pos x="314" y="249"/>
              </a:cxn>
              <a:cxn ang="0">
                <a:pos x="327" y="236"/>
              </a:cxn>
              <a:cxn ang="0">
                <a:pos x="314" y="224"/>
              </a:cxn>
            </a:cxnLst>
            <a:rect l="0" t="0" r="r" b="b"/>
            <a:pathLst>
              <a:path w="327" h="249">
                <a:moveTo>
                  <a:pt x="314" y="224"/>
                </a:moveTo>
                <a:cubicBezTo>
                  <a:pt x="314" y="224"/>
                  <a:pt x="47" y="224"/>
                  <a:pt x="25" y="224"/>
                </a:cubicBezTo>
                <a:cubicBezTo>
                  <a:pt x="25" y="98"/>
                  <a:pt x="25" y="98"/>
                  <a:pt x="25" y="98"/>
                </a:cubicBezTo>
                <a:cubicBezTo>
                  <a:pt x="41" y="114"/>
                  <a:pt x="60" y="133"/>
                  <a:pt x="60" y="133"/>
                </a:cubicBezTo>
                <a:cubicBezTo>
                  <a:pt x="65" y="138"/>
                  <a:pt x="72" y="138"/>
                  <a:pt x="77" y="133"/>
                </a:cubicBezTo>
                <a:cubicBezTo>
                  <a:pt x="77" y="133"/>
                  <a:pt x="105" y="105"/>
                  <a:pt x="116" y="94"/>
                </a:cubicBezTo>
                <a:cubicBezTo>
                  <a:pt x="126" y="104"/>
                  <a:pt x="144" y="121"/>
                  <a:pt x="144" y="121"/>
                </a:cubicBezTo>
                <a:cubicBezTo>
                  <a:pt x="146" y="123"/>
                  <a:pt x="149" y="125"/>
                  <a:pt x="152" y="125"/>
                </a:cubicBezTo>
                <a:cubicBezTo>
                  <a:pt x="156" y="125"/>
                  <a:pt x="159" y="123"/>
                  <a:pt x="161" y="121"/>
                </a:cubicBezTo>
                <a:cubicBezTo>
                  <a:pt x="241" y="41"/>
                  <a:pt x="241" y="41"/>
                  <a:pt x="241" y="41"/>
                </a:cubicBezTo>
                <a:cubicBezTo>
                  <a:pt x="241" y="52"/>
                  <a:pt x="241" y="63"/>
                  <a:pt x="241" y="63"/>
                </a:cubicBezTo>
                <a:cubicBezTo>
                  <a:pt x="241" y="70"/>
                  <a:pt x="247" y="75"/>
                  <a:pt x="253" y="75"/>
                </a:cubicBezTo>
                <a:cubicBezTo>
                  <a:pt x="260" y="75"/>
                  <a:pt x="266" y="70"/>
                  <a:pt x="266" y="63"/>
                </a:cubicBezTo>
                <a:cubicBezTo>
                  <a:pt x="266" y="12"/>
                  <a:pt x="266" y="12"/>
                  <a:pt x="266" y="12"/>
                </a:cubicBezTo>
                <a:cubicBezTo>
                  <a:pt x="266" y="6"/>
                  <a:pt x="260" y="0"/>
                  <a:pt x="253" y="0"/>
                </a:cubicBezTo>
                <a:cubicBezTo>
                  <a:pt x="203" y="0"/>
                  <a:pt x="203" y="0"/>
                  <a:pt x="203" y="0"/>
                </a:cubicBezTo>
                <a:cubicBezTo>
                  <a:pt x="196" y="0"/>
                  <a:pt x="191" y="6"/>
                  <a:pt x="191" y="12"/>
                </a:cubicBezTo>
                <a:cubicBezTo>
                  <a:pt x="191" y="19"/>
                  <a:pt x="196" y="25"/>
                  <a:pt x="203" y="25"/>
                </a:cubicBezTo>
                <a:cubicBezTo>
                  <a:pt x="203" y="25"/>
                  <a:pt x="212" y="25"/>
                  <a:pt x="223" y="25"/>
                </a:cubicBezTo>
                <a:cubicBezTo>
                  <a:pt x="214" y="33"/>
                  <a:pt x="165" y="82"/>
                  <a:pt x="152" y="95"/>
                </a:cubicBezTo>
                <a:cubicBezTo>
                  <a:pt x="142" y="85"/>
                  <a:pt x="125" y="68"/>
                  <a:pt x="125" y="68"/>
                </a:cubicBezTo>
                <a:cubicBezTo>
                  <a:pt x="123" y="65"/>
                  <a:pt x="120" y="64"/>
                  <a:pt x="116" y="64"/>
                </a:cubicBezTo>
                <a:cubicBezTo>
                  <a:pt x="113" y="64"/>
                  <a:pt x="110" y="65"/>
                  <a:pt x="108" y="68"/>
                </a:cubicBezTo>
                <a:cubicBezTo>
                  <a:pt x="108" y="68"/>
                  <a:pt x="80" y="95"/>
                  <a:pt x="68" y="107"/>
                </a:cubicBezTo>
                <a:cubicBezTo>
                  <a:pt x="56" y="95"/>
                  <a:pt x="21" y="60"/>
                  <a:pt x="21" y="60"/>
                </a:cubicBezTo>
                <a:cubicBezTo>
                  <a:pt x="17" y="56"/>
                  <a:pt x="12" y="55"/>
                  <a:pt x="8" y="57"/>
                </a:cubicBezTo>
                <a:cubicBezTo>
                  <a:pt x="3" y="59"/>
                  <a:pt x="0" y="63"/>
                  <a:pt x="0" y="68"/>
                </a:cubicBezTo>
                <a:cubicBezTo>
                  <a:pt x="0" y="236"/>
                  <a:pt x="0" y="236"/>
                  <a:pt x="0" y="236"/>
                </a:cubicBezTo>
                <a:cubicBezTo>
                  <a:pt x="0" y="243"/>
                  <a:pt x="5" y="249"/>
                  <a:pt x="12" y="249"/>
                </a:cubicBezTo>
                <a:cubicBezTo>
                  <a:pt x="314" y="249"/>
                  <a:pt x="314" y="249"/>
                  <a:pt x="314" y="249"/>
                </a:cubicBezTo>
                <a:cubicBezTo>
                  <a:pt x="321" y="249"/>
                  <a:pt x="327" y="243"/>
                  <a:pt x="327" y="236"/>
                </a:cubicBezTo>
                <a:cubicBezTo>
                  <a:pt x="327" y="230"/>
                  <a:pt x="321" y="224"/>
                  <a:pt x="314" y="22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5" name="Freeform 576"/>
          <p:cNvSpPr>
            <a:spLocks noEditPoints="1"/>
          </p:cNvSpPr>
          <p:nvPr userDrawn="1"/>
        </p:nvSpPr>
        <p:spPr bwMode="auto">
          <a:xfrm>
            <a:off x="10502065" y="4473076"/>
            <a:ext cx="488951" cy="376237"/>
          </a:xfrm>
          <a:custGeom>
            <a:avLst/>
            <a:gdLst/>
            <a:ahLst/>
            <a:cxnLst>
              <a:cxn ang="0">
                <a:pos x="223" y="107"/>
              </a:cxn>
              <a:cxn ang="0">
                <a:pos x="387" y="290"/>
              </a:cxn>
              <a:cxn ang="0">
                <a:pos x="237" y="290"/>
              </a:cxn>
              <a:cxn ang="0">
                <a:pos x="283" y="267"/>
              </a:cxn>
              <a:cxn ang="0">
                <a:pos x="285" y="266"/>
              </a:cxn>
              <a:cxn ang="0">
                <a:pos x="287" y="263"/>
              </a:cxn>
              <a:cxn ang="0">
                <a:pos x="291" y="259"/>
              </a:cxn>
              <a:cxn ang="0">
                <a:pos x="295" y="255"/>
              </a:cxn>
              <a:cxn ang="0">
                <a:pos x="299" y="250"/>
              </a:cxn>
              <a:cxn ang="0">
                <a:pos x="303" y="244"/>
              </a:cxn>
              <a:cxn ang="0">
                <a:pos x="309" y="229"/>
              </a:cxn>
              <a:cxn ang="0">
                <a:pos x="303" y="195"/>
              </a:cxn>
              <a:cxn ang="0">
                <a:pos x="278" y="167"/>
              </a:cxn>
              <a:cxn ang="0">
                <a:pos x="195" y="136"/>
              </a:cxn>
              <a:cxn ang="0">
                <a:pos x="172" y="107"/>
              </a:cxn>
              <a:cxn ang="0">
                <a:pos x="201" y="114"/>
              </a:cxn>
              <a:cxn ang="0">
                <a:pos x="204" y="114"/>
              </a:cxn>
              <a:cxn ang="0">
                <a:pos x="209" y="112"/>
              </a:cxn>
              <a:cxn ang="0">
                <a:pos x="211" y="110"/>
              </a:cxn>
              <a:cxn ang="0">
                <a:pos x="214" y="105"/>
              </a:cxn>
              <a:cxn ang="0">
                <a:pos x="214" y="102"/>
              </a:cxn>
              <a:cxn ang="0">
                <a:pos x="214" y="98"/>
              </a:cxn>
              <a:cxn ang="0">
                <a:pos x="149" y="36"/>
              </a:cxn>
              <a:cxn ang="0">
                <a:pos x="150" y="194"/>
              </a:cxn>
              <a:cxn ang="0">
                <a:pos x="27" y="196"/>
              </a:cxn>
              <a:cxn ang="0">
                <a:pos x="168" y="16"/>
              </a:cxn>
              <a:cxn ang="0">
                <a:pos x="0" y="29"/>
              </a:cxn>
              <a:cxn ang="0">
                <a:pos x="55" y="232"/>
              </a:cxn>
              <a:cxn ang="0">
                <a:pos x="179" y="175"/>
              </a:cxn>
              <a:cxn ang="0">
                <a:pos x="178" y="171"/>
              </a:cxn>
              <a:cxn ang="0">
                <a:pos x="175" y="167"/>
              </a:cxn>
              <a:cxn ang="0">
                <a:pos x="173" y="165"/>
              </a:cxn>
              <a:cxn ang="0">
                <a:pos x="169" y="163"/>
              </a:cxn>
              <a:cxn ang="0">
                <a:pos x="163" y="163"/>
              </a:cxn>
              <a:cxn ang="0">
                <a:pos x="102" y="115"/>
              </a:cxn>
              <a:cxn ang="0">
                <a:pos x="179" y="81"/>
              </a:cxn>
              <a:cxn ang="0">
                <a:pos x="174" y="80"/>
              </a:cxn>
              <a:cxn ang="0">
                <a:pos x="170" y="80"/>
              </a:cxn>
              <a:cxn ang="0">
                <a:pos x="164" y="80"/>
              </a:cxn>
              <a:cxn ang="0">
                <a:pos x="205" y="191"/>
              </a:cxn>
              <a:cxn ang="0">
                <a:pos x="251" y="325"/>
              </a:cxn>
              <a:cxn ang="0">
                <a:pos x="404" y="310"/>
              </a:cxn>
              <a:cxn ang="0">
                <a:pos x="245" y="181"/>
              </a:cxn>
              <a:cxn ang="0">
                <a:pos x="262" y="189"/>
              </a:cxn>
              <a:cxn ang="0">
                <a:pos x="257" y="196"/>
              </a:cxn>
              <a:cxn ang="0">
                <a:pos x="253" y="203"/>
              </a:cxn>
              <a:cxn ang="0">
                <a:pos x="252" y="207"/>
              </a:cxn>
              <a:cxn ang="0">
                <a:pos x="251" y="213"/>
              </a:cxn>
              <a:cxn ang="0">
                <a:pos x="252" y="216"/>
              </a:cxn>
              <a:cxn ang="0">
                <a:pos x="269" y="233"/>
              </a:cxn>
              <a:cxn ang="0">
                <a:pos x="273" y="240"/>
              </a:cxn>
              <a:cxn ang="0">
                <a:pos x="253" y="247"/>
              </a:cxn>
            </a:cxnLst>
            <a:rect l="0" t="0" r="r" b="b"/>
            <a:pathLst>
              <a:path w="432" h="333">
                <a:moveTo>
                  <a:pt x="424" y="179"/>
                </a:moveTo>
                <a:cubicBezTo>
                  <a:pt x="294" y="116"/>
                  <a:pt x="275" y="108"/>
                  <a:pt x="271" y="107"/>
                </a:cubicBezTo>
                <a:cubicBezTo>
                  <a:pt x="271" y="107"/>
                  <a:pt x="271" y="107"/>
                  <a:pt x="271" y="107"/>
                </a:cubicBezTo>
                <a:cubicBezTo>
                  <a:pt x="239" y="98"/>
                  <a:pt x="239" y="98"/>
                  <a:pt x="239" y="98"/>
                </a:cubicBezTo>
                <a:cubicBezTo>
                  <a:pt x="232" y="96"/>
                  <a:pt x="225" y="100"/>
                  <a:pt x="223" y="107"/>
                </a:cubicBezTo>
                <a:cubicBezTo>
                  <a:pt x="222" y="112"/>
                  <a:pt x="223" y="116"/>
                  <a:pt x="226" y="120"/>
                </a:cubicBezTo>
                <a:cubicBezTo>
                  <a:pt x="228" y="121"/>
                  <a:pt x="230" y="123"/>
                  <a:pt x="232" y="123"/>
                </a:cubicBezTo>
                <a:cubicBezTo>
                  <a:pt x="264" y="132"/>
                  <a:pt x="264" y="132"/>
                  <a:pt x="264" y="132"/>
                </a:cubicBezTo>
                <a:cubicBezTo>
                  <a:pt x="272" y="136"/>
                  <a:pt x="348" y="172"/>
                  <a:pt x="403" y="198"/>
                </a:cubicBezTo>
                <a:cubicBezTo>
                  <a:pt x="387" y="290"/>
                  <a:pt x="387" y="290"/>
                  <a:pt x="387" y="290"/>
                </a:cubicBezTo>
                <a:cubicBezTo>
                  <a:pt x="383" y="292"/>
                  <a:pt x="379" y="295"/>
                  <a:pt x="375" y="297"/>
                </a:cubicBezTo>
                <a:cubicBezTo>
                  <a:pt x="369" y="301"/>
                  <a:pt x="364" y="305"/>
                  <a:pt x="359" y="307"/>
                </a:cubicBezTo>
                <a:cubicBezTo>
                  <a:pt x="252" y="298"/>
                  <a:pt x="252" y="298"/>
                  <a:pt x="252" y="298"/>
                </a:cubicBezTo>
                <a:cubicBezTo>
                  <a:pt x="251" y="298"/>
                  <a:pt x="250" y="298"/>
                  <a:pt x="249" y="298"/>
                </a:cubicBezTo>
                <a:cubicBezTo>
                  <a:pt x="246" y="299"/>
                  <a:pt x="238" y="299"/>
                  <a:pt x="237" y="290"/>
                </a:cubicBezTo>
                <a:cubicBezTo>
                  <a:pt x="236" y="286"/>
                  <a:pt x="237" y="283"/>
                  <a:pt x="238" y="280"/>
                </a:cubicBezTo>
                <a:cubicBezTo>
                  <a:pt x="239" y="278"/>
                  <a:pt x="241" y="276"/>
                  <a:pt x="244" y="275"/>
                </a:cubicBezTo>
                <a:cubicBezTo>
                  <a:pt x="271" y="271"/>
                  <a:pt x="271" y="271"/>
                  <a:pt x="271" y="271"/>
                </a:cubicBezTo>
                <a:cubicBezTo>
                  <a:pt x="277" y="270"/>
                  <a:pt x="277" y="270"/>
                  <a:pt x="277" y="270"/>
                </a:cubicBezTo>
                <a:cubicBezTo>
                  <a:pt x="279" y="269"/>
                  <a:pt x="281" y="269"/>
                  <a:pt x="283" y="267"/>
                </a:cubicBezTo>
                <a:cubicBezTo>
                  <a:pt x="283" y="267"/>
                  <a:pt x="283" y="267"/>
                  <a:pt x="283" y="267"/>
                </a:cubicBezTo>
                <a:cubicBezTo>
                  <a:pt x="283" y="267"/>
                  <a:pt x="283" y="267"/>
                  <a:pt x="283" y="267"/>
                </a:cubicBezTo>
                <a:cubicBezTo>
                  <a:pt x="283" y="267"/>
                  <a:pt x="284" y="266"/>
                  <a:pt x="284" y="266"/>
                </a:cubicBezTo>
                <a:cubicBezTo>
                  <a:pt x="284" y="266"/>
                  <a:pt x="284" y="266"/>
                  <a:pt x="284" y="266"/>
                </a:cubicBezTo>
                <a:cubicBezTo>
                  <a:pt x="284" y="266"/>
                  <a:pt x="284" y="266"/>
                  <a:pt x="285" y="266"/>
                </a:cubicBezTo>
                <a:cubicBezTo>
                  <a:pt x="285" y="266"/>
                  <a:pt x="285" y="265"/>
                  <a:pt x="285" y="265"/>
                </a:cubicBezTo>
                <a:cubicBezTo>
                  <a:pt x="285" y="265"/>
                  <a:pt x="285" y="265"/>
                  <a:pt x="286" y="265"/>
                </a:cubicBezTo>
                <a:cubicBezTo>
                  <a:pt x="286" y="265"/>
                  <a:pt x="286" y="264"/>
                  <a:pt x="286" y="264"/>
                </a:cubicBezTo>
                <a:cubicBezTo>
                  <a:pt x="286" y="264"/>
                  <a:pt x="287" y="264"/>
                  <a:pt x="287" y="264"/>
                </a:cubicBezTo>
                <a:cubicBezTo>
                  <a:pt x="287" y="264"/>
                  <a:pt x="287" y="263"/>
                  <a:pt x="287" y="263"/>
                </a:cubicBezTo>
                <a:cubicBezTo>
                  <a:pt x="288" y="263"/>
                  <a:pt x="288" y="263"/>
                  <a:pt x="288" y="262"/>
                </a:cubicBezTo>
                <a:cubicBezTo>
                  <a:pt x="288" y="262"/>
                  <a:pt x="289" y="262"/>
                  <a:pt x="289" y="262"/>
                </a:cubicBezTo>
                <a:cubicBezTo>
                  <a:pt x="289" y="262"/>
                  <a:pt x="289" y="261"/>
                  <a:pt x="290" y="261"/>
                </a:cubicBezTo>
                <a:cubicBezTo>
                  <a:pt x="290" y="261"/>
                  <a:pt x="290" y="260"/>
                  <a:pt x="290" y="260"/>
                </a:cubicBezTo>
                <a:cubicBezTo>
                  <a:pt x="291" y="260"/>
                  <a:pt x="291" y="260"/>
                  <a:pt x="291" y="259"/>
                </a:cubicBezTo>
                <a:cubicBezTo>
                  <a:pt x="291" y="259"/>
                  <a:pt x="292" y="259"/>
                  <a:pt x="292" y="259"/>
                </a:cubicBezTo>
                <a:cubicBezTo>
                  <a:pt x="292" y="258"/>
                  <a:pt x="293" y="258"/>
                  <a:pt x="293" y="258"/>
                </a:cubicBezTo>
                <a:cubicBezTo>
                  <a:pt x="293" y="257"/>
                  <a:pt x="293" y="257"/>
                  <a:pt x="294" y="257"/>
                </a:cubicBezTo>
                <a:cubicBezTo>
                  <a:pt x="294" y="256"/>
                  <a:pt x="294" y="256"/>
                  <a:pt x="295" y="256"/>
                </a:cubicBezTo>
                <a:cubicBezTo>
                  <a:pt x="295" y="255"/>
                  <a:pt x="295" y="255"/>
                  <a:pt x="295" y="255"/>
                </a:cubicBezTo>
                <a:cubicBezTo>
                  <a:pt x="296" y="254"/>
                  <a:pt x="296" y="254"/>
                  <a:pt x="296" y="254"/>
                </a:cubicBezTo>
                <a:cubicBezTo>
                  <a:pt x="297" y="253"/>
                  <a:pt x="297" y="253"/>
                  <a:pt x="297" y="253"/>
                </a:cubicBezTo>
                <a:cubicBezTo>
                  <a:pt x="297" y="253"/>
                  <a:pt x="297" y="253"/>
                  <a:pt x="297" y="253"/>
                </a:cubicBezTo>
                <a:cubicBezTo>
                  <a:pt x="297" y="252"/>
                  <a:pt x="298" y="252"/>
                  <a:pt x="298" y="251"/>
                </a:cubicBezTo>
                <a:cubicBezTo>
                  <a:pt x="298" y="251"/>
                  <a:pt x="299" y="251"/>
                  <a:pt x="299" y="250"/>
                </a:cubicBezTo>
                <a:cubicBezTo>
                  <a:pt x="299" y="250"/>
                  <a:pt x="300" y="249"/>
                  <a:pt x="300" y="249"/>
                </a:cubicBezTo>
                <a:cubicBezTo>
                  <a:pt x="300" y="249"/>
                  <a:pt x="300" y="248"/>
                  <a:pt x="301" y="248"/>
                </a:cubicBezTo>
                <a:cubicBezTo>
                  <a:pt x="301" y="247"/>
                  <a:pt x="301" y="247"/>
                  <a:pt x="302" y="246"/>
                </a:cubicBezTo>
                <a:cubicBezTo>
                  <a:pt x="302" y="246"/>
                  <a:pt x="302" y="246"/>
                  <a:pt x="302" y="245"/>
                </a:cubicBezTo>
                <a:cubicBezTo>
                  <a:pt x="303" y="245"/>
                  <a:pt x="303" y="244"/>
                  <a:pt x="303" y="244"/>
                </a:cubicBezTo>
                <a:cubicBezTo>
                  <a:pt x="303" y="243"/>
                  <a:pt x="304" y="243"/>
                  <a:pt x="304" y="243"/>
                </a:cubicBezTo>
                <a:cubicBezTo>
                  <a:pt x="304" y="242"/>
                  <a:pt x="305" y="241"/>
                  <a:pt x="305" y="240"/>
                </a:cubicBezTo>
                <a:cubicBezTo>
                  <a:pt x="305" y="240"/>
                  <a:pt x="305" y="240"/>
                  <a:pt x="305" y="240"/>
                </a:cubicBezTo>
                <a:cubicBezTo>
                  <a:pt x="305" y="240"/>
                  <a:pt x="305" y="240"/>
                  <a:pt x="305" y="240"/>
                </a:cubicBezTo>
                <a:cubicBezTo>
                  <a:pt x="307" y="236"/>
                  <a:pt x="308" y="233"/>
                  <a:pt x="309" y="229"/>
                </a:cubicBezTo>
                <a:cubicBezTo>
                  <a:pt x="310" y="225"/>
                  <a:pt x="310" y="222"/>
                  <a:pt x="310" y="218"/>
                </a:cubicBezTo>
                <a:cubicBezTo>
                  <a:pt x="310" y="217"/>
                  <a:pt x="310" y="216"/>
                  <a:pt x="310" y="216"/>
                </a:cubicBezTo>
                <a:cubicBezTo>
                  <a:pt x="310" y="212"/>
                  <a:pt x="309" y="209"/>
                  <a:pt x="308" y="206"/>
                </a:cubicBezTo>
                <a:cubicBezTo>
                  <a:pt x="307" y="203"/>
                  <a:pt x="305" y="200"/>
                  <a:pt x="304" y="197"/>
                </a:cubicBezTo>
                <a:cubicBezTo>
                  <a:pt x="303" y="196"/>
                  <a:pt x="303" y="196"/>
                  <a:pt x="303" y="195"/>
                </a:cubicBezTo>
                <a:cubicBezTo>
                  <a:pt x="301" y="192"/>
                  <a:pt x="299" y="190"/>
                  <a:pt x="298" y="187"/>
                </a:cubicBezTo>
                <a:cubicBezTo>
                  <a:pt x="296" y="186"/>
                  <a:pt x="295" y="184"/>
                  <a:pt x="293" y="182"/>
                </a:cubicBezTo>
                <a:cubicBezTo>
                  <a:pt x="292" y="181"/>
                  <a:pt x="291" y="180"/>
                  <a:pt x="290" y="178"/>
                </a:cubicBezTo>
                <a:cubicBezTo>
                  <a:pt x="285" y="173"/>
                  <a:pt x="281" y="169"/>
                  <a:pt x="279" y="168"/>
                </a:cubicBezTo>
                <a:cubicBezTo>
                  <a:pt x="279" y="168"/>
                  <a:pt x="278" y="167"/>
                  <a:pt x="278" y="167"/>
                </a:cubicBezTo>
                <a:cubicBezTo>
                  <a:pt x="278" y="167"/>
                  <a:pt x="277" y="167"/>
                  <a:pt x="276" y="166"/>
                </a:cubicBezTo>
                <a:cubicBezTo>
                  <a:pt x="266" y="160"/>
                  <a:pt x="266" y="160"/>
                  <a:pt x="266" y="160"/>
                </a:cubicBezTo>
                <a:cubicBezTo>
                  <a:pt x="265" y="160"/>
                  <a:pt x="237" y="150"/>
                  <a:pt x="237" y="150"/>
                </a:cubicBezTo>
                <a:cubicBezTo>
                  <a:pt x="195" y="136"/>
                  <a:pt x="195" y="136"/>
                  <a:pt x="195" y="136"/>
                </a:cubicBezTo>
                <a:cubicBezTo>
                  <a:pt x="195" y="136"/>
                  <a:pt x="195" y="136"/>
                  <a:pt x="195" y="136"/>
                </a:cubicBezTo>
                <a:cubicBezTo>
                  <a:pt x="165" y="126"/>
                  <a:pt x="165" y="126"/>
                  <a:pt x="165" y="126"/>
                </a:cubicBezTo>
                <a:cubicBezTo>
                  <a:pt x="162" y="125"/>
                  <a:pt x="160" y="123"/>
                  <a:pt x="159" y="121"/>
                </a:cubicBezTo>
                <a:cubicBezTo>
                  <a:pt x="158" y="119"/>
                  <a:pt x="158" y="116"/>
                  <a:pt x="159" y="113"/>
                </a:cubicBezTo>
                <a:cubicBezTo>
                  <a:pt x="160" y="109"/>
                  <a:pt x="163" y="107"/>
                  <a:pt x="167" y="106"/>
                </a:cubicBezTo>
                <a:cubicBezTo>
                  <a:pt x="169" y="106"/>
                  <a:pt x="170" y="106"/>
                  <a:pt x="172" y="107"/>
                </a:cubicBezTo>
                <a:cubicBezTo>
                  <a:pt x="172" y="107"/>
                  <a:pt x="172" y="107"/>
                  <a:pt x="172" y="107"/>
                </a:cubicBezTo>
                <a:cubicBezTo>
                  <a:pt x="197" y="114"/>
                  <a:pt x="197" y="114"/>
                  <a:pt x="197" y="114"/>
                </a:cubicBezTo>
                <a:cubicBezTo>
                  <a:pt x="198" y="114"/>
                  <a:pt x="199" y="114"/>
                  <a:pt x="199" y="114"/>
                </a:cubicBezTo>
                <a:cubicBezTo>
                  <a:pt x="199" y="114"/>
                  <a:pt x="199" y="114"/>
                  <a:pt x="199" y="114"/>
                </a:cubicBezTo>
                <a:cubicBezTo>
                  <a:pt x="200" y="114"/>
                  <a:pt x="200" y="114"/>
                  <a:pt x="201" y="114"/>
                </a:cubicBezTo>
                <a:cubicBezTo>
                  <a:pt x="201" y="114"/>
                  <a:pt x="201" y="114"/>
                  <a:pt x="201" y="114"/>
                </a:cubicBezTo>
                <a:cubicBezTo>
                  <a:pt x="201" y="114"/>
                  <a:pt x="202" y="114"/>
                  <a:pt x="202" y="114"/>
                </a:cubicBezTo>
                <a:cubicBezTo>
                  <a:pt x="202" y="114"/>
                  <a:pt x="202" y="114"/>
                  <a:pt x="203" y="114"/>
                </a:cubicBezTo>
                <a:cubicBezTo>
                  <a:pt x="203" y="114"/>
                  <a:pt x="204" y="114"/>
                  <a:pt x="204" y="114"/>
                </a:cubicBezTo>
                <a:cubicBezTo>
                  <a:pt x="204" y="114"/>
                  <a:pt x="204" y="114"/>
                  <a:pt x="204" y="114"/>
                </a:cubicBezTo>
                <a:cubicBezTo>
                  <a:pt x="205" y="114"/>
                  <a:pt x="205" y="114"/>
                  <a:pt x="205" y="114"/>
                </a:cubicBezTo>
                <a:cubicBezTo>
                  <a:pt x="206" y="114"/>
                  <a:pt x="206" y="113"/>
                  <a:pt x="206" y="113"/>
                </a:cubicBezTo>
                <a:cubicBezTo>
                  <a:pt x="206" y="113"/>
                  <a:pt x="207" y="113"/>
                  <a:pt x="207" y="113"/>
                </a:cubicBezTo>
                <a:cubicBezTo>
                  <a:pt x="207" y="113"/>
                  <a:pt x="207" y="113"/>
                  <a:pt x="207" y="113"/>
                </a:cubicBezTo>
                <a:cubicBezTo>
                  <a:pt x="208" y="113"/>
                  <a:pt x="208" y="112"/>
                  <a:pt x="209" y="112"/>
                </a:cubicBezTo>
                <a:cubicBezTo>
                  <a:pt x="209" y="112"/>
                  <a:pt x="209" y="112"/>
                  <a:pt x="209" y="112"/>
                </a:cubicBezTo>
                <a:cubicBezTo>
                  <a:pt x="209" y="112"/>
                  <a:pt x="209" y="111"/>
                  <a:pt x="210" y="111"/>
                </a:cubicBezTo>
                <a:cubicBezTo>
                  <a:pt x="210" y="111"/>
                  <a:pt x="210" y="111"/>
                  <a:pt x="210" y="111"/>
                </a:cubicBezTo>
                <a:cubicBezTo>
                  <a:pt x="210" y="111"/>
                  <a:pt x="210" y="111"/>
                  <a:pt x="210" y="111"/>
                </a:cubicBezTo>
                <a:cubicBezTo>
                  <a:pt x="210" y="110"/>
                  <a:pt x="211" y="110"/>
                  <a:pt x="211" y="110"/>
                </a:cubicBezTo>
                <a:cubicBezTo>
                  <a:pt x="211" y="110"/>
                  <a:pt x="211" y="110"/>
                  <a:pt x="211" y="110"/>
                </a:cubicBezTo>
                <a:cubicBezTo>
                  <a:pt x="212" y="109"/>
                  <a:pt x="212" y="108"/>
                  <a:pt x="213" y="107"/>
                </a:cubicBezTo>
                <a:cubicBezTo>
                  <a:pt x="213" y="107"/>
                  <a:pt x="213" y="107"/>
                  <a:pt x="213" y="107"/>
                </a:cubicBezTo>
                <a:cubicBezTo>
                  <a:pt x="213" y="106"/>
                  <a:pt x="213" y="106"/>
                  <a:pt x="213" y="106"/>
                </a:cubicBezTo>
                <a:cubicBezTo>
                  <a:pt x="214" y="105"/>
                  <a:pt x="214" y="105"/>
                  <a:pt x="214" y="105"/>
                </a:cubicBezTo>
                <a:cubicBezTo>
                  <a:pt x="214" y="105"/>
                  <a:pt x="214" y="105"/>
                  <a:pt x="214" y="105"/>
                </a:cubicBezTo>
                <a:cubicBezTo>
                  <a:pt x="214" y="104"/>
                  <a:pt x="214" y="104"/>
                  <a:pt x="214" y="104"/>
                </a:cubicBezTo>
                <a:cubicBezTo>
                  <a:pt x="214" y="104"/>
                  <a:pt x="214" y="104"/>
                  <a:pt x="214" y="103"/>
                </a:cubicBezTo>
                <a:cubicBezTo>
                  <a:pt x="214" y="103"/>
                  <a:pt x="214" y="103"/>
                  <a:pt x="214" y="102"/>
                </a:cubicBezTo>
                <a:cubicBezTo>
                  <a:pt x="214" y="102"/>
                  <a:pt x="214" y="102"/>
                  <a:pt x="214" y="102"/>
                </a:cubicBezTo>
                <a:cubicBezTo>
                  <a:pt x="214" y="101"/>
                  <a:pt x="214" y="101"/>
                  <a:pt x="214" y="100"/>
                </a:cubicBezTo>
                <a:cubicBezTo>
                  <a:pt x="214" y="100"/>
                  <a:pt x="214" y="100"/>
                  <a:pt x="214" y="100"/>
                </a:cubicBezTo>
                <a:cubicBezTo>
                  <a:pt x="214" y="100"/>
                  <a:pt x="214" y="99"/>
                  <a:pt x="214" y="99"/>
                </a:cubicBezTo>
                <a:cubicBezTo>
                  <a:pt x="214" y="99"/>
                  <a:pt x="214" y="99"/>
                  <a:pt x="214" y="99"/>
                </a:cubicBezTo>
                <a:cubicBezTo>
                  <a:pt x="214" y="98"/>
                  <a:pt x="214" y="98"/>
                  <a:pt x="214" y="98"/>
                </a:cubicBezTo>
                <a:cubicBezTo>
                  <a:pt x="214" y="98"/>
                  <a:pt x="214" y="98"/>
                  <a:pt x="214" y="98"/>
                </a:cubicBezTo>
                <a:cubicBezTo>
                  <a:pt x="209" y="72"/>
                  <a:pt x="193" y="51"/>
                  <a:pt x="171" y="41"/>
                </a:cubicBezTo>
                <a:cubicBezTo>
                  <a:pt x="168" y="40"/>
                  <a:pt x="165" y="39"/>
                  <a:pt x="161" y="38"/>
                </a:cubicBezTo>
                <a:cubicBezTo>
                  <a:pt x="158" y="37"/>
                  <a:pt x="155" y="36"/>
                  <a:pt x="152" y="36"/>
                </a:cubicBezTo>
                <a:cubicBezTo>
                  <a:pt x="151" y="36"/>
                  <a:pt x="150" y="36"/>
                  <a:pt x="149" y="36"/>
                </a:cubicBezTo>
                <a:cubicBezTo>
                  <a:pt x="148" y="36"/>
                  <a:pt x="147" y="36"/>
                  <a:pt x="145" y="36"/>
                </a:cubicBezTo>
                <a:cubicBezTo>
                  <a:pt x="107" y="36"/>
                  <a:pt x="75" y="71"/>
                  <a:pt x="75" y="115"/>
                </a:cubicBezTo>
                <a:cubicBezTo>
                  <a:pt x="75" y="159"/>
                  <a:pt x="107" y="194"/>
                  <a:pt x="145" y="194"/>
                </a:cubicBezTo>
                <a:cubicBezTo>
                  <a:pt x="147" y="194"/>
                  <a:pt x="148" y="194"/>
                  <a:pt x="149" y="194"/>
                </a:cubicBezTo>
                <a:cubicBezTo>
                  <a:pt x="149" y="194"/>
                  <a:pt x="150" y="194"/>
                  <a:pt x="150" y="194"/>
                </a:cubicBezTo>
                <a:cubicBezTo>
                  <a:pt x="151" y="194"/>
                  <a:pt x="151" y="194"/>
                  <a:pt x="152" y="194"/>
                </a:cubicBezTo>
                <a:cubicBezTo>
                  <a:pt x="152" y="194"/>
                  <a:pt x="152" y="194"/>
                  <a:pt x="152" y="194"/>
                </a:cubicBezTo>
                <a:cubicBezTo>
                  <a:pt x="152" y="201"/>
                  <a:pt x="152" y="201"/>
                  <a:pt x="152" y="201"/>
                </a:cubicBezTo>
                <a:cubicBezTo>
                  <a:pt x="56" y="206"/>
                  <a:pt x="56" y="206"/>
                  <a:pt x="56" y="206"/>
                </a:cubicBezTo>
                <a:cubicBezTo>
                  <a:pt x="27" y="196"/>
                  <a:pt x="27" y="196"/>
                  <a:pt x="27" y="196"/>
                </a:cubicBezTo>
                <a:cubicBezTo>
                  <a:pt x="27" y="38"/>
                  <a:pt x="27" y="38"/>
                  <a:pt x="27" y="38"/>
                </a:cubicBezTo>
                <a:cubicBezTo>
                  <a:pt x="57" y="26"/>
                  <a:pt x="57" y="26"/>
                  <a:pt x="57" y="26"/>
                </a:cubicBezTo>
                <a:cubicBezTo>
                  <a:pt x="155" y="29"/>
                  <a:pt x="155" y="29"/>
                  <a:pt x="155" y="29"/>
                </a:cubicBezTo>
                <a:cubicBezTo>
                  <a:pt x="156" y="29"/>
                  <a:pt x="157" y="29"/>
                  <a:pt x="159" y="29"/>
                </a:cubicBezTo>
                <a:cubicBezTo>
                  <a:pt x="164" y="27"/>
                  <a:pt x="168" y="22"/>
                  <a:pt x="168" y="16"/>
                </a:cubicBezTo>
                <a:cubicBezTo>
                  <a:pt x="169" y="9"/>
                  <a:pt x="163" y="3"/>
                  <a:pt x="155" y="3"/>
                </a:cubicBezTo>
                <a:cubicBezTo>
                  <a:pt x="55" y="0"/>
                  <a:pt x="55" y="0"/>
                  <a:pt x="55" y="0"/>
                </a:cubicBezTo>
                <a:cubicBezTo>
                  <a:pt x="54" y="0"/>
                  <a:pt x="52" y="0"/>
                  <a:pt x="50" y="1"/>
                </a:cubicBezTo>
                <a:cubicBezTo>
                  <a:pt x="9" y="16"/>
                  <a:pt x="9" y="16"/>
                  <a:pt x="9" y="16"/>
                </a:cubicBezTo>
                <a:cubicBezTo>
                  <a:pt x="4" y="18"/>
                  <a:pt x="0" y="23"/>
                  <a:pt x="0" y="29"/>
                </a:cubicBezTo>
                <a:cubicBezTo>
                  <a:pt x="0" y="206"/>
                  <a:pt x="0" y="206"/>
                  <a:pt x="0" y="206"/>
                </a:cubicBezTo>
                <a:cubicBezTo>
                  <a:pt x="0" y="211"/>
                  <a:pt x="4" y="216"/>
                  <a:pt x="9" y="218"/>
                </a:cubicBezTo>
                <a:cubicBezTo>
                  <a:pt x="50" y="232"/>
                  <a:pt x="50" y="232"/>
                  <a:pt x="50" y="232"/>
                </a:cubicBezTo>
                <a:cubicBezTo>
                  <a:pt x="51" y="232"/>
                  <a:pt x="53" y="232"/>
                  <a:pt x="54" y="232"/>
                </a:cubicBezTo>
                <a:cubicBezTo>
                  <a:pt x="55" y="232"/>
                  <a:pt x="55" y="232"/>
                  <a:pt x="55" y="232"/>
                </a:cubicBezTo>
                <a:cubicBezTo>
                  <a:pt x="166" y="227"/>
                  <a:pt x="166" y="227"/>
                  <a:pt x="166" y="227"/>
                </a:cubicBezTo>
                <a:cubicBezTo>
                  <a:pt x="173" y="227"/>
                  <a:pt x="179" y="221"/>
                  <a:pt x="179" y="214"/>
                </a:cubicBezTo>
                <a:cubicBezTo>
                  <a:pt x="179" y="176"/>
                  <a:pt x="179" y="176"/>
                  <a:pt x="179" y="176"/>
                </a:cubicBezTo>
                <a:cubicBezTo>
                  <a:pt x="179" y="176"/>
                  <a:pt x="179" y="176"/>
                  <a:pt x="179" y="176"/>
                </a:cubicBezTo>
                <a:cubicBezTo>
                  <a:pt x="179" y="176"/>
                  <a:pt x="179" y="175"/>
                  <a:pt x="179" y="175"/>
                </a:cubicBezTo>
                <a:cubicBezTo>
                  <a:pt x="179" y="175"/>
                  <a:pt x="179" y="175"/>
                  <a:pt x="179" y="175"/>
                </a:cubicBezTo>
                <a:cubicBezTo>
                  <a:pt x="179" y="174"/>
                  <a:pt x="179" y="174"/>
                  <a:pt x="179" y="173"/>
                </a:cubicBezTo>
                <a:cubicBezTo>
                  <a:pt x="179" y="173"/>
                  <a:pt x="179" y="173"/>
                  <a:pt x="178" y="173"/>
                </a:cubicBezTo>
                <a:cubicBezTo>
                  <a:pt x="178" y="173"/>
                  <a:pt x="178" y="172"/>
                  <a:pt x="178" y="172"/>
                </a:cubicBezTo>
                <a:cubicBezTo>
                  <a:pt x="178" y="172"/>
                  <a:pt x="178" y="172"/>
                  <a:pt x="178" y="171"/>
                </a:cubicBezTo>
                <a:cubicBezTo>
                  <a:pt x="178" y="171"/>
                  <a:pt x="178" y="171"/>
                  <a:pt x="178" y="170"/>
                </a:cubicBezTo>
                <a:cubicBezTo>
                  <a:pt x="177" y="170"/>
                  <a:pt x="177" y="170"/>
                  <a:pt x="177" y="170"/>
                </a:cubicBezTo>
                <a:cubicBezTo>
                  <a:pt x="177" y="170"/>
                  <a:pt x="177" y="169"/>
                  <a:pt x="177" y="169"/>
                </a:cubicBezTo>
                <a:cubicBezTo>
                  <a:pt x="176" y="168"/>
                  <a:pt x="176" y="168"/>
                  <a:pt x="176" y="168"/>
                </a:cubicBezTo>
                <a:cubicBezTo>
                  <a:pt x="175" y="167"/>
                  <a:pt x="175" y="167"/>
                  <a:pt x="175" y="167"/>
                </a:cubicBezTo>
                <a:cubicBezTo>
                  <a:pt x="175" y="167"/>
                  <a:pt x="175" y="167"/>
                  <a:pt x="175" y="167"/>
                </a:cubicBezTo>
                <a:cubicBezTo>
                  <a:pt x="175" y="167"/>
                  <a:pt x="175" y="167"/>
                  <a:pt x="174" y="166"/>
                </a:cubicBezTo>
                <a:cubicBezTo>
                  <a:pt x="174" y="166"/>
                  <a:pt x="174" y="166"/>
                  <a:pt x="174" y="166"/>
                </a:cubicBezTo>
                <a:cubicBezTo>
                  <a:pt x="174" y="166"/>
                  <a:pt x="173" y="166"/>
                  <a:pt x="173" y="165"/>
                </a:cubicBezTo>
                <a:cubicBezTo>
                  <a:pt x="173" y="165"/>
                  <a:pt x="173" y="165"/>
                  <a:pt x="173" y="165"/>
                </a:cubicBezTo>
                <a:cubicBezTo>
                  <a:pt x="172" y="165"/>
                  <a:pt x="172" y="165"/>
                  <a:pt x="172" y="165"/>
                </a:cubicBezTo>
                <a:cubicBezTo>
                  <a:pt x="171" y="164"/>
                  <a:pt x="171" y="164"/>
                  <a:pt x="171" y="164"/>
                </a:cubicBezTo>
                <a:cubicBezTo>
                  <a:pt x="171" y="164"/>
                  <a:pt x="171" y="164"/>
                  <a:pt x="170" y="164"/>
                </a:cubicBezTo>
                <a:cubicBezTo>
                  <a:pt x="170" y="164"/>
                  <a:pt x="170" y="164"/>
                  <a:pt x="170" y="164"/>
                </a:cubicBezTo>
                <a:cubicBezTo>
                  <a:pt x="169" y="164"/>
                  <a:pt x="169" y="164"/>
                  <a:pt x="169" y="163"/>
                </a:cubicBezTo>
                <a:cubicBezTo>
                  <a:pt x="169" y="163"/>
                  <a:pt x="168" y="163"/>
                  <a:pt x="168" y="163"/>
                </a:cubicBezTo>
                <a:cubicBezTo>
                  <a:pt x="167" y="163"/>
                  <a:pt x="166" y="163"/>
                  <a:pt x="165" y="163"/>
                </a:cubicBezTo>
                <a:cubicBezTo>
                  <a:pt x="165" y="163"/>
                  <a:pt x="165" y="163"/>
                  <a:pt x="165" y="163"/>
                </a:cubicBezTo>
                <a:cubicBezTo>
                  <a:pt x="164" y="163"/>
                  <a:pt x="164" y="163"/>
                  <a:pt x="164" y="163"/>
                </a:cubicBezTo>
                <a:cubicBezTo>
                  <a:pt x="164" y="163"/>
                  <a:pt x="163" y="163"/>
                  <a:pt x="163" y="163"/>
                </a:cubicBezTo>
                <a:cubicBezTo>
                  <a:pt x="163" y="163"/>
                  <a:pt x="162" y="164"/>
                  <a:pt x="162" y="164"/>
                </a:cubicBezTo>
                <a:cubicBezTo>
                  <a:pt x="162" y="164"/>
                  <a:pt x="162" y="164"/>
                  <a:pt x="162" y="164"/>
                </a:cubicBezTo>
                <a:cubicBezTo>
                  <a:pt x="161" y="164"/>
                  <a:pt x="161" y="164"/>
                  <a:pt x="160" y="164"/>
                </a:cubicBezTo>
                <a:cubicBezTo>
                  <a:pt x="156" y="166"/>
                  <a:pt x="151" y="167"/>
                  <a:pt x="145" y="167"/>
                </a:cubicBezTo>
                <a:cubicBezTo>
                  <a:pt x="122" y="167"/>
                  <a:pt x="102" y="144"/>
                  <a:pt x="102" y="115"/>
                </a:cubicBezTo>
                <a:cubicBezTo>
                  <a:pt x="102" y="86"/>
                  <a:pt x="122" y="62"/>
                  <a:pt x="145" y="62"/>
                </a:cubicBezTo>
                <a:cubicBezTo>
                  <a:pt x="147" y="62"/>
                  <a:pt x="148" y="62"/>
                  <a:pt x="149" y="63"/>
                </a:cubicBezTo>
                <a:cubicBezTo>
                  <a:pt x="153" y="63"/>
                  <a:pt x="157" y="64"/>
                  <a:pt x="160" y="65"/>
                </a:cubicBezTo>
                <a:cubicBezTo>
                  <a:pt x="160" y="65"/>
                  <a:pt x="160" y="65"/>
                  <a:pt x="160" y="65"/>
                </a:cubicBezTo>
                <a:cubicBezTo>
                  <a:pt x="167" y="69"/>
                  <a:pt x="174" y="74"/>
                  <a:pt x="179" y="81"/>
                </a:cubicBezTo>
                <a:cubicBezTo>
                  <a:pt x="178" y="81"/>
                  <a:pt x="178" y="81"/>
                  <a:pt x="178" y="81"/>
                </a:cubicBezTo>
                <a:cubicBezTo>
                  <a:pt x="178" y="81"/>
                  <a:pt x="178" y="81"/>
                  <a:pt x="177" y="81"/>
                </a:cubicBezTo>
                <a:cubicBezTo>
                  <a:pt x="177" y="81"/>
                  <a:pt x="177" y="81"/>
                  <a:pt x="176" y="80"/>
                </a:cubicBezTo>
                <a:cubicBezTo>
                  <a:pt x="176" y="80"/>
                  <a:pt x="176" y="80"/>
                  <a:pt x="176" y="80"/>
                </a:cubicBezTo>
                <a:cubicBezTo>
                  <a:pt x="175" y="80"/>
                  <a:pt x="175" y="80"/>
                  <a:pt x="174" y="80"/>
                </a:cubicBezTo>
                <a:cubicBezTo>
                  <a:pt x="174" y="80"/>
                  <a:pt x="174" y="80"/>
                  <a:pt x="174" y="80"/>
                </a:cubicBezTo>
                <a:cubicBezTo>
                  <a:pt x="173" y="80"/>
                  <a:pt x="173" y="80"/>
                  <a:pt x="173" y="80"/>
                </a:cubicBezTo>
                <a:cubicBezTo>
                  <a:pt x="172" y="80"/>
                  <a:pt x="172" y="80"/>
                  <a:pt x="172" y="80"/>
                </a:cubicBezTo>
                <a:cubicBezTo>
                  <a:pt x="171" y="80"/>
                  <a:pt x="171" y="80"/>
                  <a:pt x="171" y="80"/>
                </a:cubicBezTo>
                <a:cubicBezTo>
                  <a:pt x="170" y="80"/>
                  <a:pt x="170" y="80"/>
                  <a:pt x="170" y="80"/>
                </a:cubicBezTo>
                <a:cubicBezTo>
                  <a:pt x="169" y="80"/>
                  <a:pt x="169" y="80"/>
                  <a:pt x="169" y="80"/>
                </a:cubicBezTo>
                <a:cubicBezTo>
                  <a:pt x="168" y="80"/>
                  <a:pt x="168" y="80"/>
                  <a:pt x="168" y="80"/>
                </a:cubicBezTo>
                <a:cubicBezTo>
                  <a:pt x="168" y="80"/>
                  <a:pt x="167" y="80"/>
                  <a:pt x="167" y="80"/>
                </a:cubicBezTo>
                <a:cubicBezTo>
                  <a:pt x="166" y="80"/>
                  <a:pt x="166" y="80"/>
                  <a:pt x="166" y="80"/>
                </a:cubicBezTo>
                <a:cubicBezTo>
                  <a:pt x="165" y="80"/>
                  <a:pt x="165" y="80"/>
                  <a:pt x="164" y="80"/>
                </a:cubicBezTo>
                <a:cubicBezTo>
                  <a:pt x="150" y="82"/>
                  <a:pt x="138" y="91"/>
                  <a:pt x="134" y="105"/>
                </a:cubicBezTo>
                <a:cubicBezTo>
                  <a:pt x="130" y="114"/>
                  <a:pt x="131" y="124"/>
                  <a:pt x="135" y="133"/>
                </a:cubicBezTo>
                <a:cubicBezTo>
                  <a:pt x="140" y="142"/>
                  <a:pt x="147" y="148"/>
                  <a:pt x="157" y="151"/>
                </a:cubicBezTo>
                <a:cubicBezTo>
                  <a:pt x="218" y="172"/>
                  <a:pt x="218" y="172"/>
                  <a:pt x="218" y="172"/>
                </a:cubicBezTo>
                <a:cubicBezTo>
                  <a:pt x="213" y="179"/>
                  <a:pt x="208" y="186"/>
                  <a:pt x="205" y="191"/>
                </a:cubicBezTo>
                <a:cubicBezTo>
                  <a:pt x="195" y="209"/>
                  <a:pt x="198" y="240"/>
                  <a:pt x="216" y="253"/>
                </a:cubicBezTo>
                <a:cubicBezTo>
                  <a:pt x="218" y="254"/>
                  <a:pt x="220" y="256"/>
                  <a:pt x="222" y="258"/>
                </a:cubicBezTo>
                <a:cubicBezTo>
                  <a:pt x="220" y="260"/>
                  <a:pt x="217" y="263"/>
                  <a:pt x="216" y="266"/>
                </a:cubicBezTo>
                <a:cubicBezTo>
                  <a:pt x="210" y="274"/>
                  <a:pt x="209" y="285"/>
                  <a:pt x="210" y="295"/>
                </a:cubicBezTo>
                <a:cubicBezTo>
                  <a:pt x="214" y="315"/>
                  <a:pt x="231" y="327"/>
                  <a:pt x="251" y="325"/>
                </a:cubicBezTo>
                <a:cubicBezTo>
                  <a:pt x="359" y="333"/>
                  <a:pt x="359" y="333"/>
                  <a:pt x="359" y="333"/>
                </a:cubicBezTo>
                <a:cubicBezTo>
                  <a:pt x="359" y="333"/>
                  <a:pt x="360" y="333"/>
                  <a:pt x="360" y="333"/>
                </a:cubicBezTo>
                <a:cubicBezTo>
                  <a:pt x="361" y="333"/>
                  <a:pt x="361" y="333"/>
                  <a:pt x="362" y="333"/>
                </a:cubicBezTo>
                <a:cubicBezTo>
                  <a:pt x="373" y="331"/>
                  <a:pt x="382" y="325"/>
                  <a:pt x="390" y="319"/>
                </a:cubicBezTo>
                <a:cubicBezTo>
                  <a:pt x="395" y="316"/>
                  <a:pt x="400" y="312"/>
                  <a:pt x="404" y="310"/>
                </a:cubicBezTo>
                <a:cubicBezTo>
                  <a:pt x="408" y="308"/>
                  <a:pt x="411" y="305"/>
                  <a:pt x="412" y="301"/>
                </a:cubicBezTo>
                <a:cubicBezTo>
                  <a:pt x="431" y="193"/>
                  <a:pt x="431" y="193"/>
                  <a:pt x="431" y="193"/>
                </a:cubicBezTo>
                <a:cubicBezTo>
                  <a:pt x="432" y="187"/>
                  <a:pt x="429" y="181"/>
                  <a:pt x="424" y="179"/>
                </a:cubicBezTo>
                <a:close/>
                <a:moveTo>
                  <a:pt x="228" y="204"/>
                </a:moveTo>
                <a:cubicBezTo>
                  <a:pt x="231" y="199"/>
                  <a:pt x="237" y="191"/>
                  <a:pt x="245" y="181"/>
                </a:cubicBezTo>
                <a:cubicBezTo>
                  <a:pt x="251" y="183"/>
                  <a:pt x="251" y="183"/>
                  <a:pt x="251" y="183"/>
                </a:cubicBezTo>
                <a:cubicBezTo>
                  <a:pt x="254" y="184"/>
                  <a:pt x="254" y="184"/>
                  <a:pt x="254" y="184"/>
                </a:cubicBezTo>
                <a:cubicBezTo>
                  <a:pt x="261" y="188"/>
                  <a:pt x="261" y="188"/>
                  <a:pt x="261" y="188"/>
                </a:cubicBezTo>
                <a:cubicBezTo>
                  <a:pt x="262" y="189"/>
                  <a:pt x="262" y="189"/>
                  <a:pt x="262" y="189"/>
                </a:cubicBezTo>
                <a:cubicBezTo>
                  <a:pt x="262" y="189"/>
                  <a:pt x="262" y="189"/>
                  <a:pt x="262" y="189"/>
                </a:cubicBezTo>
                <a:cubicBezTo>
                  <a:pt x="262" y="190"/>
                  <a:pt x="261" y="190"/>
                  <a:pt x="261" y="190"/>
                </a:cubicBezTo>
                <a:cubicBezTo>
                  <a:pt x="261" y="191"/>
                  <a:pt x="260" y="191"/>
                  <a:pt x="260" y="192"/>
                </a:cubicBezTo>
                <a:cubicBezTo>
                  <a:pt x="260" y="192"/>
                  <a:pt x="259" y="193"/>
                  <a:pt x="259" y="193"/>
                </a:cubicBezTo>
                <a:cubicBezTo>
                  <a:pt x="259" y="194"/>
                  <a:pt x="258" y="194"/>
                  <a:pt x="258" y="195"/>
                </a:cubicBezTo>
                <a:cubicBezTo>
                  <a:pt x="258" y="195"/>
                  <a:pt x="257" y="195"/>
                  <a:pt x="257" y="196"/>
                </a:cubicBezTo>
                <a:cubicBezTo>
                  <a:pt x="257" y="196"/>
                  <a:pt x="256" y="197"/>
                  <a:pt x="256" y="198"/>
                </a:cubicBezTo>
                <a:cubicBezTo>
                  <a:pt x="256" y="198"/>
                  <a:pt x="256" y="198"/>
                  <a:pt x="256" y="198"/>
                </a:cubicBezTo>
                <a:cubicBezTo>
                  <a:pt x="255" y="199"/>
                  <a:pt x="255" y="200"/>
                  <a:pt x="254" y="200"/>
                </a:cubicBezTo>
                <a:cubicBezTo>
                  <a:pt x="254" y="201"/>
                  <a:pt x="254" y="201"/>
                  <a:pt x="254" y="201"/>
                </a:cubicBezTo>
                <a:cubicBezTo>
                  <a:pt x="254" y="202"/>
                  <a:pt x="254" y="202"/>
                  <a:pt x="253" y="203"/>
                </a:cubicBezTo>
                <a:cubicBezTo>
                  <a:pt x="253" y="203"/>
                  <a:pt x="253" y="203"/>
                  <a:pt x="253" y="203"/>
                </a:cubicBezTo>
                <a:cubicBezTo>
                  <a:pt x="253" y="204"/>
                  <a:pt x="253" y="204"/>
                  <a:pt x="252" y="205"/>
                </a:cubicBezTo>
                <a:cubicBezTo>
                  <a:pt x="252" y="205"/>
                  <a:pt x="252" y="205"/>
                  <a:pt x="252" y="205"/>
                </a:cubicBezTo>
                <a:cubicBezTo>
                  <a:pt x="252" y="206"/>
                  <a:pt x="252" y="206"/>
                  <a:pt x="252" y="207"/>
                </a:cubicBezTo>
                <a:cubicBezTo>
                  <a:pt x="252" y="207"/>
                  <a:pt x="252" y="207"/>
                  <a:pt x="252" y="207"/>
                </a:cubicBezTo>
                <a:cubicBezTo>
                  <a:pt x="251" y="208"/>
                  <a:pt x="251" y="208"/>
                  <a:pt x="251" y="209"/>
                </a:cubicBezTo>
                <a:cubicBezTo>
                  <a:pt x="251" y="209"/>
                  <a:pt x="251" y="209"/>
                  <a:pt x="251" y="209"/>
                </a:cubicBezTo>
                <a:cubicBezTo>
                  <a:pt x="251" y="210"/>
                  <a:pt x="251" y="210"/>
                  <a:pt x="251" y="211"/>
                </a:cubicBezTo>
                <a:cubicBezTo>
                  <a:pt x="251" y="211"/>
                  <a:pt x="251" y="211"/>
                  <a:pt x="251" y="211"/>
                </a:cubicBezTo>
                <a:cubicBezTo>
                  <a:pt x="251" y="212"/>
                  <a:pt x="251" y="212"/>
                  <a:pt x="251" y="213"/>
                </a:cubicBezTo>
                <a:cubicBezTo>
                  <a:pt x="251" y="213"/>
                  <a:pt x="251" y="213"/>
                  <a:pt x="251" y="213"/>
                </a:cubicBezTo>
                <a:cubicBezTo>
                  <a:pt x="251" y="214"/>
                  <a:pt x="251" y="214"/>
                  <a:pt x="251" y="214"/>
                </a:cubicBezTo>
                <a:cubicBezTo>
                  <a:pt x="251" y="214"/>
                  <a:pt x="251" y="215"/>
                  <a:pt x="251" y="215"/>
                </a:cubicBezTo>
                <a:cubicBezTo>
                  <a:pt x="252" y="215"/>
                  <a:pt x="252" y="216"/>
                  <a:pt x="252" y="216"/>
                </a:cubicBezTo>
                <a:cubicBezTo>
                  <a:pt x="252" y="216"/>
                  <a:pt x="252" y="216"/>
                  <a:pt x="252" y="216"/>
                </a:cubicBezTo>
                <a:cubicBezTo>
                  <a:pt x="252" y="217"/>
                  <a:pt x="252" y="218"/>
                  <a:pt x="253" y="218"/>
                </a:cubicBezTo>
                <a:cubicBezTo>
                  <a:pt x="253" y="219"/>
                  <a:pt x="253" y="219"/>
                  <a:pt x="254" y="220"/>
                </a:cubicBezTo>
                <a:cubicBezTo>
                  <a:pt x="255" y="221"/>
                  <a:pt x="256" y="222"/>
                  <a:pt x="258" y="224"/>
                </a:cubicBezTo>
                <a:cubicBezTo>
                  <a:pt x="269" y="233"/>
                  <a:pt x="269" y="233"/>
                  <a:pt x="269" y="233"/>
                </a:cubicBezTo>
                <a:cubicBezTo>
                  <a:pt x="269" y="233"/>
                  <a:pt x="269" y="233"/>
                  <a:pt x="269" y="233"/>
                </a:cubicBezTo>
                <a:cubicBezTo>
                  <a:pt x="269" y="233"/>
                  <a:pt x="269" y="233"/>
                  <a:pt x="269" y="233"/>
                </a:cubicBezTo>
                <a:cubicBezTo>
                  <a:pt x="275" y="237"/>
                  <a:pt x="275" y="237"/>
                  <a:pt x="275" y="237"/>
                </a:cubicBezTo>
                <a:cubicBezTo>
                  <a:pt x="275" y="238"/>
                  <a:pt x="274" y="238"/>
                  <a:pt x="274" y="238"/>
                </a:cubicBezTo>
                <a:cubicBezTo>
                  <a:pt x="274" y="239"/>
                  <a:pt x="274" y="239"/>
                  <a:pt x="273" y="239"/>
                </a:cubicBezTo>
                <a:cubicBezTo>
                  <a:pt x="273" y="240"/>
                  <a:pt x="273" y="240"/>
                  <a:pt x="273" y="240"/>
                </a:cubicBezTo>
                <a:cubicBezTo>
                  <a:pt x="272" y="241"/>
                  <a:pt x="272" y="241"/>
                  <a:pt x="272" y="241"/>
                </a:cubicBezTo>
                <a:cubicBezTo>
                  <a:pt x="271" y="241"/>
                  <a:pt x="271" y="242"/>
                  <a:pt x="271" y="242"/>
                </a:cubicBezTo>
                <a:cubicBezTo>
                  <a:pt x="271" y="242"/>
                  <a:pt x="270" y="242"/>
                  <a:pt x="270" y="243"/>
                </a:cubicBezTo>
                <a:cubicBezTo>
                  <a:pt x="270" y="243"/>
                  <a:pt x="269" y="244"/>
                  <a:pt x="269" y="244"/>
                </a:cubicBezTo>
                <a:cubicBezTo>
                  <a:pt x="253" y="247"/>
                  <a:pt x="253" y="247"/>
                  <a:pt x="253" y="247"/>
                </a:cubicBezTo>
                <a:cubicBezTo>
                  <a:pt x="246" y="241"/>
                  <a:pt x="237" y="235"/>
                  <a:pt x="231" y="231"/>
                </a:cubicBezTo>
                <a:cubicBezTo>
                  <a:pt x="226" y="228"/>
                  <a:pt x="224" y="213"/>
                  <a:pt x="228" y="20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6" name="Freeform 596"/>
          <p:cNvSpPr>
            <a:spLocks noEditPoints="1"/>
          </p:cNvSpPr>
          <p:nvPr userDrawn="1"/>
        </p:nvSpPr>
        <p:spPr bwMode="auto">
          <a:xfrm>
            <a:off x="10513966" y="3677104"/>
            <a:ext cx="465138" cy="519112"/>
          </a:xfrm>
          <a:custGeom>
            <a:avLst/>
            <a:gdLst/>
            <a:ahLst/>
            <a:cxnLst>
              <a:cxn ang="0">
                <a:pos x="157" y="15"/>
              </a:cxn>
              <a:cxn ang="0">
                <a:pos x="154" y="35"/>
              </a:cxn>
              <a:cxn ang="0">
                <a:pos x="22" y="68"/>
              </a:cxn>
              <a:cxn ang="0">
                <a:pos x="0" y="99"/>
              </a:cxn>
              <a:cxn ang="0">
                <a:pos x="25" y="164"/>
              </a:cxn>
              <a:cxn ang="0">
                <a:pos x="72" y="402"/>
              </a:cxn>
              <a:cxn ang="0">
                <a:pos x="207" y="461"/>
              </a:cxn>
              <a:cxn ang="0">
                <a:pos x="323" y="432"/>
              </a:cxn>
              <a:cxn ang="0">
                <a:pos x="344" y="401"/>
              </a:cxn>
              <a:cxn ang="0">
                <a:pos x="370" y="153"/>
              </a:cxn>
              <a:cxn ang="0">
                <a:pos x="207" y="177"/>
              </a:cxn>
              <a:cxn ang="0">
                <a:pos x="98" y="179"/>
              </a:cxn>
              <a:cxn ang="0">
                <a:pos x="207" y="204"/>
              </a:cxn>
              <a:cxn ang="0">
                <a:pos x="317" y="397"/>
              </a:cxn>
              <a:cxn ang="0">
                <a:pos x="305" y="412"/>
              </a:cxn>
              <a:cxn ang="0">
                <a:pos x="99" y="401"/>
              </a:cxn>
              <a:cxn ang="0">
                <a:pos x="66" y="162"/>
              </a:cxn>
              <a:cxn ang="0">
                <a:pos x="41" y="143"/>
              </a:cxn>
              <a:cxn ang="0">
                <a:pos x="27" y="98"/>
              </a:cxn>
              <a:cxn ang="0">
                <a:pos x="167" y="61"/>
              </a:cxn>
              <a:cxn ang="0">
                <a:pos x="182" y="27"/>
              </a:cxn>
              <a:cxn ang="0">
                <a:pos x="232" y="27"/>
              </a:cxn>
              <a:cxn ang="0">
                <a:pos x="248" y="61"/>
              </a:cxn>
              <a:cxn ang="0">
                <a:pos x="388" y="98"/>
              </a:cxn>
              <a:cxn ang="0">
                <a:pos x="385" y="130"/>
              </a:cxn>
              <a:cxn ang="0">
                <a:pos x="412" y="132"/>
              </a:cxn>
              <a:cxn ang="0">
                <a:pos x="414" y="87"/>
              </a:cxn>
              <a:cxn ang="0">
                <a:pos x="357" y="53"/>
              </a:cxn>
              <a:cxn ang="0">
                <a:pos x="258" y="17"/>
              </a:cxn>
              <a:cxn ang="0">
                <a:pos x="241" y="0"/>
              </a:cxn>
              <a:cxn ang="0">
                <a:pos x="207" y="0"/>
              </a:cxn>
              <a:cxn ang="0">
                <a:pos x="241" y="27"/>
              </a:cxn>
            </a:cxnLst>
            <a:rect l="0" t="0" r="r" b="b"/>
            <a:pathLst>
              <a:path w="415" h="461">
                <a:moveTo>
                  <a:pt x="174" y="0"/>
                </a:moveTo>
                <a:cubicBezTo>
                  <a:pt x="165" y="0"/>
                  <a:pt x="159" y="8"/>
                  <a:pt x="157" y="15"/>
                </a:cubicBezTo>
                <a:cubicBezTo>
                  <a:pt x="157" y="15"/>
                  <a:pt x="156" y="16"/>
                  <a:pt x="156" y="17"/>
                </a:cubicBezTo>
                <a:cubicBezTo>
                  <a:pt x="156" y="17"/>
                  <a:pt x="155" y="26"/>
                  <a:pt x="154" y="35"/>
                </a:cubicBezTo>
                <a:cubicBezTo>
                  <a:pt x="112" y="37"/>
                  <a:pt x="76" y="47"/>
                  <a:pt x="58" y="53"/>
                </a:cubicBezTo>
                <a:cubicBezTo>
                  <a:pt x="44" y="58"/>
                  <a:pt x="31" y="63"/>
                  <a:pt x="22" y="68"/>
                </a:cubicBezTo>
                <a:cubicBezTo>
                  <a:pt x="9" y="74"/>
                  <a:pt x="3" y="80"/>
                  <a:pt x="1" y="87"/>
                </a:cubicBezTo>
                <a:cubicBezTo>
                  <a:pt x="0" y="89"/>
                  <a:pt x="0" y="94"/>
                  <a:pt x="0" y="99"/>
                </a:cubicBezTo>
                <a:cubicBezTo>
                  <a:pt x="0" y="108"/>
                  <a:pt x="1" y="121"/>
                  <a:pt x="3" y="132"/>
                </a:cubicBezTo>
                <a:cubicBezTo>
                  <a:pt x="3" y="136"/>
                  <a:pt x="6" y="150"/>
                  <a:pt x="25" y="164"/>
                </a:cubicBezTo>
                <a:cubicBezTo>
                  <a:pt x="30" y="168"/>
                  <a:pt x="36" y="171"/>
                  <a:pt x="40" y="173"/>
                </a:cubicBezTo>
                <a:cubicBezTo>
                  <a:pt x="45" y="209"/>
                  <a:pt x="68" y="375"/>
                  <a:pt x="72" y="402"/>
                </a:cubicBezTo>
                <a:cubicBezTo>
                  <a:pt x="72" y="402"/>
                  <a:pt x="74" y="411"/>
                  <a:pt x="78" y="417"/>
                </a:cubicBezTo>
                <a:cubicBezTo>
                  <a:pt x="91" y="434"/>
                  <a:pt x="137" y="461"/>
                  <a:pt x="207" y="461"/>
                </a:cubicBezTo>
                <a:cubicBezTo>
                  <a:pt x="281" y="461"/>
                  <a:pt x="305" y="444"/>
                  <a:pt x="320" y="434"/>
                </a:cubicBezTo>
                <a:cubicBezTo>
                  <a:pt x="323" y="432"/>
                  <a:pt x="323" y="432"/>
                  <a:pt x="323" y="432"/>
                </a:cubicBezTo>
                <a:cubicBezTo>
                  <a:pt x="340" y="421"/>
                  <a:pt x="343" y="403"/>
                  <a:pt x="344" y="401"/>
                </a:cubicBezTo>
                <a:cubicBezTo>
                  <a:pt x="344" y="401"/>
                  <a:pt x="344" y="401"/>
                  <a:pt x="344" y="401"/>
                </a:cubicBezTo>
                <a:cubicBezTo>
                  <a:pt x="376" y="166"/>
                  <a:pt x="376" y="166"/>
                  <a:pt x="376" y="166"/>
                </a:cubicBezTo>
                <a:cubicBezTo>
                  <a:pt x="376" y="161"/>
                  <a:pt x="374" y="156"/>
                  <a:pt x="370" y="153"/>
                </a:cubicBezTo>
                <a:cubicBezTo>
                  <a:pt x="366" y="151"/>
                  <a:pt x="361" y="150"/>
                  <a:pt x="357" y="152"/>
                </a:cubicBezTo>
                <a:cubicBezTo>
                  <a:pt x="326" y="167"/>
                  <a:pt x="263" y="177"/>
                  <a:pt x="207" y="177"/>
                </a:cubicBezTo>
                <a:cubicBezTo>
                  <a:pt x="166" y="177"/>
                  <a:pt x="133" y="172"/>
                  <a:pt x="113" y="169"/>
                </a:cubicBezTo>
                <a:cubicBezTo>
                  <a:pt x="106" y="167"/>
                  <a:pt x="99" y="172"/>
                  <a:pt x="98" y="179"/>
                </a:cubicBezTo>
                <a:cubicBezTo>
                  <a:pt x="96" y="186"/>
                  <a:pt x="101" y="193"/>
                  <a:pt x="108" y="195"/>
                </a:cubicBezTo>
                <a:cubicBezTo>
                  <a:pt x="129" y="199"/>
                  <a:pt x="163" y="204"/>
                  <a:pt x="207" y="204"/>
                </a:cubicBezTo>
                <a:cubicBezTo>
                  <a:pt x="249" y="204"/>
                  <a:pt x="305" y="198"/>
                  <a:pt x="346" y="185"/>
                </a:cubicBezTo>
                <a:cubicBezTo>
                  <a:pt x="341" y="222"/>
                  <a:pt x="317" y="396"/>
                  <a:pt x="317" y="397"/>
                </a:cubicBezTo>
                <a:cubicBezTo>
                  <a:pt x="317" y="397"/>
                  <a:pt x="315" y="405"/>
                  <a:pt x="309" y="410"/>
                </a:cubicBezTo>
                <a:cubicBezTo>
                  <a:pt x="305" y="412"/>
                  <a:pt x="305" y="412"/>
                  <a:pt x="305" y="412"/>
                </a:cubicBezTo>
                <a:cubicBezTo>
                  <a:pt x="293" y="420"/>
                  <a:pt x="273" y="434"/>
                  <a:pt x="207" y="434"/>
                </a:cubicBezTo>
                <a:cubicBezTo>
                  <a:pt x="145" y="434"/>
                  <a:pt x="107" y="410"/>
                  <a:pt x="99" y="401"/>
                </a:cubicBezTo>
                <a:cubicBezTo>
                  <a:pt x="99" y="400"/>
                  <a:pt x="99" y="399"/>
                  <a:pt x="98" y="398"/>
                </a:cubicBezTo>
                <a:cubicBezTo>
                  <a:pt x="94" y="369"/>
                  <a:pt x="66" y="165"/>
                  <a:pt x="66" y="162"/>
                </a:cubicBezTo>
                <a:cubicBezTo>
                  <a:pt x="65" y="158"/>
                  <a:pt x="62" y="154"/>
                  <a:pt x="58" y="152"/>
                </a:cubicBezTo>
                <a:cubicBezTo>
                  <a:pt x="58" y="152"/>
                  <a:pt x="48" y="147"/>
                  <a:pt x="41" y="143"/>
                </a:cubicBezTo>
                <a:cubicBezTo>
                  <a:pt x="31" y="135"/>
                  <a:pt x="29" y="129"/>
                  <a:pt x="29" y="129"/>
                </a:cubicBezTo>
                <a:cubicBezTo>
                  <a:pt x="28" y="118"/>
                  <a:pt x="27" y="105"/>
                  <a:pt x="27" y="98"/>
                </a:cubicBezTo>
                <a:cubicBezTo>
                  <a:pt x="27" y="97"/>
                  <a:pt x="27" y="96"/>
                  <a:pt x="27" y="96"/>
                </a:cubicBezTo>
                <a:cubicBezTo>
                  <a:pt x="38" y="87"/>
                  <a:pt x="98" y="63"/>
                  <a:pt x="167" y="61"/>
                </a:cubicBezTo>
                <a:cubicBezTo>
                  <a:pt x="174" y="60"/>
                  <a:pt x="179" y="55"/>
                  <a:pt x="180" y="49"/>
                </a:cubicBezTo>
                <a:cubicBezTo>
                  <a:pt x="180" y="49"/>
                  <a:pt x="181" y="35"/>
                  <a:pt x="182" y="27"/>
                </a:cubicBezTo>
                <a:cubicBezTo>
                  <a:pt x="191" y="27"/>
                  <a:pt x="207" y="27"/>
                  <a:pt x="207" y="27"/>
                </a:cubicBezTo>
                <a:cubicBezTo>
                  <a:pt x="207" y="27"/>
                  <a:pt x="224" y="27"/>
                  <a:pt x="232" y="27"/>
                </a:cubicBezTo>
                <a:cubicBezTo>
                  <a:pt x="233" y="35"/>
                  <a:pt x="235" y="49"/>
                  <a:pt x="235" y="49"/>
                </a:cubicBezTo>
                <a:cubicBezTo>
                  <a:pt x="236" y="55"/>
                  <a:pt x="241" y="60"/>
                  <a:pt x="248" y="61"/>
                </a:cubicBezTo>
                <a:cubicBezTo>
                  <a:pt x="316" y="62"/>
                  <a:pt x="376" y="86"/>
                  <a:pt x="388" y="96"/>
                </a:cubicBezTo>
                <a:cubicBezTo>
                  <a:pt x="388" y="96"/>
                  <a:pt x="388" y="97"/>
                  <a:pt x="388" y="98"/>
                </a:cubicBezTo>
                <a:cubicBezTo>
                  <a:pt x="388" y="105"/>
                  <a:pt x="387" y="118"/>
                  <a:pt x="386" y="129"/>
                </a:cubicBezTo>
                <a:cubicBezTo>
                  <a:pt x="386" y="129"/>
                  <a:pt x="385" y="130"/>
                  <a:pt x="385" y="130"/>
                </a:cubicBezTo>
                <a:cubicBezTo>
                  <a:pt x="385" y="137"/>
                  <a:pt x="390" y="143"/>
                  <a:pt x="397" y="144"/>
                </a:cubicBezTo>
                <a:cubicBezTo>
                  <a:pt x="404" y="144"/>
                  <a:pt x="411" y="139"/>
                  <a:pt x="412" y="132"/>
                </a:cubicBezTo>
                <a:cubicBezTo>
                  <a:pt x="413" y="121"/>
                  <a:pt x="415" y="108"/>
                  <a:pt x="415" y="99"/>
                </a:cubicBezTo>
                <a:cubicBezTo>
                  <a:pt x="415" y="94"/>
                  <a:pt x="414" y="89"/>
                  <a:pt x="414" y="87"/>
                </a:cubicBezTo>
                <a:cubicBezTo>
                  <a:pt x="412" y="80"/>
                  <a:pt x="405" y="74"/>
                  <a:pt x="393" y="68"/>
                </a:cubicBezTo>
                <a:cubicBezTo>
                  <a:pt x="383" y="63"/>
                  <a:pt x="371" y="58"/>
                  <a:pt x="357" y="53"/>
                </a:cubicBezTo>
                <a:cubicBezTo>
                  <a:pt x="339" y="47"/>
                  <a:pt x="303" y="37"/>
                  <a:pt x="260" y="34"/>
                </a:cubicBezTo>
                <a:cubicBezTo>
                  <a:pt x="259" y="26"/>
                  <a:pt x="258" y="17"/>
                  <a:pt x="258" y="17"/>
                </a:cubicBezTo>
                <a:cubicBezTo>
                  <a:pt x="258" y="16"/>
                  <a:pt x="258" y="15"/>
                  <a:pt x="258" y="15"/>
                </a:cubicBezTo>
                <a:cubicBezTo>
                  <a:pt x="256" y="8"/>
                  <a:pt x="250" y="0"/>
                  <a:pt x="241" y="0"/>
                </a:cubicBezTo>
                <a:cubicBezTo>
                  <a:pt x="237" y="0"/>
                  <a:pt x="237" y="0"/>
                  <a:pt x="237" y="0"/>
                </a:cubicBezTo>
                <a:cubicBezTo>
                  <a:pt x="207" y="0"/>
                  <a:pt x="207" y="0"/>
                  <a:pt x="207" y="0"/>
                </a:cubicBezTo>
                <a:cubicBezTo>
                  <a:pt x="207" y="0"/>
                  <a:pt x="174" y="0"/>
                  <a:pt x="174" y="0"/>
                </a:cubicBezTo>
                <a:close/>
                <a:moveTo>
                  <a:pt x="241" y="27"/>
                </a:moveTo>
                <a:cubicBezTo>
                  <a:pt x="241" y="27"/>
                  <a:pt x="241" y="27"/>
                  <a:pt x="241" y="2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7" name="Freeform 604"/>
          <p:cNvSpPr>
            <a:spLocks/>
          </p:cNvSpPr>
          <p:nvPr userDrawn="1"/>
        </p:nvSpPr>
        <p:spPr bwMode="auto">
          <a:xfrm>
            <a:off x="10533022" y="5197689"/>
            <a:ext cx="427037" cy="250825"/>
          </a:xfrm>
          <a:custGeom>
            <a:avLst/>
            <a:gdLst/>
            <a:ahLst/>
            <a:cxnLst>
              <a:cxn ang="0">
                <a:pos x="0" y="146"/>
              </a:cxn>
              <a:cxn ang="0">
                <a:pos x="3" y="156"/>
              </a:cxn>
              <a:cxn ang="0">
                <a:pos x="12" y="160"/>
              </a:cxn>
              <a:cxn ang="0">
                <a:pos x="124" y="160"/>
              </a:cxn>
              <a:cxn ang="0">
                <a:pos x="137" y="147"/>
              </a:cxn>
              <a:cxn ang="0">
                <a:pos x="124" y="135"/>
              </a:cxn>
              <a:cxn ang="0">
                <a:pos x="26" y="135"/>
              </a:cxn>
              <a:cxn ang="0">
                <a:pos x="162" y="24"/>
              </a:cxn>
              <a:cxn ang="0">
                <a:pos x="300" y="163"/>
              </a:cxn>
              <a:cxn ang="0">
                <a:pos x="308" y="174"/>
              </a:cxn>
              <a:cxn ang="0">
                <a:pos x="333" y="185"/>
              </a:cxn>
              <a:cxn ang="0">
                <a:pos x="296" y="190"/>
              </a:cxn>
              <a:cxn ang="0">
                <a:pos x="296" y="190"/>
              </a:cxn>
              <a:cxn ang="0">
                <a:pos x="225" y="180"/>
              </a:cxn>
              <a:cxn ang="0">
                <a:pos x="222" y="180"/>
              </a:cxn>
              <a:cxn ang="0">
                <a:pos x="47" y="180"/>
              </a:cxn>
              <a:cxn ang="0">
                <a:pos x="35" y="192"/>
              </a:cxn>
              <a:cxn ang="0">
                <a:pos x="35" y="208"/>
              </a:cxn>
              <a:cxn ang="0">
                <a:pos x="47" y="221"/>
              </a:cxn>
              <a:cxn ang="0">
                <a:pos x="59" y="208"/>
              </a:cxn>
              <a:cxn ang="0">
                <a:pos x="59" y="204"/>
              </a:cxn>
              <a:cxn ang="0">
                <a:pos x="220" y="204"/>
              </a:cxn>
              <a:cxn ang="0">
                <a:pos x="296" y="215"/>
              </a:cxn>
              <a:cxn ang="0">
                <a:pos x="296" y="215"/>
              </a:cxn>
              <a:cxn ang="0">
                <a:pos x="372" y="198"/>
              </a:cxn>
              <a:cxn ang="0">
                <a:pos x="379" y="187"/>
              </a:cxn>
              <a:cxn ang="0">
                <a:pos x="379" y="187"/>
              </a:cxn>
              <a:cxn ang="0">
                <a:pos x="372" y="176"/>
              </a:cxn>
              <a:cxn ang="0">
                <a:pos x="324" y="155"/>
              </a:cxn>
              <a:cxn ang="0">
                <a:pos x="162" y="0"/>
              </a:cxn>
              <a:cxn ang="0">
                <a:pos x="0" y="146"/>
              </a:cxn>
            </a:cxnLst>
            <a:rect l="0" t="0" r="r" b="b"/>
            <a:pathLst>
              <a:path w="379" h="221">
                <a:moveTo>
                  <a:pt x="0" y="146"/>
                </a:moveTo>
                <a:cubicBezTo>
                  <a:pt x="0" y="150"/>
                  <a:pt x="1" y="153"/>
                  <a:pt x="3" y="156"/>
                </a:cubicBezTo>
                <a:cubicBezTo>
                  <a:pt x="5" y="158"/>
                  <a:pt x="9" y="160"/>
                  <a:pt x="12" y="160"/>
                </a:cubicBezTo>
                <a:cubicBezTo>
                  <a:pt x="124" y="160"/>
                  <a:pt x="124" y="160"/>
                  <a:pt x="124" y="160"/>
                </a:cubicBezTo>
                <a:cubicBezTo>
                  <a:pt x="131" y="160"/>
                  <a:pt x="137" y="154"/>
                  <a:pt x="137" y="147"/>
                </a:cubicBezTo>
                <a:cubicBezTo>
                  <a:pt x="137" y="141"/>
                  <a:pt x="131" y="135"/>
                  <a:pt x="124" y="135"/>
                </a:cubicBezTo>
                <a:cubicBezTo>
                  <a:pt x="124" y="135"/>
                  <a:pt x="48" y="135"/>
                  <a:pt x="26" y="135"/>
                </a:cubicBezTo>
                <a:cubicBezTo>
                  <a:pt x="39" y="71"/>
                  <a:pt x="95" y="24"/>
                  <a:pt x="162" y="24"/>
                </a:cubicBezTo>
                <a:cubicBezTo>
                  <a:pt x="238" y="24"/>
                  <a:pt x="300" y="87"/>
                  <a:pt x="300" y="163"/>
                </a:cubicBezTo>
                <a:cubicBezTo>
                  <a:pt x="300" y="168"/>
                  <a:pt x="303" y="172"/>
                  <a:pt x="308" y="174"/>
                </a:cubicBezTo>
                <a:cubicBezTo>
                  <a:pt x="308" y="174"/>
                  <a:pt x="320" y="180"/>
                  <a:pt x="333" y="185"/>
                </a:cubicBezTo>
                <a:cubicBezTo>
                  <a:pt x="322" y="188"/>
                  <a:pt x="309" y="190"/>
                  <a:pt x="296" y="190"/>
                </a:cubicBezTo>
                <a:cubicBezTo>
                  <a:pt x="296" y="190"/>
                  <a:pt x="296" y="190"/>
                  <a:pt x="296" y="190"/>
                </a:cubicBezTo>
                <a:cubicBezTo>
                  <a:pt x="263" y="190"/>
                  <a:pt x="225" y="180"/>
                  <a:pt x="225" y="180"/>
                </a:cubicBezTo>
                <a:cubicBezTo>
                  <a:pt x="224" y="180"/>
                  <a:pt x="223" y="180"/>
                  <a:pt x="222" y="180"/>
                </a:cubicBezTo>
                <a:cubicBezTo>
                  <a:pt x="47" y="180"/>
                  <a:pt x="47" y="180"/>
                  <a:pt x="47" y="180"/>
                </a:cubicBezTo>
                <a:cubicBezTo>
                  <a:pt x="40" y="180"/>
                  <a:pt x="35" y="185"/>
                  <a:pt x="35" y="192"/>
                </a:cubicBezTo>
                <a:cubicBezTo>
                  <a:pt x="35" y="208"/>
                  <a:pt x="35" y="208"/>
                  <a:pt x="35" y="208"/>
                </a:cubicBezTo>
                <a:cubicBezTo>
                  <a:pt x="35" y="215"/>
                  <a:pt x="40" y="221"/>
                  <a:pt x="47" y="221"/>
                </a:cubicBezTo>
                <a:cubicBezTo>
                  <a:pt x="54" y="221"/>
                  <a:pt x="59" y="215"/>
                  <a:pt x="59" y="208"/>
                </a:cubicBezTo>
                <a:cubicBezTo>
                  <a:pt x="59" y="208"/>
                  <a:pt x="59" y="206"/>
                  <a:pt x="59" y="204"/>
                </a:cubicBezTo>
                <a:cubicBezTo>
                  <a:pt x="80" y="204"/>
                  <a:pt x="217" y="204"/>
                  <a:pt x="220" y="204"/>
                </a:cubicBezTo>
                <a:cubicBezTo>
                  <a:pt x="227" y="206"/>
                  <a:pt x="263" y="215"/>
                  <a:pt x="296" y="215"/>
                </a:cubicBezTo>
                <a:cubicBezTo>
                  <a:pt x="296" y="215"/>
                  <a:pt x="296" y="215"/>
                  <a:pt x="296" y="215"/>
                </a:cubicBezTo>
                <a:cubicBezTo>
                  <a:pt x="333" y="215"/>
                  <a:pt x="370" y="199"/>
                  <a:pt x="372" y="198"/>
                </a:cubicBezTo>
                <a:cubicBezTo>
                  <a:pt x="376" y="196"/>
                  <a:pt x="379" y="192"/>
                  <a:pt x="379" y="187"/>
                </a:cubicBezTo>
                <a:cubicBezTo>
                  <a:pt x="379" y="187"/>
                  <a:pt x="379" y="187"/>
                  <a:pt x="379" y="187"/>
                </a:cubicBezTo>
                <a:cubicBezTo>
                  <a:pt x="379" y="182"/>
                  <a:pt x="376" y="178"/>
                  <a:pt x="372" y="176"/>
                </a:cubicBezTo>
                <a:cubicBezTo>
                  <a:pt x="372" y="176"/>
                  <a:pt x="335" y="159"/>
                  <a:pt x="324" y="155"/>
                </a:cubicBezTo>
                <a:cubicBezTo>
                  <a:pt x="320" y="69"/>
                  <a:pt x="249" y="0"/>
                  <a:pt x="162" y="0"/>
                </a:cubicBezTo>
                <a:cubicBezTo>
                  <a:pt x="78" y="0"/>
                  <a:pt x="8" y="63"/>
                  <a:pt x="0" y="14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8" name="Freeform 620"/>
          <p:cNvSpPr>
            <a:spLocks/>
          </p:cNvSpPr>
          <p:nvPr userDrawn="1"/>
        </p:nvSpPr>
        <p:spPr bwMode="auto">
          <a:xfrm>
            <a:off x="10510800" y="3107639"/>
            <a:ext cx="471487" cy="280988"/>
          </a:xfrm>
          <a:custGeom>
            <a:avLst/>
            <a:gdLst/>
            <a:ahLst/>
            <a:cxnLst>
              <a:cxn ang="0">
                <a:pos x="221" y="248"/>
              </a:cxn>
              <a:cxn ang="0">
                <a:pos x="342" y="248"/>
              </a:cxn>
              <a:cxn ang="0">
                <a:pos x="419" y="171"/>
              </a:cxn>
              <a:cxn ang="0">
                <a:pos x="344" y="92"/>
              </a:cxn>
              <a:cxn ang="0">
                <a:pos x="324" y="95"/>
              </a:cxn>
              <a:cxn ang="0">
                <a:pos x="286" y="32"/>
              </a:cxn>
              <a:cxn ang="0">
                <a:pos x="201" y="0"/>
              </a:cxn>
              <a:cxn ang="0">
                <a:pos x="86" y="76"/>
              </a:cxn>
              <a:cxn ang="0">
                <a:pos x="30" y="95"/>
              </a:cxn>
              <a:cxn ang="0">
                <a:pos x="0" y="162"/>
              </a:cxn>
              <a:cxn ang="0">
                <a:pos x="25" y="224"/>
              </a:cxn>
              <a:cxn ang="0">
                <a:pos x="86" y="248"/>
              </a:cxn>
              <a:cxn ang="0">
                <a:pos x="126" y="248"/>
              </a:cxn>
              <a:cxn ang="0">
                <a:pos x="139" y="235"/>
              </a:cxn>
              <a:cxn ang="0">
                <a:pos x="126" y="221"/>
              </a:cxn>
              <a:cxn ang="0">
                <a:pos x="86" y="221"/>
              </a:cxn>
              <a:cxn ang="0">
                <a:pos x="44" y="205"/>
              </a:cxn>
              <a:cxn ang="0">
                <a:pos x="26" y="162"/>
              </a:cxn>
              <a:cxn ang="0">
                <a:pos x="47" y="115"/>
              </a:cxn>
              <a:cxn ang="0">
                <a:pos x="84" y="102"/>
              </a:cxn>
              <a:cxn ang="0">
                <a:pos x="93" y="103"/>
              </a:cxn>
              <a:cxn ang="0">
                <a:pos x="107" y="94"/>
              </a:cxn>
              <a:cxn ang="0">
                <a:pos x="201" y="27"/>
              </a:cxn>
              <a:cxn ang="0">
                <a:pos x="268" y="52"/>
              </a:cxn>
              <a:cxn ang="0">
                <a:pos x="300" y="114"/>
              </a:cxn>
              <a:cxn ang="0">
                <a:pos x="306" y="124"/>
              </a:cxn>
              <a:cxn ang="0">
                <a:pos x="318" y="125"/>
              </a:cxn>
              <a:cxn ang="0">
                <a:pos x="327" y="122"/>
              </a:cxn>
              <a:cxn ang="0">
                <a:pos x="344" y="119"/>
              </a:cxn>
              <a:cxn ang="0">
                <a:pos x="378" y="134"/>
              </a:cxn>
              <a:cxn ang="0">
                <a:pos x="392" y="171"/>
              </a:cxn>
              <a:cxn ang="0">
                <a:pos x="342" y="221"/>
              </a:cxn>
              <a:cxn ang="0">
                <a:pos x="196" y="222"/>
              </a:cxn>
              <a:cxn ang="0">
                <a:pos x="185" y="227"/>
              </a:cxn>
              <a:cxn ang="0">
                <a:pos x="184" y="240"/>
              </a:cxn>
              <a:cxn ang="0">
                <a:pos x="189" y="246"/>
              </a:cxn>
              <a:cxn ang="0">
                <a:pos x="193" y="247"/>
              </a:cxn>
              <a:cxn ang="0">
                <a:pos x="197" y="248"/>
              </a:cxn>
              <a:cxn ang="0">
                <a:pos x="205" y="248"/>
              </a:cxn>
              <a:cxn ang="0">
                <a:pos x="216" y="248"/>
              </a:cxn>
              <a:cxn ang="0">
                <a:pos x="221" y="248"/>
              </a:cxn>
            </a:cxnLst>
            <a:rect l="0" t="0" r="r" b="b"/>
            <a:pathLst>
              <a:path w="419" h="248">
                <a:moveTo>
                  <a:pt x="221" y="248"/>
                </a:moveTo>
                <a:cubicBezTo>
                  <a:pt x="342" y="248"/>
                  <a:pt x="342" y="248"/>
                  <a:pt x="342" y="248"/>
                </a:cubicBezTo>
                <a:cubicBezTo>
                  <a:pt x="385" y="248"/>
                  <a:pt x="419" y="213"/>
                  <a:pt x="419" y="171"/>
                </a:cubicBezTo>
                <a:cubicBezTo>
                  <a:pt x="419" y="127"/>
                  <a:pt x="385" y="92"/>
                  <a:pt x="344" y="92"/>
                </a:cubicBezTo>
                <a:cubicBezTo>
                  <a:pt x="337" y="92"/>
                  <a:pt x="330" y="93"/>
                  <a:pt x="324" y="95"/>
                </a:cubicBezTo>
                <a:cubicBezTo>
                  <a:pt x="318" y="71"/>
                  <a:pt x="305" y="49"/>
                  <a:pt x="286" y="32"/>
                </a:cubicBezTo>
                <a:cubicBezTo>
                  <a:pt x="262" y="11"/>
                  <a:pt x="232" y="0"/>
                  <a:pt x="201" y="0"/>
                </a:cubicBezTo>
                <a:cubicBezTo>
                  <a:pt x="150" y="0"/>
                  <a:pt x="105" y="30"/>
                  <a:pt x="86" y="76"/>
                </a:cubicBezTo>
                <a:cubicBezTo>
                  <a:pt x="66" y="74"/>
                  <a:pt x="46" y="81"/>
                  <a:pt x="30" y="95"/>
                </a:cubicBezTo>
                <a:cubicBezTo>
                  <a:pt x="11" y="112"/>
                  <a:pt x="0" y="137"/>
                  <a:pt x="0" y="162"/>
                </a:cubicBezTo>
                <a:cubicBezTo>
                  <a:pt x="0" y="185"/>
                  <a:pt x="9" y="207"/>
                  <a:pt x="25" y="224"/>
                </a:cubicBezTo>
                <a:cubicBezTo>
                  <a:pt x="41" y="240"/>
                  <a:pt x="63" y="248"/>
                  <a:pt x="86" y="248"/>
                </a:cubicBezTo>
                <a:cubicBezTo>
                  <a:pt x="126" y="248"/>
                  <a:pt x="126" y="248"/>
                  <a:pt x="126" y="248"/>
                </a:cubicBezTo>
                <a:cubicBezTo>
                  <a:pt x="133" y="248"/>
                  <a:pt x="139" y="242"/>
                  <a:pt x="139" y="235"/>
                </a:cubicBezTo>
                <a:cubicBezTo>
                  <a:pt x="139" y="227"/>
                  <a:pt x="133" y="221"/>
                  <a:pt x="126" y="221"/>
                </a:cubicBezTo>
                <a:cubicBezTo>
                  <a:pt x="86" y="221"/>
                  <a:pt x="86" y="221"/>
                  <a:pt x="86" y="221"/>
                </a:cubicBezTo>
                <a:cubicBezTo>
                  <a:pt x="70" y="221"/>
                  <a:pt x="55" y="216"/>
                  <a:pt x="44" y="205"/>
                </a:cubicBezTo>
                <a:cubicBezTo>
                  <a:pt x="32" y="193"/>
                  <a:pt x="26" y="178"/>
                  <a:pt x="26" y="162"/>
                </a:cubicBezTo>
                <a:cubicBezTo>
                  <a:pt x="26" y="144"/>
                  <a:pt x="34" y="127"/>
                  <a:pt x="47" y="115"/>
                </a:cubicBezTo>
                <a:cubicBezTo>
                  <a:pt x="58" y="105"/>
                  <a:pt x="71" y="101"/>
                  <a:pt x="84" y="102"/>
                </a:cubicBezTo>
                <a:cubicBezTo>
                  <a:pt x="93" y="103"/>
                  <a:pt x="93" y="103"/>
                  <a:pt x="93" y="103"/>
                </a:cubicBezTo>
                <a:cubicBezTo>
                  <a:pt x="99" y="104"/>
                  <a:pt x="105" y="100"/>
                  <a:pt x="107" y="94"/>
                </a:cubicBezTo>
                <a:cubicBezTo>
                  <a:pt x="121" y="54"/>
                  <a:pt x="158" y="27"/>
                  <a:pt x="201" y="27"/>
                </a:cubicBezTo>
                <a:cubicBezTo>
                  <a:pt x="226" y="27"/>
                  <a:pt x="250" y="36"/>
                  <a:pt x="268" y="52"/>
                </a:cubicBezTo>
                <a:cubicBezTo>
                  <a:pt x="286" y="68"/>
                  <a:pt x="298" y="90"/>
                  <a:pt x="300" y="114"/>
                </a:cubicBezTo>
                <a:cubicBezTo>
                  <a:pt x="301" y="118"/>
                  <a:pt x="303" y="122"/>
                  <a:pt x="306" y="124"/>
                </a:cubicBezTo>
                <a:cubicBezTo>
                  <a:pt x="310" y="126"/>
                  <a:pt x="314" y="126"/>
                  <a:pt x="318" y="125"/>
                </a:cubicBezTo>
                <a:cubicBezTo>
                  <a:pt x="318" y="125"/>
                  <a:pt x="327" y="122"/>
                  <a:pt x="327" y="122"/>
                </a:cubicBezTo>
                <a:cubicBezTo>
                  <a:pt x="332" y="120"/>
                  <a:pt x="338" y="119"/>
                  <a:pt x="344" y="119"/>
                </a:cubicBezTo>
                <a:cubicBezTo>
                  <a:pt x="357" y="119"/>
                  <a:pt x="369" y="124"/>
                  <a:pt x="378" y="134"/>
                </a:cubicBezTo>
                <a:cubicBezTo>
                  <a:pt x="387" y="144"/>
                  <a:pt x="392" y="157"/>
                  <a:pt x="392" y="171"/>
                </a:cubicBezTo>
                <a:cubicBezTo>
                  <a:pt x="392" y="198"/>
                  <a:pt x="370" y="221"/>
                  <a:pt x="342" y="221"/>
                </a:cubicBezTo>
                <a:cubicBezTo>
                  <a:pt x="196" y="222"/>
                  <a:pt x="196" y="222"/>
                  <a:pt x="196" y="222"/>
                </a:cubicBezTo>
                <a:cubicBezTo>
                  <a:pt x="192" y="222"/>
                  <a:pt x="188" y="224"/>
                  <a:pt x="185" y="227"/>
                </a:cubicBezTo>
                <a:cubicBezTo>
                  <a:pt x="183" y="231"/>
                  <a:pt x="182" y="237"/>
                  <a:pt x="184" y="240"/>
                </a:cubicBezTo>
                <a:cubicBezTo>
                  <a:pt x="184" y="240"/>
                  <a:pt x="186" y="244"/>
                  <a:pt x="189" y="246"/>
                </a:cubicBezTo>
                <a:cubicBezTo>
                  <a:pt x="190" y="246"/>
                  <a:pt x="192" y="247"/>
                  <a:pt x="193" y="247"/>
                </a:cubicBezTo>
                <a:cubicBezTo>
                  <a:pt x="195" y="248"/>
                  <a:pt x="197" y="248"/>
                  <a:pt x="197" y="248"/>
                </a:cubicBezTo>
                <a:cubicBezTo>
                  <a:pt x="205" y="248"/>
                  <a:pt x="205" y="248"/>
                  <a:pt x="205" y="248"/>
                </a:cubicBezTo>
                <a:cubicBezTo>
                  <a:pt x="216" y="248"/>
                  <a:pt x="216" y="248"/>
                  <a:pt x="216" y="248"/>
                </a:cubicBezTo>
                <a:lnTo>
                  <a:pt x="221" y="248"/>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49" name="Freeform 656"/>
          <p:cNvSpPr>
            <a:spLocks/>
          </p:cNvSpPr>
          <p:nvPr userDrawn="1"/>
        </p:nvSpPr>
        <p:spPr bwMode="auto">
          <a:xfrm>
            <a:off x="10490156" y="1748539"/>
            <a:ext cx="512762" cy="511175"/>
          </a:xfrm>
          <a:custGeom>
            <a:avLst/>
            <a:gdLst/>
            <a:ahLst/>
            <a:cxnLst>
              <a:cxn ang="0">
                <a:pos x="227" y="1"/>
              </a:cxn>
              <a:cxn ang="0">
                <a:pos x="11" y="46"/>
              </a:cxn>
              <a:cxn ang="0">
                <a:pos x="1" y="54"/>
              </a:cxn>
              <a:cxn ang="0">
                <a:pos x="0" y="59"/>
              </a:cxn>
              <a:cxn ang="0">
                <a:pos x="2" y="66"/>
              </a:cxn>
              <a:cxn ang="0">
                <a:pos x="45" y="147"/>
              </a:cxn>
              <a:cxn ang="0">
                <a:pos x="45" y="330"/>
              </a:cxn>
              <a:cxn ang="0">
                <a:pos x="50" y="341"/>
              </a:cxn>
              <a:cxn ang="0">
                <a:pos x="186" y="450"/>
              </a:cxn>
              <a:cxn ang="0">
                <a:pos x="200" y="452"/>
              </a:cxn>
              <a:cxn ang="0">
                <a:pos x="208" y="440"/>
              </a:cxn>
              <a:cxn ang="0">
                <a:pos x="208" y="240"/>
              </a:cxn>
              <a:cxn ang="0">
                <a:pos x="250" y="194"/>
              </a:cxn>
              <a:cxn ang="0">
                <a:pos x="368" y="163"/>
              </a:cxn>
              <a:cxn ang="0">
                <a:pos x="378" y="150"/>
              </a:cxn>
              <a:cxn ang="0">
                <a:pos x="377" y="147"/>
              </a:cxn>
              <a:cxn ang="0">
                <a:pos x="361" y="137"/>
              </a:cxn>
              <a:cxn ang="0">
                <a:pos x="240" y="169"/>
              </a:cxn>
              <a:cxn ang="0">
                <a:pos x="234" y="173"/>
              </a:cxn>
              <a:cxn ang="0">
                <a:pos x="184" y="225"/>
              </a:cxn>
              <a:cxn ang="0">
                <a:pos x="181" y="235"/>
              </a:cxn>
              <a:cxn ang="0">
                <a:pos x="181" y="412"/>
              </a:cxn>
              <a:cxn ang="0">
                <a:pos x="72" y="324"/>
              </a:cxn>
              <a:cxn ang="0">
                <a:pos x="72" y="143"/>
              </a:cxn>
              <a:cxn ang="0">
                <a:pos x="70" y="137"/>
              </a:cxn>
              <a:cxn ang="0">
                <a:pos x="34" y="69"/>
              </a:cxn>
              <a:cxn ang="0">
                <a:pos x="224" y="29"/>
              </a:cxn>
              <a:cxn ang="0">
                <a:pos x="265" y="91"/>
              </a:cxn>
              <a:cxn ang="0">
                <a:pos x="273" y="97"/>
              </a:cxn>
              <a:cxn ang="0">
                <a:pos x="420" y="130"/>
              </a:cxn>
              <a:cxn ang="0">
                <a:pos x="364" y="218"/>
              </a:cxn>
              <a:cxn ang="0">
                <a:pos x="362" y="225"/>
              </a:cxn>
              <a:cxn ang="0">
                <a:pos x="361" y="372"/>
              </a:cxn>
              <a:cxn ang="0">
                <a:pos x="242" y="414"/>
              </a:cxn>
              <a:cxn ang="0">
                <a:pos x="233" y="426"/>
              </a:cxn>
              <a:cxn ang="0">
                <a:pos x="234" y="431"/>
              </a:cxn>
              <a:cxn ang="0">
                <a:pos x="251" y="439"/>
              </a:cxn>
              <a:cxn ang="0">
                <a:pos x="379" y="394"/>
              </a:cxn>
              <a:cxn ang="0">
                <a:pos x="388" y="381"/>
              </a:cxn>
              <a:cxn ang="0">
                <a:pos x="388" y="229"/>
              </a:cxn>
              <a:cxn ang="0">
                <a:pos x="452" y="129"/>
              </a:cxn>
              <a:cxn ang="0">
                <a:pos x="455" y="122"/>
              </a:cxn>
              <a:cxn ang="0">
                <a:pos x="454" y="117"/>
              </a:cxn>
              <a:cxn ang="0">
                <a:pos x="444" y="109"/>
              </a:cxn>
              <a:cxn ang="0">
                <a:pos x="284" y="72"/>
              </a:cxn>
              <a:cxn ang="0">
                <a:pos x="241" y="7"/>
              </a:cxn>
              <a:cxn ang="0">
                <a:pos x="227" y="1"/>
              </a:cxn>
            </a:cxnLst>
            <a:rect l="0" t="0" r="r" b="b"/>
            <a:pathLst>
              <a:path w="455" h="454">
                <a:moveTo>
                  <a:pt x="227" y="1"/>
                </a:moveTo>
                <a:cubicBezTo>
                  <a:pt x="11" y="46"/>
                  <a:pt x="11" y="46"/>
                  <a:pt x="11" y="46"/>
                </a:cubicBezTo>
                <a:cubicBezTo>
                  <a:pt x="7" y="47"/>
                  <a:pt x="3" y="50"/>
                  <a:pt x="1" y="54"/>
                </a:cubicBezTo>
                <a:cubicBezTo>
                  <a:pt x="1" y="55"/>
                  <a:pt x="0" y="57"/>
                  <a:pt x="0" y="59"/>
                </a:cubicBezTo>
                <a:cubicBezTo>
                  <a:pt x="0" y="61"/>
                  <a:pt x="1" y="64"/>
                  <a:pt x="2" y="66"/>
                </a:cubicBezTo>
                <a:cubicBezTo>
                  <a:pt x="2" y="66"/>
                  <a:pt x="42" y="141"/>
                  <a:pt x="45" y="147"/>
                </a:cubicBezTo>
                <a:cubicBezTo>
                  <a:pt x="45" y="153"/>
                  <a:pt x="45" y="330"/>
                  <a:pt x="45" y="330"/>
                </a:cubicBezTo>
                <a:cubicBezTo>
                  <a:pt x="45" y="334"/>
                  <a:pt x="47" y="338"/>
                  <a:pt x="50" y="341"/>
                </a:cubicBezTo>
                <a:cubicBezTo>
                  <a:pt x="186" y="450"/>
                  <a:pt x="186" y="450"/>
                  <a:pt x="186" y="450"/>
                </a:cubicBezTo>
                <a:cubicBezTo>
                  <a:pt x="190" y="454"/>
                  <a:pt x="195" y="454"/>
                  <a:pt x="200" y="452"/>
                </a:cubicBezTo>
                <a:cubicBezTo>
                  <a:pt x="205" y="450"/>
                  <a:pt x="208" y="445"/>
                  <a:pt x="208" y="440"/>
                </a:cubicBezTo>
                <a:cubicBezTo>
                  <a:pt x="208" y="440"/>
                  <a:pt x="208" y="250"/>
                  <a:pt x="208" y="240"/>
                </a:cubicBezTo>
                <a:cubicBezTo>
                  <a:pt x="213" y="234"/>
                  <a:pt x="246" y="199"/>
                  <a:pt x="250" y="194"/>
                </a:cubicBezTo>
                <a:cubicBezTo>
                  <a:pt x="257" y="192"/>
                  <a:pt x="368" y="163"/>
                  <a:pt x="368" y="163"/>
                </a:cubicBezTo>
                <a:cubicBezTo>
                  <a:pt x="374" y="161"/>
                  <a:pt x="378" y="156"/>
                  <a:pt x="378" y="150"/>
                </a:cubicBezTo>
                <a:cubicBezTo>
                  <a:pt x="378" y="149"/>
                  <a:pt x="378" y="148"/>
                  <a:pt x="377" y="147"/>
                </a:cubicBezTo>
                <a:cubicBezTo>
                  <a:pt x="375" y="139"/>
                  <a:pt x="368" y="135"/>
                  <a:pt x="361" y="137"/>
                </a:cubicBezTo>
                <a:cubicBezTo>
                  <a:pt x="240" y="169"/>
                  <a:pt x="240" y="169"/>
                  <a:pt x="240" y="169"/>
                </a:cubicBezTo>
                <a:cubicBezTo>
                  <a:pt x="238" y="170"/>
                  <a:pt x="235" y="171"/>
                  <a:pt x="234" y="173"/>
                </a:cubicBezTo>
                <a:cubicBezTo>
                  <a:pt x="184" y="225"/>
                  <a:pt x="184" y="225"/>
                  <a:pt x="184" y="225"/>
                </a:cubicBezTo>
                <a:cubicBezTo>
                  <a:pt x="182" y="228"/>
                  <a:pt x="181" y="231"/>
                  <a:pt x="181" y="235"/>
                </a:cubicBezTo>
                <a:cubicBezTo>
                  <a:pt x="181" y="235"/>
                  <a:pt x="181" y="370"/>
                  <a:pt x="181" y="412"/>
                </a:cubicBezTo>
                <a:cubicBezTo>
                  <a:pt x="151" y="388"/>
                  <a:pt x="79" y="330"/>
                  <a:pt x="72" y="324"/>
                </a:cubicBezTo>
                <a:cubicBezTo>
                  <a:pt x="72" y="312"/>
                  <a:pt x="72" y="143"/>
                  <a:pt x="72" y="143"/>
                </a:cubicBezTo>
                <a:cubicBezTo>
                  <a:pt x="72" y="141"/>
                  <a:pt x="71" y="139"/>
                  <a:pt x="70" y="137"/>
                </a:cubicBezTo>
                <a:cubicBezTo>
                  <a:pt x="70" y="137"/>
                  <a:pt x="45" y="90"/>
                  <a:pt x="34" y="69"/>
                </a:cubicBezTo>
                <a:cubicBezTo>
                  <a:pt x="62" y="63"/>
                  <a:pt x="209" y="32"/>
                  <a:pt x="224" y="29"/>
                </a:cubicBezTo>
                <a:cubicBezTo>
                  <a:pt x="232" y="41"/>
                  <a:pt x="265" y="91"/>
                  <a:pt x="265" y="91"/>
                </a:cubicBezTo>
                <a:cubicBezTo>
                  <a:pt x="267" y="94"/>
                  <a:pt x="270" y="96"/>
                  <a:pt x="273" y="97"/>
                </a:cubicBezTo>
                <a:cubicBezTo>
                  <a:pt x="273" y="97"/>
                  <a:pt x="391" y="124"/>
                  <a:pt x="420" y="130"/>
                </a:cubicBezTo>
                <a:cubicBezTo>
                  <a:pt x="405" y="153"/>
                  <a:pt x="364" y="218"/>
                  <a:pt x="364" y="218"/>
                </a:cubicBezTo>
                <a:cubicBezTo>
                  <a:pt x="362" y="220"/>
                  <a:pt x="362" y="223"/>
                  <a:pt x="362" y="225"/>
                </a:cubicBezTo>
                <a:cubicBezTo>
                  <a:pt x="362" y="225"/>
                  <a:pt x="361" y="355"/>
                  <a:pt x="361" y="372"/>
                </a:cubicBezTo>
                <a:cubicBezTo>
                  <a:pt x="346" y="377"/>
                  <a:pt x="242" y="414"/>
                  <a:pt x="242" y="414"/>
                </a:cubicBezTo>
                <a:cubicBezTo>
                  <a:pt x="236" y="416"/>
                  <a:pt x="233" y="421"/>
                  <a:pt x="233" y="426"/>
                </a:cubicBezTo>
                <a:cubicBezTo>
                  <a:pt x="233" y="428"/>
                  <a:pt x="233" y="429"/>
                  <a:pt x="234" y="431"/>
                </a:cubicBezTo>
                <a:cubicBezTo>
                  <a:pt x="236" y="438"/>
                  <a:pt x="244" y="441"/>
                  <a:pt x="251" y="439"/>
                </a:cubicBezTo>
                <a:cubicBezTo>
                  <a:pt x="379" y="394"/>
                  <a:pt x="379" y="394"/>
                  <a:pt x="379" y="394"/>
                </a:cubicBezTo>
                <a:cubicBezTo>
                  <a:pt x="384" y="392"/>
                  <a:pt x="388" y="387"/>
                  <a:pt x="388" y="381"/>
                </a:cubicBezTo>
                <a:cubicBezTo>
                  <a:pt x="388" y="381"/>
                  <a:pt x="388" y="236"/>
                  <a:pt x="388" y="229"/>
                </a:cubicBezTo>
                <a:cubicBezTo>
                  <a:pt x="392" y="223"/>
                  <a:pt x="452" y="129"/>
                  <a:pt x="452" y="129"/>
                </a:cubicBezTo>
                <a:cubicBezTo>
                  <a:pt x="454" y="127"/>
                  <a:pt x="455" y="124"/>
                  <a:pt x="455" y="122"/>
                </a:cubicBezTo>
                <a:cubicBezTo>
                  <a:pt x="455" y="120"/>
                  <a:pt x="454" y="118"/>
                  <a:pt x="454" y="117"/>
                </a:cubicBezTo>
                <a:cubicBezTo>
                  <a:pt x="452" y="113"/>
                  <a:pt x="448" y="110"/>
                  <a:pt x="444" y="109"/>
                </a:cubicBezTo>
                <a:cubicBezTo>
                  <a:pt x="444" y="109"/>
                  <a:pt x="294" y="74"/>
                  <a:pt x="284" y="72"/>
                </a:cubicBezTo>
                <a:cubicBezTo>
                  <a:pt x="279" y="64"/>
                  <a:pt x="241" y="7"/>
                  <a:pt x="241" y="7"/>
                </a:cubicBezTo>
                <a:cubicBezTo>
                  <a:pt x="238" y="3"/>
                  <a:pt x="233" y="0"/>
                  <a:pt x="227" y="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0" name="Freeform 660"/>
          <p:cNvSpPr>
            <a:spLocks/>
          </p:cNvSpPr>
          <p:nvPr userDrawn="1"/>
        </p:nvSpPr>
        <p:spPr bwMode="auto">
          <a:xfrm>
            <a:off x="10610013" y="1191033"/>
            <a:ext cx="273050" cy="461963"/>
          </a:xfrm>
          <a:custGeom>
            <a:avLst/>
            <a:gdLst/>
            <a:ahLst/>
            <a:cxnLst>
              <a:cxn ang="0">
                <a:pos x="172" y="259"/>
              </a:cxn>
              <a:cxn ang="0">
                <a:pos x="172" y="291"/>
              </a:cxn>
              <a:cxn ang="0">
                <a:pos x="0" y="291"/>
              </a:cxn>
              <a:cxn ang="0">
                <a:pos x="0" y="259"/>
              </a:cxn>
              <a:cxn ang="0">
                <a:pos x="19" y="232"/>
              </a:cxn>
              <a:cxn ang="0">
                <a:pos x="153" y="232"/>
              </a:cxn>
              <a:cxn ang="0">
                <a:pos x="142" y="199"/>
              </a:cxn>
              <a:cxn ang="0">
                <a:pos x="31" y="199"/>
              </a:cxn>
              <a:cxn ang="0">
                <a:pos x="34" y="167"/>
              </a:cxn>
              <a:cxn ang="0">
                <a:pos x="139" y="167"/>
              </a:cxn>
              <a:cxn ang="0">
                <a:pos x="139" y="75"/>
              </a:cxn>
              <a:cxn ang="0">
                <a:pos x="166" y="75"/>
              </a:cxn>
              <a:cxn ang="0">
                <a:pos x="166" y="0"/>
              </a:cxn>
              <a:cxn ang="0">
                <a:pos x="132" y="0"/>
              </a:cxn>
              <a:cxn ang="0">
                <a:pos x="132" y="23"/>
              </a:cxn>
              <a:cxn ang="0">
                <a:pos x="105" y="23"/>
              </a:cxn>
              <a:cxn ang="0">
                <a:pos x="105" y="0"/>
              </a:cxn>
              <a:cxn ang="0">
                <a:pos x="68" y="0"/>
              </a:cxn>
              <a:cxn ang="0">
                <a:pos x="68" y="23"/>
              </a:cxn>
              <a:cxn ang="0">
                <a:pos x="41" y="23"/>
              </a:cxn>
              <a:cxn ang="0">
                <a:pos x="41" y="0"/>
              </a:cxn>
              <a:cxn ang="0">
                <a:pos x="7" y="0"/>
              </a:cxn>
              <a:cxn ang="0">
                <a:pos x="7" y="72"/>
              </a:cxn>
              <a:cxn ang="0">
                <a:pos x="32" y="72"/>
              </a:cxn>
              <a:cxn ang="0">
                <a:pos x="32" y="117"/>
              </a:cxn>
            </a:cxnLst>
            <a:rect l="0" t="0" r="r" b="b"/>
            <a:pathLst>
              <a:path w="172" h="291">
                <a:moveTo>
                  <a:pt x="172" y="259"/>
                </a:moveTo>
                <a:lnTo>
                  <a:pt x="172" y="291"/>
                </a:lnTo>
                <a:lnTo>
                  <a:pt x="0" y="291"/>
                </a:lnTo>
                <a:lnTo>
                  <a:pt x="0" y="259"/>
                </a:lnTo>
                <a:lnTo>
                  <a:pt x="19" y="232"/>
                </a:lnTo>
                <a:lnTo>
                  <a:pt x="153" y="232"/>
                </a:lnTo>
                <a:lnTo>
                  <a:pt x="142" y="199"/>
                </a:lnTo>
                <a:lnTo>
                  <a:pt x="31" y="199"/>
                </a:lnTo>
                <a:lnTo>
                  <a:pt x="34" y="167"/>
                </a:lnTo>
                <a:lnTo>
                  <a:pt x="139" y="167"/>
                </a:lnTo>
                <a:lnTo>
                  <a:pt x="139" y="75"/>
                </a:lnTo>
                <a:lnTo>
                  <a:pt x="166" y="75"/>
                </a:lnTo>
                <a:lnTo>
                  <a:pt x="166" y="0"/>
                </a:lnTo>
                <a:lnTo>
                  <a:pt x="132" y="0"/>
                </a:lnTo>
                <a:lnTo>
                  <a:pt x="132" y="23"/>
                </a:lnTo>
                <a:lnTo>
                  <a:pt x="105" y="23"/>
                </a:lnTo>
                <a:lnTo>
                  <a:pt x="105" y="0"/>
                </a:lnTo>
                <a:lnTo>
                  <a:pt x="68" y="0"/>
                </a:lnTo>
                <a:lnTo>
                  <a:pt x="68" y="23"/>
                </a:lnTo>
                <a:lnTo>
                  <a:pt x="41" y="23"/>
                </a:lnTo>
                <a:lnTo>
                  <a:pt x="41" y="0"/>
                </a:lnTo>
                <a:lnTo>
                  <a:pt x="7" y="0"/>
                </a:lnTo>
                <a:lnTo>
                  <a:pt x="7" y="72"/>
                </a:lnTo>
                <a:lnTo>
                  <a:pt x="32" y="72"/>
                </a:lnTo>
                <a:lnTo>
                  <a:pt x="32" y="117"/>
                </a:lnTo>
              </a:path>
            </a:pathLst>
          </a:custGeom>
          <a:noFill/>
          <a:ln w="30163"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1" name="Freeform 143"/>
          <p:cNvSpPr>
            <a:spLocks noEditPoints="1"/>
          </p:cNvSpPr>
          <p:nvPr userDrawn="1"/>
        </p:nvSpPr>
        <p:spPr bwMode="auto">
          <a:xfrm>
            <a:off x="11197612" y="5171494"/>
            <a:ext cx="294750" cy="303199"/>
          </a:xfrm>
          <a:custGeom>
            <a:avLst/>
            <a:gdLst/>
            <a:ahLst/>
            <a:cxnLst>
              <a:cxn ang="0">
                <a:pos x="88" y="9"/>
              </a:cxn>
              <a:cxn ang="0">
                <a:pos x="31" y="21"/>
              </a:cxn>
              <a:cxn ang="0">
                <a:pos x="0" y="48"/>
              </a:cxn>
              <a:cxn ang="0">
                <a:pos x="0" y="49"/>
              </a:cxn>
              <a:cxn ang="0">
                <a:pos x="74" y="85"/>
              </a:cxn>
              <a:cxn ang="0">
                <a:pos x="214" y="103"/>
              </a:cxn>
              <a:cxn ang="0">
                <a:pos x="339" y="117"/>
              </a:cxn>
              <a:cxn ang="0">
                <a:pos x="393" y="129"/>
              </a:cxn>
              <a:cxn ang="0">
                <a:pos x="335" y="143"/>
              </a:cxn>
              <a:cxn ang="0">
                <a:pos x="203" y="165"/>
              </a:cxn>
              <a:cxn ang="0">
                <a:pos x="71" y="186"/>
              </a:cxn>
              <a:cxn ang="0">
                <a:pos x="27" y="197"/>
              </a:cxn>
              <a:cxn ang="0">
                <a:pos x="2" y="221"/>
              </a:cxn>
              <a:cxn ang="0">
                <a:pos x="2" y="221"/>
              </a:cxn>
              <a:cxn ang="0">
                <a:pos x="219" y="284"/>
              </a:cxn>
              <a:cxn ang="0">
                <a:pos x="341" y="304"/>
              </a:cxn>
              <a:cxn ang="0">
                <a:pos x="390" y="316"/>
              </a:cxn>
              <a:cxn ang="0">
                <a:pos x="334" y="330"/>
              </a:cxn>
              <a:cxn ang="0">
                <a:pos x="201" y="353"/>
              </a:cxn>
              <a:cxn ang="0">
                <a:pos x="71" y="375"/>
              </a:cxn>
              <a:cxn ang="0">
                <a:pos x="27" y="386"/>
              </a:cxn>
              <a:cxn ang="0">
                <a:pos x="2" y="409"/>
              </a:cxn>
              <a:cxn ang="0">
                <a:pos x="29" y="436"/>
              </a:cxn>
              <a:cxn ang="0">
                <a:pos x="80" y="447"/>
              </a:cxn>
              <a:cxn ang="0">
                <a:pos x="227" y="455"/>
              </a:cxn>
              <a:cxn ang="0">
                <a:pos x="368" y="447"/>
              </a:cxn>
              <a:cxn ang="0">
                <a:pos x="443" y="409"/>
              </a:cxn>
              <a:cxn ang="0">
                <a:pos x="435" y="394"/>
              </a:cxn>
              <a:cxn ang="0">
                <a:pos x="326" y="369"/>
              </a:cxn>
              <a:cxn ang="0">
                <a:pos x="289" y="365"/>
              </a:cxn>
              <a:cxn ang="0">
                <a:pos x="350" y="354"/>
              </a:cxn>
              <a:cxn ang="0">
                <a:pos x="427" y="316"/>
              </a:cxn>
              <a:cxn ang="0">
                <a:pos x="356" y="280"/>
              </a:cxn>
              <a:cxn ang="0">
                <a:pos x="223" y="257"/>
              </a:cxn>
              <a:cxn ang="0">
                <a:pos x="93" y="235"/>
              </a:cxn>
              <a:cxn ang="0">
                <a:pos x="38" y="222"/>
              </a:cxn>
              <a:cxn ang="0">
                <a:pos x="87" y="210"/>
              </a:cxn>
              <a:cxn ang="0">
                <a:pos x="207" y="191"/>
              </a:cxn>
              <a:cxn ang="0">
                <a:pos x="350" y="167"/>
              </a:cxn>
              <a:cxn ang="0">
                <a:pos x="400" y="154"/>
              </a:cxn>
              <a:cxn ang="0">
                <a:pos x="427" y="128"/>
              </a:cxn>
              <a:cxn ang="0">
                <a:pos x="354" y="93"/>
              </a:cxn>
              <a:cxn ang="0">
                <a:pos x="217" y="76"/>
              </a:cxn>
              <a:cxn ang="0">
                <a:pos x="89" y="61"/>
              </a:cxn>
              <a:cxn ang="0">
                <a:pos x="33" y="49"/>
              </a:cxn>
              <a:cxn ang="0">
                <a:pos x="101" y="35"/>
              </a:cxn>
              <a:cxn ang="0">
                <a:pos x="221" y="28"/>
              </a:cxn>
              <a:cxn ang="0">
                <a:pos x="235" y="15"/>
              </a:cxn>
              <a:cxn ang="0">
                <a:pos x="222" y="2"/>
              </a:cxn>
              <a:cxn ang="0">
                <a:pos x="88" y="9"/>
              </a:cxn>
              <a:cxn ang="0">
                <a:pos x="86" y="399"/>
              </a:cxn>
              <a:cxn ang="0">
                <a:pos x="205" y="379"/>
              </a:cxn>
              <a:cxn ang="0">
                <a:pos x="210" y="378"/>
              </a:cxn>
              <a:cxn ang="0">
                <a:pos x="211" y="380"/>
              </a:cxn>
              <a:cxn ang="0">
                <a:pos x="226" y="390"/>
              </a:cxn>
              <a:cxn ang="0">
                <a:pos x="324" y="395"/>
              </a:cxn>
              <a:cxn ang="0">
                <a:pos x="409" y="410"/>
              </a:cxn>
              <a:cxn ang="0">
                <a:pos x="363" y="421"/>
              </a:cxn>
              <a:cxn ang="0">
                <a:pos x="250" y="428"/>
              </a:cxn>
              <a:cxn ang="0">
                <a:pos x="103" y="423"/>
              </a:cxn>
              <a:cxn ang="0">
                <a:pos x="38" y="411"/>
              </a:cxn>
              <a:cxn ang="0">
                <a:pos x="86" y="399"/>
              </a:cxn>
            </a:cxnLst>
            <a:rect l="0" t="0" r="r" b="b"/>
            <a:pathLst>
              <a:path w="443" h="455">
                <a:moveTo>
                  <a:pt x="88" y="9"/>
                </a:moveTo>
                <a:cubicBezTo>
                  <a:pt x="64" y="13"/>
                  <a:pt x="45" y="17"/>
                  <a:pt x="31" y="21"/>
                </a:cubicBezTo>
                <a:cubicBezTo>
                  <a:pt x="18" y="25"/>
                  <a:pt x="1" y="33"/>
                  <a:pt x="0" y="48"/>
                </a:cubicBezTo>
                <a:cubicBezTo>
                  <a:pt x="0" y="49"/>
                  <a:pt x="0" y="49"/>
                  <a:pt x="0" y="49"/>
                </a:cubicBezTo>
                <a:cubicBezTo>
                  <a:pt x="0" y="69"/>
                  <a:pt x="27" y="78"/>
                  <a:pt x="74" y="85"/>
                </a:cubicBezTo>
                <a:cubicBezTo>
                  <a:pt x="112" y="92"/>
                  <a:pt x="164" y="97"/>
                  <a:pt x="214" y="103"/>
                </a:cubicBezTo>
                <a:cubicBezTo>
                  <a:pt x="258" y="107"/>
                  <a:pt x="304" y="112"/>
                  <a:pt x="339" y="117"/>
                </a:cubicBezTo>
                <a:cubicBezTo>
                  <a:pt x="368" y="122"/>
                  <a:pt x="384" y="126"/>
                  <a:pt x="393" y="129"/>
                </a:cubicBezTo>
                <a:cubicBezTo>
                  <a:pt x="384" y="132"/>
                  <a:pt x="367" y="137"/>
                  <a:pt x="335" y="143"/>
                </a:cubicBezTo>
                <a:cubicBezTo>
                  <a:pt x="297" y="151"/>
                  <a:pt x="249" y="158"/>
                  <a:pt x="203" y="165"/>
                </a:cubicBezTo>
                <a:cubicBezTo>
                  <a:pt x="153" y="172"/>
                  <a:pt x="107" y="179"/>
                  <a:pt x="71" y="186"/>
                </a:cubicBezTo>
                <a:cubicBezTo>
                  <a:pt x="52" y="190"/>
                  <a:pt x="37" y="194"/>
                  <a:pt x="27" y="197"/>
                </a:cubicBezTo>
                <a:cubicBezTo>
                  <a:pt x="19" y="200"/>
                  <a:pt x="2" y="206"/>
                  <a:pt x="2" y="221"/>
                </a:cubicBezTo>
                <a:cubicBezTo>
                  <a:pt x="2" y="221"/>
                  <a:pt x="2" y="221"/>
                  <a:pt x="2" y="221"/>
                </a:cubicBezTo>
                <a:cubicBezTo>
                  <a:pt x="2" y="247"/>
                  <a:pt x="46" y="257"/>
                  <a:pt x="219" y="284"/>
                </a:cubicBezTo>
                <a:cubicBezTo>
                  <a:pt x="262" y="290"/>
                  <a:pt x="306" y="297"/>
                  <a:pt x="341" y="304"/>
                </a:cubicBezTo>
                <a:cubicBezTo>
                  <a:pt x="366" y="309"/>
                  <a:pt x="381" y="313"/>
                  <a:pt x="390" y="316"/>
                </a:cubicBezTo>
                <a:cubicBezTo>
                  <a:pt x="381" y="320"/>
                  <a:pt x="364" y="324"/>
                  <a:pt x="334" y="330"/>
                </a:cubicBezTo>
                <a:cubicBezTo>
                  <a:pt x="296" y="338"/>
                  <a:pt x="248" y="345"/>
                  <a:pt x="201" y="353"/>
                </a:cubicBezTo>
                <a:cubicBezTo>
                  <a:pt x="152" y="361"/>
                  <a:pt x="106" y="368"/>
                  <a:pt x="71" y="375"/>
                </a:cubicBezTo>
                <a:cubicBezTo>
                  <a:pt x="51" y="379"/>
                  <a:pt x="37" y="383"/>
                  <a:pt x="27" y="386"/>
                </a:cubicBezTo>
                <a:cubicBezTo>
                  <a:pt x="19" y="389"/>
                  <a:pt x="2" y="395"/>
                  <a:pt x="2" y="409"/>
                </a:cubicBezTo>
                <a:cubicBezTo>
                  <a:pt x="2" y="426"/>
                  <a:pt x="22" y="433"/>
                  <a:pt x="29" y="436"/>
                </a:cubicBezTo>
                <a:cubicBezTo>
                  <a:pt x="41" y="440"/>
                  <a:pt x="58" y="444"/>
                  <a:pt x="80" y="447"/>
                </a:cubicBezTo>
                <a:cubicBezTo>
                  <a:pt x="119" y="452"/>
                  <a:pt x="171" y="455"/>
                  <a:pt x="227" y="455"/>
                </a:cubicBezTo>
                <a:cubicBezTo>
                  <a:pt x="281" y="455"/>
                  <a:pt x="331" y="452"/>
                  <a:pt x="368" y="447"/>
                </a:cubicBezTo>
                <a:cubicBezTo>
                  <a:pt x="421" y="439"/>
                  <a:pt x="443" y="428"/>
                  <a:pt x="443" y="409"/>
                </a:cubicBezTo>
                <a:cubicBezTo>
                  <a:pt x="443" y="405"/>
                  <a:pt x="442" y="399"/>
                  <a:pt x="435" y="394"/>
                </a:cubicBezTo>
                <a:cubicBezTo>
                  <a:pt x="423" y="384"/>
                  <a:pt x="386" y="375"/>
                  <a:pt x="326" y="369"/>
                </a:cubicBezTo>
                <a:cubicBezTo>
                  <a:pt x="314" y="368"/>
                  <a:pt x="302" y="366"/>
                  <a:pt x="289" y="365"/>
                </a:cubicBezTo>
                <a:cubicBezTo>
                  <a:pt x="311" y="362"/>
                  <a:pt x="332" y="358"/>
                  <a:pt x="350" y="354"/>
                </a:cubicBezTo>
                <a:cubicBezTo>
                  <a:pt x="408" y="342"/>
                  <a:pt x="427" y="333"/>
                  <a:pt x="427" y="316"/>
                </a:cubicBezTo>
                <a:cubicBezTo>
                  <a:pt x="427" y="300"/>
                  <a:pt x="410" y="291"/>
                  <a:pt x="356" y="280"/>
                </a:cubicBezTo>
                <a:cubicBezTo>
                  <a:pt x="320" y="272"/>
                  <a:pt x="271" y="265"/>
                  <a:pt x="223" y="257"/>
                </a:cubicBezTo>
                <a:cubicBezTo>
                  <a:pt x="177" y="250"/>
                  <a:pt x="130" y="243"/>
                  <a:pt x="93" y="235"/>
                </a:cubicBezTo>
                <a:cubicBezTo>
                  <a:pt x="63" y="230"/>
                  <a:pt x="47" y="225"/>
                  <a:pt x="38" y="222"/>
                </a:cubicBezTo>
                <a:cubicBezTo>
                  <a:pt x="47" y="219"/>
                  <a:pt x="61" y="215"/>
                  <a:pt x="87" y="210"/>
                </a:cubicBezTo>
                <a:cubicBezTo>
                  <a:pt x="120" y="204"/>
                  <a:pt x="162" y="197"/>
                  <a:pt x="207" y="191"/>
                </a:cubicBezTo>
                <a:cubicBezTo>
                  <a:pt x="258" y="183"/>
                  <a:pt x="311" y="176"/>
                  <a:pt x="350" y="167"/>
                </a:cubicBezTo>
                <a:cubicBezTo>
                  <a:pt x="372" y="163"/>
                  <a:pt x="389" y="159"/>
                  <a:pt x="400" y="154"/>
                </a:cubicBezTo>
                <a:cubicBezTo>
                  <a:pt x="408" y="151"/>
                  <a:pt x="427" y="144"/>
                  <a:pt x="427" y="128"/>
                </a:cubicBezTo>
                <a:cubicBezTo>
                  <a:pt x="427" y="109"/>
                  <a:pt x="400" y="100"/>
                  <a:pt x="354" y="93"/>
                </a:cubicBezTo>
                <a:cubicBezTo>
                  <a:pt x="317" y="87"/>
                  <a:pt x="266" y="81"/>
                  <a:pt x="217" y="76"/>
                </a:cubicBezTo>
                <a:cubicBezTo>
                  <a:pt x="172" y="71"/>
                  <a:pt x="126" y="66"/>
                  <a:pt x="89" y="61"/>
                </a:cubicBezTo>
                <a:cubicBezTo>
                  <a:pt x="58" y="56"/>
                  <a:pt x="41" y="52"/>
                  <a:pt x="33" y="49"/>
                </a:cubicBezTo>
                <a:cubicBezTo>
                  <a:pt x="43" y="45"/>
                  <a:pt x="64" y="39"/>
                  <a:pt x="101" y="35"/>
                </a:cubicBezTo>
                <a:cubicBezTo>
                  <a:pt x="140" y="30"/>
                  <a:pt x="186" y="27"/>
                  <a:pt x="221" y="28"/>
                </a:cubicBezTo>
                <a:cubicBezTo>
                  <a:pt x="228" y="29"/>
                  <a:pt x="234" y="23"/>
                  <a:pt x="235" y="15"/>
                </a:cubicBezTo>
                <a:cubicBezTo>
                  <a:pt x="235" y="8"/>
                  <a:pt x="229" y="2"/>
                  <a:pt x="222" y="2"/>
                </a:cubicBezTo>
                <a:cubicBezTo>
                  <a:pt x="183" y="0"/>
                  <a:pt x="130" y="3"/>
                  <a:pt x="88" y="9"/>
                </a:cubicBezTo>
                <a:close/>
                <a:moveTo>
                  <a:pt x="86" y="399"/>
                </a:moveTo>
                <a:cubicBezTo>
                  <a:pt x="120" y="393"/>
                  <a:pt x="161" y="386"/>
                  <a:pt x="205" y="379"/>
                </a:cubicBezTo>
                <a:cubicBezTo>
                  <a:pt x="207" y="379"/>
                  <a:pt x="209" y="379"/>
                  <a:pt x="210" y="378"/>
                </a:cubicBezTo>
                <a:cubicBezTo>
                  <a:pt x="210" y="379"/>
                  <a:pt x="210" y="379"/>
                  <a:pt x="211" y="380"/>
                </a:cubicBezTo>
                <a:cubicBezTo>
                  <a:pt x="212" y="387"/>
                  <a:pt x="219" y="392"/>
                  <a:pt x="226" y="390"/>
                </a:cubicBezTo>
                <a:cubicBezTo>
                  <a:pt x="234" y="389"/>
                  <a:pt x="274" y="390"/>
                  <a:pt x="324" y="395"/>
                </a:cubicBezTo>
                <a:cubicBezTo>
                  <a:pt x="370" y="400"/>
                  <a:pt x="396" y="406"/>
                  <a:pt x="409" y="410"/>
                </a:cubicBezTo>
                <a:cubicBezTo>
                  <a:pt x="402" y="413"/>
                  <a:pt x="388" y="417"/>
                  <a:pt x="363" y="421"/>
                </a:cubicBezTo>
                <a:cubicBezTo>
                  <a:pt x="333" y="425"/>
                  <a:pt x="294" y="428"/>
                  <a:pt x="250" y="428"/>
                </a:cubicBezTo>
                <a:cubicBezTo>
                  <a:pt x="198" y="429"/>
                  <a:pt x="145" y="427"/>
                  <a:pt x="103" y="423"/>
                </a:cubicBezTo>
                <a:cubicBezTo>
                  <a:pt x="67" y="419"/>
                  <a:pt x="48" y="414"/>
                  <a:pt x="38" y="411"/>
                </a:cubicBezTo>
                <a:cubicBezTo>
                  <a:pt x="47" y="408"/>
                  <a:pt x="61" y="404"/>
                  <a:pt x="86" y="399"/>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2" name="Freeform 600"/>
          <p:cNvSpPr>
            <a:spLocks/>
          </p:cNvSpPr>
          <p:nvPr userDrawn="1"/>
        </p:nvSpPr>
        <p:spPr bwMode="auto">
          <a:xfrm>
            <a:off x="11088608" y="3816010"/>
            <a:ext cx="512762" cy="241300"/>
          </a:xfrm>
          <a:custGeom>
            <a:avLst/>
            <a:gdLst/>
            <a:ahLst/>
            <a:cxnLst>
              <a:cxn ang="0">
                <a:pos x="228" y="22"/>
              </a:cxn>
              <a:cxn ang="0">
                <a:pos x="169" y="6"/>
              </a:cxn>
              <a:cxn ang="0">
                <a:pos x="12" y="47"/>
              </a:cxn>
              <a:cxn ang="0">
                <a:pos x="2" y="63"/>
              </a:cxn>
              <a:cxn ang="0">
                <a:pos x="18" y="72"/>
              </a:cxn>
              <a:cxn ang="0">
                <a:pos x="176" y="32"/>
              </a:cxn>
              <a:cxn ang="0">
                <a:pos x="219" y="49"/>
              </a:cxn>
              <a:cxn ang="0">
                <a:pos x="235" y="49"/>
              </a:cxn>
              <a:cxn ang="0">
                <a:pos x="279" y="32"/>
              </a:cxn>
              <a:cxn ang="0">
                <a:pos x="416" y="67"/>
              </a:cxn>
              <a:cxn ang="0">
                <a:pos x="222" y="183"/>
              </a:cxn>
              <a:cxn ang="0">
                <a:pos x="90" y="115"/>
              </a:cxn>
              <a:cxn ang="0">
                <a:pos x="361" y="105"/>
              </a:cxn>
              <a:cxn ang="0">
                <a:pos x="367" y="87"/>
              </a:cxn>
              <a:cxn ang="0">
                <a:pos x="350" y="80"/>
              </a:cxn>
              <a:cxn ang="0">
                <a:pos x="59" y="81"/>
              </a:cxn>
              <a:cxn ang="0">
                <a:pos x="44" y="86"/>
              </a:cxn>
              <a:cxn ang="0">
                <a:pos x="44" y="102"/>
              </a:cxn>
              <a:cxn ang="0">
                <a:pos x="221" y="210"/>
              </a:cxn>
              <a:cxn ang="0">
                <a:pos x="451" y="66"/>
              </a:cxn>
              <a:cxn ang="0">
                <a:pos x="452" y="54"/>
              </a:cxn>
              <a:cxn ang="0">
                <a:pos x="443" y="45"/>
              </a:cxn>
              <a:cxn ang="0">
                <a:pos x="286" y="6"/>
              </a:cxn>
              <a:cxn ang="0">
                <a:pos x="228" y="22"/>
              </a:cxn>
            </a:cxnLst>
            <a:rect l="0" t="0" r="r" b="b"/>
            <a:pathLst>
              <a:path w="454" h="214">
                <a:moveTo>
                  <a:pt x="228" y="22"/>
                </a:moveTo>
                <a:cubicBezTo>
                  <a:pt x="215" y="14"/>
                  <a:pt x="191" y="1"/>
                  <a:pt x="169" y="6"/>
                </a:cubicBezTo>
                <a:cubicBezTo>
                  <a:pt x="151" y="11"/>
                  <a:pt x="13" y="46"/>
                  <a:pt x="12" y="47"/>
                </a:cubicBezTo>
                <a:cubicBezTo>
                  <a:pt x="4" y="48"/>
                  <a:pt x="0" y="56"/>
                  <a:pt x="2" y="63"/>
                </a:cubicBezTo>
                <a:cubicBezTo>
                  <a:pt x="4" y="70"/>
                  <a:pt x="11" y="74"/>
                  <a:pt x="18" y="72"/>
                </a:cubicBezTo>
                <a:cubicBezTo>
                  <a:pt x="20" y="72"/>
                  <a:pt x="157" y="37"/>
                  <a:pt x="176" y="32"/>
                </a:cubicBezTo>
                <a:cubicBezTo>
                  <a:pt x="190" y="29"/>
                  <a:pt x="212" y="43"/>
                  <a:pt x="219" y="49"/>
                </a:cubicBezTo>
                <a:cubicBezTo>
                  <a:pt x="224" y="53"/>
                  <a:pt x="230" y="53"/>
                  <a:pt x="235" y="49"/>
                </a:cubicBezTo>
                <a:cubicBezTo>
                  <a:pt x="247" y="40"/>
                  <a:pt x="269" y="29"/>
                  <a:pt x="279" y="32"/>
                </a:cubicBezTo>
                <a:cubicBezTo>
                  <a:pt x="308" y="41"/>
                  <a:pt x="381" y="58"/>
                  <a:pt x="416" y="67"/>
                </a:cubicBezTo>
                <a:cubicBezTo>
                  <a:pt x="386" y="102"/>
                  <a:pt x="306" y="186"/>
                  <a:pt x="222" y="183"/>
                </a:cubicBezTo>
                <a:cubicBezTo>
                  <a:pt x="163" y="181"/>
                  <a:pt x="117" y="143"/>
                  <a:pt x="90" y="115"/>
                </a:cubicBezTo>
                <a:cubicBezTo>
                  <a:pt x="152" y="127"/>
                  <a:pt x="274" y="143"/>
                  <a:pt x="361" y="105"/>
                </a:cubicBezTo>
                <a:cubicBezTo>
                  <a:pt x="367" y="102"/>
                  <a:pt x="370" y="94"/>
                  <a:pt x="367" y="87"/>
                </a:cubicBezTo>
                <a:cubicBezTo>
                  <a:pt x="364" y="80"/>
                  <a:pt x="357" y="77"/>
                  <a:pt x="350" y="80"/>
                </a:cubicBezTo>
                <a:cubicBezTo>
                  <a:pt x="241" y="128"/>
                  <a:pt x="61" y="82"/>
                  <a:pt x="59" y="81"/>
                </a:cubicBezTo>
                <a:cubicBezTo>
                  <a:pt x="53" y="80"/>
                  <a:pt x="48" y="82"/>
                  <a:pt x="44" y="86"/>
                </a:cubicBezTo>
                <a:cubicBezTo>
                  <a:pt x="41" y="91"/>
                  <a:pt x="41" y="97"/>
                  <a:pt x="44" y="102"/>
                </a:cubicBezTo>
                <a:cubicBezTo>
                  <a:pt x="47" y="106"/>
                  <a:pt x="115" y="206"/>
                  <a:pt x="221" y="210"/>
                </a:cubicBezTo>
                <a:cubicBezTo>
                  <a:pt x="342" y="214"/>
                  <a:pt x="446" y="72"/>
                  <a:pt x="451" y="66"/>
                </a:cubicBezTo>
                <a:cubicBezTo>
                  <a:pt x="453" y="63"/>
                  <a:pt x="454" y="58"/>
                  <a:pt x="452" y="54"/>
                </a:cubicBezTo>
                <a:cubicBezTo>
                  <a:pt x="451" y="50"/>
                  <a:pt x="447" y="47"/>
                  <a:pt x="443" y="45"/>
                </a:cubicBezTo>
                <a:cubicBezTo>
                  <a:pt x="442" y="45"/>
                  <a:pt x="325" y="18"/>
                  <a:pt x="286" y="6"/>
                </a:cubicBezTo>
                <a:cubicBezTo>
                  <a:pt x="266" y="0"/>
                  <a:pt x="241" y="14"/>
                  <a:pt x="228" y="2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3" name="Freeform 612"/>
          <p:cNvSpPr>
            <a:spLocks/>
          </p:cNvSpPr>
          <p:nvPr userDrawn="1"/>
        </p:nvSpPr>
        <p:spPr bwMode="auto">
          <a:xfrm>
            <a:off x="11114799" y="4431010"/>
            <a:ext cx="460376" cy="460375"/>
          </a:xfrm>
          <a:custGeom>
            <a:avLst/>
            <a:gdLst/>
            <a:ahLst/>
            <a:cxnLst>
              <a:cxn ang="0">
                <a:pos x="153" y="404"/>
              </a:cxn>
              <a:cxn ang="0">
                <a:pos x="149" y="156"/>
              </a:cxn>
              <a:cxn ang="0">
                <a:pos x="175" y="156"/>
              </a:cxn>
              <a:cxn ang="0">
                <a:pos x="249" y="381"/>
              </a:cxn>
              <a:cxn ang="0">
                <a:pos x="253" y="232"/>
              </a:cxn>
              <a:cxn ang="0">
                <a:pos x="310" y="228"/>
              </a:cxn>
              <a:cxn ang="0">
                <a:pos x="323" y="242"/>
              </a:cxn>
              <a:cxn ang="0">
                <a:pos x="381" y="269"/>
              </a:cxn>
              <a:cxn ang="0">
                <a:pos x="381" y="238"/>
              </a:cxn>
              <a:cxn ang="0">
                <a:pos x="378" y="203"/>
              </a:cxn>
              <a:cxn ang="0">
                <a:pos x="351" y="173"/>
              </a:cxn>
              <a:cxn ang="0">
                <a:pos x="323" y="169"/>
              </a:cxn>
              <a:cxn ang="0">
                <a:pos x="254" y="165"/>
              </a:cxn>
              <a:cxn ang="0">
                <a:pos x="250" y="102"/>
              </a:cxn>
              <a:cxn ang="0">
                <a:pos x="212" y="98"/>
              </a:cxn>
              <a:cxn ang="0">
                <a:pos x="208" y="33"/>
              </a:cxn>
              <a:cxn ang="0">
                <a:pos x="176" y="27"/>
              </a:cxn>
              <a:cxn ang="0">
                <a:pos x="158" y="29"/>
              </a:cxn>
              <a:cxn ang="0">
                <a:pos x="124" y="69"/>
              </a:cxn>
              <a:cxn ang="0">
                <a:pos x="113" y="113"/>
              </a:cxn>
              <a:cxn ang="0">
                <a:pos x="24" y="329"/>
              </a:cxn>
              <a:cxn ang="0">
                <a:pos x="6" y="330"/>
              </a:cxn>
              <a:cxn ang="0">
                <a:pos x="5" y="311"/>
              </a:cxn>
              <a:cxn ang="0">
                <a:pos x="5" y="311"/>
              </a:cxn>
              <a:cxn ang="0">
                <a:pos x="10" y="305"/>
              </a:cxn>
              <a:cxn ang="0">
                <a:pos x="25" y="285"/>
              </a:cxn>
              <a:cxn ang="0">
                <a:pos x="82" y="135"/>
              </a:cxn>
              <a:cxn ang="0">
                <a:pos x="99" y="60"/>
              </a:cxn>
              <a:cxn ang="0">
                <a:pos x="149" y="4"/>
              </a:cxn>
              <a:cxn ang="0">
                <a:pos x="176" y="0"/>
              </a:cxn>
              <a:cxn ang="0">
                <a:pos x="235" y="24"/>
              </a:cxn>
              <a:cxn ang="0">
                <a:pos x="263" y="75"/>
              </a:cxn>
              <a:cxn ang="0">
                <a:pos x="277" y="88"/>
              </a:cxn>
              <a:cxn ang="0">
                <a:pos x="324" y="142"/>
              </a:cxn>
              <a:cxn ang="0">
                <a:pos x="360" y="148"/>
              </a:cxn>
              <a:cxn ang="0">
                <a:pos x="405" y="198"/>
              </a:cxn>
              <a:cxn ang="0">
                <a:pos x="408" y="238"/>
              </a:cxn>
              <a:cxn ang="0">
                <a:pos x="408" y="283"/>
              </a:cxn>
              <a:cxn ang="0">
                <a:pos x="395" y="296"/>
              </a:cxn>
              <a:cxn ang="0">
                <a:pos x="297" y="283"/>
              </a:cxn>
              <a:cxn ang="0">
                <a:pos x="275" y="255"/>
              </a:cxn>
              <a:cxn ang="0">
                <a:pos x="271" y="404"/>
              </a:cxn>
              <a:cxn ang="0">
                <a:pos x="162" y="408"/>
              </a:cxn>
            </a:cxnLst>
            <a:rect l="0" t="0" r="r" b="b"/>
            <a:pathLst>
              <a:path w="408" h="408">
                <a:moveTo>
                  <a:pt x="162" y="408"/>
                </a:moveTo>
                <a:cubicBezTo>
                  <a:pt x="158" y="408"/>
                  <a:pt x="155" y="406"/>
                  <a:pt x="153" y="404"/>
                </a:cubicBezTo>
                <a:cubicBezTo>
                  <a:pt x="153" y="404"/>
                  <a:pt x="153" y="404"/>
                  <a:pt x="153" y="404"/>
                </a:cubicBezTo>
                <a:cubicBezTo>
                  <a:pt x="150" y="401"/>
                  <a:pt x="149" y="398"/>
                  <a:pt x="149" y="394"/>
                </a:cubicBezTo>
                <a:cubicBezTo>
                  <a:pt x="149" y="394"/>
                  <a:pt x="149" y="394"/>
                  <a:pt x="149" y="394"/>
                </a:cubicBezTo>
                <a:cubicBezTo>
                  <a:pt x="149" y="156"/>
                  <a:pt x="149" y="156"/>
                  <a:pt x="149" y="156"/>
                </a:cubicBezTo>
                <a:cubicBezTo>
                  <a:pt x="149" y="149"/>
                  <a:pt x="155" y="143"/>
                  <a:pt x="162" y="143"/>
                </a:cubicBezTo>
                <a:cubicBezTo>
                  <a:pt x="162" y="143"/>
                  <a:pt x="162" y="143"/>
                  <a:pt x="162" y="143"/>
                </a:cubicBezTo>
                <a:cubicBezTo>
                  <a:pt x="169" y="143"/>
                  <a:pt x="175" y="149"/>
                  <a:pt x="175" y="156"/>
                </a:cubicBezTo>
                <a:cubicBezTo>
                  <a:pt x="175" y="156"/>
                  <a:pt x="175" y="156"/>
                  <a:pt x="175" y="156"/>
                </a:cubicBezTo>
                <a:cubicBezTo>
                  <a:pt x="175" y="381"/>
                  <a:pt x="175" y="381"/>
                  <a:pt x="175" y="381"/>
                </a:cubicBezTo>
                <a:cubicBezTo>
                  <a:pt x="249" y="381"/>
                  <a:pt x="249" y="381"/>
                  <a:pt x="249" y="381"/>
                </a:cubicBezTo>
                <a:cubicBezTo>
                  <a:pt x="249" y="242"/>
                  <a:pt x="249" y="242"/>
                  <a:pt x="249" y="242"/>
                </a:cubicBezTo>
                <a:cubicBezTo>
                  <a:pt x="249" y="238"/>
                  <a:pt x="250" y="235"/>
                  <a:pt x="253" y="232"/>
                </a:cubicBezTo>
                <a:cubicBezTo>
                  <a:pt x="253" y="232"/>
                  <a:pt x="253" y="232"/>
                  <a:pt x="253" y="232"/>
                </a:cubicBezTo>
                <a:cubicBezTo>
                  <a:pt x="255" y="230"/>
                  <a:pt x="258" y="228"/>
                  <a:pt x="262" y="228"/>
                </a:cubicBezTo>
                <a:cubicBezTo>
                  <a:pt x="262" y="228"/>
                  <a:pt x="262" y="228"/>
                  <a:pt x="262" y="228"/>
                </a:cubicBezTo>
                <a:cubicBezTo>
                  <a:pt x="310" y="228"/>
                  <a:pt x="310" y="228"/>
                  <a:pt x="310" y="228"/>
                </a:cubicBezTo>
                <a:cubicBezTo>
                  <a:pt x="313" y="228"/>
                  <a:pt x="317" y="230"/>
                  <a:pt x="319" y="232"/>
                </a:cubicBezTo>
                <a:cubicBezTo>
                  <a:pt x="319" y="232"/>
                  <a:pt x="319" y="232"/>
                  <a:pt x="319" y="232"/>
                </a:cubicBezTo>
                <a:cubicBezTo>
                  <a:pt x="322" y="235"/>
                  <a:pt x="323" y="238"/>
                  <a:pt x="323" y="242"/>
                </a:cubicBezTo>
                <a:cubicBezTo>
                  <a:pt x="323" y="242"/>
                  <a:pt x="323" y="242"/>
                  <a:pt x="323" y="242"/>
                </a:cubicBezTo>
                <a:cubicBezTo>
                  <a:pt x="323" y="269"/>
                  <a:pt x="323" y="269"/>
                  <a:pt x="323" y="269"/>
                </a:cubicBezTo>
                <a:cubicBezTo>
                  <a:pt x="381" y="269"/>
                  <a:pt x="381" y="269"/>
                  <a:pt x="381" y="269"/>
                </a:cubicBezTo>
                <a:cubicBezTo>
                  <a:pt x="381" y="247"/>
                  <a:pt x="381" y="247"/>
                  <a:pt x="381" y="247"/>
                </a:cubicBezTo>
                <a:cubicBezTo>
                  <a:pt x="381" y="246"/>
                  <a:pt x="381" y="246"/>
                  <a:pt x="381" y="246"/>
                </a:cubicBezTo>
                <a:cubicBezTo>
                  <a:pt x="381" y="243"/>
                  <a:pt x="381" y="241"/>
                  <a:pt x="381" y="238"/>
                </a:cubicBezTo>
                <a:cubicBezTo>
                  <a:pt x="381" y="238"/>
                  <a:pt x="381" y="238"/>
                  <a:pt x="381" y="238"/>
                </a:cubicBezTo>
                <a:cubicBezTo>
                  <a:pt x="381" y="223"/>
                  <a:pt x="380" y="212"/>
                  <a:pt x="378" y="203"/>
                </a:cubicBezTo>
                <a:cubicBezTo>
                  <a:pt x="378" y="203"/>
                  <a:pt x="378" y="203"/>
                  <a:pt x="378" y="203"/>
                </a:cubicBezTo>
                <a:cubicBezTo>
                  <a:pt x="377" y="195"/>
                  <a:pt x="374" y="190"/>
                  <a:pt x="371" y="187"/>
                </a:cubicBezTo>
                <a:cubicBezTo>
                  <a:pt x="371" y="187"/>
                  <a:pt x="371" y="187"/>
                  <a:pt x="371" y="187"/>
                </a:cubicBezTo>
                <a:cubicBezTo>
                  <a:pt x="366" y="180"/>
                  <a:pt x="359" y="176"/>
                  <a:pt x="351" y="173"/>
                </a:cubicBezTo>
                <a:cubicBezTo>
                  <a:pt x="351" y="173"/>
                  <a:pt x="351" y="173"/>
                  <a:pt x="351" y="173"/>
                </a:cubicBezTo>
                <a:cubicBezTo>
                  <a:pt x="344" y="170"/>
                  <a:pt x="334" y="169"/>
                  <a:pt x="323" y="169"/>
                </a:cubicBezTo>
                <a:cubicBezTo>
                  <a:pt x="323" y="169"/>
                  <a:pt x="323" y="169"/>
                  <a:pt x="323" y="169"/>
                </a:cubicBezTo>
                <a:cubicBezTo>
                  <a:pt x="263" y="169"/>
                  <a:pt x="263" y="169"/>
                  <a:pt x="263" y="169"/>
                </a:cubicBezTo>
                <a:cubicBezTo>
                  <a:pt x="260" y="169"/>
                  <a:pt x="256" y="167"/>
                  <a:pt x="254" y="165"/>
                </a:cubicBezTo>
                <a:cubicBezTo>
                  <a:pt x="254" y="165"/>
                  <a:pt x="254" y="165"/>
                  <a:pt x="254" y="165"/>
                </a:cubicBezTo>
                <a:cubicBezTo>
                  <a:pt x="251" y="162"/>
                  <a:pt x="250" y="159"/>
                  <a:pt x="250" y="156"/>
                </a:cubicBezTo>
                <a:cubicBezTo>
                  <a:pt x="250" y="156"/>
                  <a:pt x="250" y="156"/>
                  <a:pt x="250" y="156"/>
                </a:cubicBezTo>
                <a:cubicBezTo>
                  <a:pt x="250" y="102"/>
                  <a:pt x="250" y="102"/>
                  <a:pt x="250" y="102"/>
                </a:cubicBezTo>
                <a:cubicBezTo>
                  <a:pt x="222" y="102"/>
                  <a:pt x="222" y="102"/>
                  <a:pt x="222" y="102"/>
                </a:cubicBezTo>
                <a:cubicBezTo>
                  <a:pt x="218" y="102"/>
                  <a:pt x="215" y="100"/>
                  <a:pt x="212" y="98"/>
                </a:cubicBezTo>
                <a:cubicBezTo>
                  <a:pt x="212" y="98"/>
                  <a:pt x="212" y="98"/>
                  <a:pt x="212" y="98"/>
                </a:cubicBezTo>
                <a:cubicBezTo>
                  <a:pt x="210" y="95"/>
                  <a:pt x="208" y="92"/>
                  <a:pt x="208" y="88"/>
                </a:cubicBezTo>
                <a:cubicBezTo>
                  <a:pt x="208" y="88"/>
                  <a:pt x="208" y="88"/>
                  <a:pt x="208" y="88"/>
                </a:cubicBezTo>
                <a:cubicBezTo>
                  <a:pt x="208" y="33"/>
                  <a:pt x="208" y="33"/>
                  <a:pt x="208" y="33"/>
                </a:cubicBezTo>
                <a:cubicBezTo>
                  <a:pt x="207" y="33"/>
                  <a:pt x="205" y="32"/>
                  <a:pt x="204" y="31"/>
                </a:cubicBezTo>
                <a:cubicBezTo>
                  <a:pt x="204" y="31"/>
                  <a:pt x="204" y="31"/>
                  <a:pt x="204" y="31"/>
                </a:cubicBezTo>
                <a:cubicBezTo>
                  <a:pt x="196" y="29"/>
                  <a:pt x="186" y="27"/>
                  <a:pt x="176" y="27"/>
                </a:cubicBezTo>
                <a:cubicBezTo>
                  <a:pt x="176" y="27"/>
                  <a:pt x="176" y="27"/>
                  <a:pt x="176" y="27"/>
                </a:cubicBezTo>
                <a:cubicBezTo>
                  <a:pt x="170" y="27"/>
                  <a:pt x="164" y="27"/>
                  <a:pt x="158" y="29"/>
                </a:cubicBezTo>
                <a:cubicBezTo>
                  <a:pt x="158" y="29"/>
                  <a:pt x="158" y="29"/>
                  <a:pt x="158" y="29"/>
                </a:cubicBezTo>
                <a:cubicBezTo>
                  <a:pt x="152" y="31"/>
                  <a:pt x="146" y="35"/>
                  <a:pt x="141" y="40"/>
                </a:cubicBezTo>
                <a:cubicBezTo>
                  <a:pt x="141" y="40"/>
                  <a:pt x="141" y="40"/>
                  <a:pt x="141" y="40"/>
                </a:cubicBezTo>
                <a:cubicBezTo>
                  <a:pt x="134" y="46"/>
                  <a:pt x="128" y="56"/>
                  <a:pt x="124" y="69"/>
                </a:cubicBezTo>
                <a:cubicBezTo>
                  <a:pt x="124" y="69"/>
                  <a:pt x="124" y="69"/>
                  <a:pt x="124" y="69"/>
                </a:cubicBezTo>
                <a:cubicBezTo>
                  <a:pt x="119" y="81"/>
                  <a:pt x="116" y="97"/>
                  <a:pt x="113" y="113"/>
                </a:cubicBezTo>
                <a:cubicBezTo>
                  <a:pt x="113" y="113"/>
                  <a:pt x="113" y="113"/>
                  <a:pt x="113" y="113"/>
                </a:cubicBezTo>
                <a:cubicBezTo>
                  <a:pt x="107" y="147"/>
                  <a:pt x="102" y="186"/>
                  <a:pt x="89" y="221"/>
                </a:cubicBezTo>
                <a:cubicBezTo>
                  <a:pt x="89" y="221"/>
                  <a:pt x="89" y="221"/>
                  <a:pt x="89" y="221"/>
                </a:cubicBezTo>
                <a:cubicBezTo>
                  <a:pt x="63" y="287"/>
                  <a:pt x="25" y="329"/>
                  <a:pt x="24" y="329"/>
                </a:cubicBezTo>
                <a:cubicBezTo>
                  <a:pt x="24" y="329"/>
                  <a:pt x="24" y="329"/>
                  <a:pt x="24" y="329"/>
                </a:cubicBezTo>
                <a:cubicBezTo>
                  <a:pt x="19" y="335"/>
                  <a:pt x="11" y="335"/>
                  <a:pt x="6" y="330"/>
                </a:cubicBezTo>
                <a:cubicBezTo>
                  <a:pt x="6" y="330"/>
                  <a:pt x="6" y="330"/>
                  <a:pt x="6" y="330"/>
                </a:cubicBezTo>
                <a:cubicBezTo>
                  <a:pt x="0" y="325"/>
                  <a:pt x="0" y="317"/>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5" y="311"/>
                  <a:pt x="5" y="311"/>
                </a:cubicBezTo>
                <a:cubicBezTo>
                  <a:pt x="5" y="311"/>
                  <a:pt x="6" y="310"/>
                  <a:pt x="6" y="310"/>
                </a:cubicBezTo>
                <a:cubicBezTo>
                  <a:pt x="6" y="310"/>
                  <a:pt x="6" y="310"/>
                  <a:pt x="6" y="310"/>
                </a:cubicBezTo>
                <a:cubicBezTo>
                  <a:pt x="7" y="309"/>
                  <a:pt x="9" y="307"/>
                  <a:pt x="10" y="305"/>
                </a:cubicBezTo>
                <a:cubicBezTo>
                  <a:pt x="10" y="305"/>
                  <a:pt x="10" y="305"/>
                  <a:pt x="10" y="305"/>
                </a:cubicBezTo>
                <a:cubicBezTo>
                  <a:pt x="14" y="300"/>
                  <a:pt x="19" y="293"/>
                  <a:pt x="25" y="285"/>
                </a:cubicBezTo>
                <a:cubicBezTo>
                  <a:pt x="25" y="285"/>
                  <a:pt x="25" y="285"/>
                  <a:pt x="25" y="285"/>
                </a:cubicBezTo>
                <a:cubicBezTo>
                  <a:pt x="37" y="267"/>
                  <a:pt x="52" y="242"/>
                  <a:pt x="64" y="211"/>
                </a:cubicBezTo>
                <a:cubicBezTo>
                  <a:pt x="64" y="211"/>
                  <a:pt x="64" y="211"/>
                  <a:pt x="64" y="211"/>
                </a:cubicBezTo>
                <a:cubicBezTo>
                  <a:pt x="73" y="188"/>
                  <a:pt x="78" y="162"/>
                  <a:pt x="82" y="135"/>
                </a:cubicBezTo>
                <a:cubicBezTo>
                  <a:pt x="82" y="135"/>
                  <a:pt x="82" y="135"/>
                  <a:pt x="82" y="135"/>
                </a:cubicBezTo>
                <a:cubicBezTo>
                  <a:pt x="87" y="109"/>
                  <a:pt x="91" y="82"/>
                  <a:pt x="99" y="60"/>
                </a:cubicBezTo>
                <a:cubicBezTo>
                  <a:pt x="99" y="60"/>
                  <a:pt x="99" y="60"/>
                  <a:pt x="99" y="60"/>
                </a:cubicBezTo>
                <a:cubicBezTo>
                  <a:pt x="104" y="45"/>
                  <a:pt x="111" y="31"/>
                  <a:pt x="123" y="20"/>
                </a:cubicBezTo>
                <a:cubicBezTo>
                  <a:pt x="123" y="20"/>
                  <a:pt x="123" y="20"/>
                  <a:pt x="123" y="20"/>
                </a:cubicBezTo>
                <a:cubicBezTo>
                  <a:pt x="131" y="12"/>
                  <a:pt x="140" y="7"/>
                  <a:pt x="149" y="4"/>
                </a:cubicBezTo>
                <a:cubicBezTo>
                  <a:pt x="149" y="4"/>
                  <a:pt x="149" y="4"/>
                  <a:pt x="149" y="4"/>
                </a:cubicBezTo>
                <a:cubicBezTo>
                  <a:pt x="158" y="1"/>
                  <a:pt x="168" y="0"/>
                  <a:pt x="176" y="0"/>
                </a:cubicBezTo>
                <a:cubicBezTo>
                  <a:pt x="176" y="0"/>
                  <a:pt x="176" y="0"/>
                  <a:pt x="176" y="0"/>
                </a:cubicBezTo>
                <a:cubicBezTo>
                  <a:pt x="205" y="0"/>
                  <a:pt x="227" y="12"/>
                  <a:pt x="228" y="13"/>
                </a:cubicBezTo>
                <a:cubicBezTo>
                  <a:pt x="228" y="13"/>
                  <a:pt x="228" y="13"/>
                  <a:pt x="228" y="13"/>
                </a:cubicBezTo>
                <a:cubicBezTo>
                  <a:pt x="232" y="15"/>
                  <a:pt x="235" y="20"/>
                  <a:pt x="235" y="24"/>
                </a:cubicBezTo>
                <a:cubicBezTo>
                  <a:pt x="235" y="24"/>
                  <a:pt x="235" y="24"/>
                  <a:pt x="235" y="24"/>
                </a:cubicBezTo>
                <a:cubicBezTo>
                  <a:pt x="235" y="75"/>
                  <a:pt x="235" y="75"/>
                  <a:pt x="235" y="75"/>
                </a:cubicBezTo>
                <a:cubicBezTo>
                  <a:pt x="263" y="75"/>
                  <a:pt x="263" y="75"/>
                  <a:pt x="263" y="75"/>
                </a:cubicBezTo>
                <a:cubicBezTo>
                  <a:pt x="267" y="75"/>
                  <a:pt x="270" y="76"/>
                  <a:pt x="273" y="79"/>
                </a:cubicBezTo>
                <a:cubicBezTo>
                  <a:pt x="273" y="79"/>
                  <a:pt x="273" y="79"/>
                  <a:pt x="273" y="79"/>
                </a:cubicBezTo>
                <a:cubicBezTo>
                  <a:pt x="275" y="82"/>
                  <a:pt x="277" y="85"/>
                  <a:pt x="277" y="88"/>
                </a:cubicBezTo>
                <a:cubicBezTo>
                  <a:pt x="277" y="88"/>
                  <a:pt x="277" y="88"/>
                  <a:pt x="277" y="88"/>
                </a:cubicBezTo>
                <a:cubicBezTo>
                  <a:pt x="277" y="142"/>
                  <a:pt x="277" y="142"/>
                  <a:pt x="277" y="142"/>
                </a:cubicBezTo>
                <a:cubicBezTo>
                  <a:pt x="324" y="142"/>
                  <a:pt x="324" y="142"/>
                  <a:pt x="324" y="142"/>
                </a:cubicBezTo>
                <a:cubicBezTo>
                  <a:pt x="324" y="142"/>
                  <a:pt x="324" y="142"/>
                  <a:pt x="324" y="142"/>
                </a:cubicBezTo>
                <a:cubicBezTo>
                  <a:pt x="336" y="142"/>
                  <a:pt x="349" y="144"/>
                  <a:pt x="360" y="148"/>
                </a:cubicBezTo>
                <a:cubicBezTo>
                  <a:pt x="360" y="148"/>
                  <a:pt x="360" y="148"/>
                  <a:pt x="360" y="148"/>
                </a:cubicBezTo>
                <a:cubicBezTo>
                  <a:pt x="372" y="152"/>
                  <a:pt x="383" y="159"/>
                  <a:pt x="391" y="169"/>
                </a:cubicBezTo>
                <a:cubicBezTo>
                  <a:pt x="391" y="169"/>
                  <a:pt x="391" y="169"/>
                  <a:pt x="391" y="169"/>
                </a:cubicBezTo>
                <a:cubicBezTo>
                  <a:pt x="398" y="177"/>
                  <a:pt x="402" y="186"/>
                  <a:pt x="405" y="198"/>
                </a:cubicBezTo>
                <a:cubicBezTo>
                  <a:pt x="405" y="198"/>
                  <a:pt x="405" y="198"/>
                  <a:pt x="405" y="198"/>
                </a:cubicBezTo>
                <a:cubicBezTo>
                  <a:pt x="407" y="209"/>
                  <a:pt x="408" y="222"/>
                  <a:pt x="408" y="238"/>
                </a:cubicBezTo>
                <a:cubicBezTo>
                  <a:pt x="408" y="238"/>
                  <a:pt x="408" y="238"/>
                  <a:pt x="408" y="238"/>
                </a:cubicBezTo>
                <a:cubicBezTo>
                  <a:pt x="408" y="241"/>
                  <a:pt x="408" y="244"/>
                  <a:pt x="408" y="246"/>
                </a:cubicBezTo>
                <a:cubicBezTo>
                  <a:pt x="408" y="246"/>
                  <a:pt x="408" y="246"/>
                  <a:pt x="408" y="246"/>
                </a:cubicBezTo>
                <a:cubicBezTo>
                  <a:pt x="408" y="283"/>
                  <a:pt x="408" y="283"/>
                  <a:pt x="408" y="283"/>
                </a:cubicBezTo>
                <a:cubicBezTo>
                  <a:pt x="408" y="286"/>
                  <a:pt x="407" y="290"/>
                  <a:pt x="404" y="292"/>
                </a:cubicBezTo>
                <a:cubicBezTo>
                  <a:pt x="404" y="292"/>
                  <a:pt x="404" y="292"/>
                  <a:pt x="404" y="292"/>
                </a:cubicBezTo>
                <a:cubicBezTo>
                  <a:pt x="402" y="295"/>
                  <a:pt x="398" y="296"/>
                  <a:pt x="395" y="296"/>
                </a:cubicBezTo>
                <a:cubicBezTo>
                  <a:pt x="395" y="296"/>
                  <a:pt x="395" y="296"/>
                  <a:pt x="395" y="296"/>
                </a:cubicBezTo>
                <a:cubicBezTo>
                  <a:pt x="310" y="296"/>
                  <a:pt x="310" y="296"/>
                  <a:pt x="310" y="296"/>
                </a:cubicBezTo>
                <a:cubicBezTo>
                  <a:pt x="303" y="296"/>
                  <a:pt x="297" y="290"/>
                  <a:pt x="297" y="283"/>
                </a:cubicBezTo>
                <a:cubicBezTo>
                  <a:pt x="297" y="283"/>
                  <a:pt x="297" y="283"/>
                  <a:pt x="297" y="283"/>
                </a:cubicBezTo>
                <a:cubicBezTo>
                  <a:pt x="297" y="255"/>
                  <a:pt x="297" y="255"/>
                  <a:pt x="297" y="255"/>
                </a:cubicBezTo>
                <a:cubicBezTo>
                  <a:pt x="275" y="255"/>
                  <a:pt x="275" y="255"/>
                  <a:pt x="275" y="255"/>
                </a:cubicBezTo>
                <a:cubicBezTo>
                  <a:pt x="275" y="394"/>
                  <a:pt x="275" y="394"/>
                  <a:pt x="275" y="394"/>
                </a:cubicBezTo>
                <a:cubicBezTo>
                  <a:pt x="275" y="398"/>
                  <a:pt x="274" y="401"/>
                  <a:pt x="271" y="404"/>
                </a:cubicBezTo>
                <a:cubicBezTo>
                  <a:pt x="271" y="404"/>
                  <a:pt x="271" y="404"/>
                  <a:pt x="271" y="404"/>
                </a:cubicBezTo>
                <a:cubicBezTo>
                  <a:pt x="269" y="406"/>
                  <a:pt x="266" y="408"/>
                  <a:pt x="262" y="408"/>
                </a:cubicBezTo>
                <a:cubicBezTo>
                  <a:pt x="262" y="408"/>
                  <a:pt x="262" y="408"/>
                  <a:pt x="262" y="408"/>
                </a:cubicBezTo>
                <a:cubicBezTo>
                  <a:pt x="162" y="408"/>
                  <a:pt x="162" y="408"/>
                  <a:pt x="162" y="40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4" name="Freeform 616"/>
          <p:cNvSpPr>
            <a:spLocks/>
          </p:cNvSpPr>
          <p:nvPr userDrawn="1"/>
        </p:nvSpPr>
        <p:spPr bwMode="auto">
          <a:xfrm>
            <a:off x="11096546" y="3043347"/>
            <a:ext cx="496888" cy="409575"/>
          </a:xfrm>
          <a:custGeom>
            <a:avLst/>
            <a:gdLst/>
            <a:ahLst/>
            <a:cxnLst>
              <a:cxn ang="0">
                <a:pos x="439" y="11"/>
              </a:cxn>
              <a:cxn ang="0">
                <a:pos x="318" y="78"/>
              </a:cxn>
              <a:cxn ang="0">
                <a:pos x="230" y="141"/>
              </a:cxn>
              <a:cxn ang="0">
                <a:pos x="191" y="159"/>
              </a:cxn>
              <a:cxn ang="0">
                <a:pos x="162" y="198"/>
              </a:cxn>
              <a:cxn ang="0">
                <a:pos x="248" y="168"/>
              </a:cxn>
              <a:cxn ang="0">
                <a:pos x="361" y="95"/>
              </a:cxn>
              <a:cxn ang="0">
                <a:pos x="376" y="202"/>
              </a:cxn>
              <a:cxn ang="0">
                <a:pos x="29" y="214"/>
              </a:cxn>
              <a:cxn ang="0">
                <a:pos x="88" y="178"/>
              </a:cxn>
              <a:cxn ang="0">
                <a:pos x="63" y="129"/>
              </a:cxn>
              <a:cxn ang="0">
                <a:pos x="89" y="56"/>
              </a:cxn>
              <a:cxn ang="0">
                <a:pos x="301" y="35"/>
              </a:cxn>
            </a:cxnLst>
            <a:rect l="0" t="0" r="r" b="b"/>
            <a:pathLst>
              <a:path w="439" h="363">
                <a:moveTo>
                  <a:pt x="439" y="11"/>
                </a:moveTo>
                <a:cubicBezTo>
                  <a:pt x="439" y="11"/>
                  <a:pt x="372" y="42"/>
                  <a:pt x="318" y="78"/>
                </a:cubicBezTo>
                <a:cubicBezTo>
                  <a:pt x="276" y="106"/>
                  <a:pt x="239" y="135"/>
                  <a:pt x="230" y="141"/>
                </a:cubicBezTo>
                <a:cubicBezTo>
                  <a:pt x="221" y="144"/>
                  <a:pt x="205" y="145"/>
                  <a:pt x="191" y="159"/>
                </a:cubicBezTo>
                <a:cubicBezTo>
                  <a:pt x="181" y="169"/>
                  <a:pt x="176" y="191"/>
                  <a:pt x="162" y="198"/>
                </a:cubicBezTo>
                <a:cubicBezTo>
                  <a:pt x="208" y="217"/>
                  <a:pt x="241" y="170"/>
                  <a:pt x="248" y="168"/>
                </a:cubicBezTo>
                <a:cubicBezTo>
                  <a:pt x="255" y="165"/>
                  <a:pt x="358" y="97"/>
                  <a:pt x="361" y="95"/>
                </a:cubicBezTo>
                <a:cubicBezTo>
                  <a:pt x="409" y="136"/>
                  <a:pt x="376" y="202"/>
                  <a:pt x="376" y="202"/>
                </a:cubicBezTo>
                <a:cubicBezTo>
                  <a:pt x="313" y="330"/>
                  <a:pt x="0" y="363"/>
                  <a:pt x="29" y="214"/>
                </a:cubicBezTo>
                <a:cubicBezTo>
                  <a:pt x="35" y="194"/>
                  <a:pt x="56" y="182"/>
                  <a:pt x="88" y="178"/>
                </a:cubicBezTo>
                <a:cubicBezTo>
                  <a:pt x="121" y="174"/>
                  <a:pt x="125" y="131"/>
                  <a:pt x="63" y="129"/>
                </a:cubicBezTo>
                <a:cubicBezTo>
                  <a:pt x="22" y="128"/>
                  <a:pt x="68" y="77"/>
                  <a:pt x="89" y="56"/>
                </a:cubicBezTo>
                <a:cubicBezTo>
                  <a:pt x="135" y="11"/>
                  <a:pt x="214" y="0"/>
                  <a:pt x="301" y="35"/>
                </a:cubicBezTo>
              </a:path>
            </a:pathLst>
          </a:custGeom>
          <a:noFill/>
          <a:ln w="30163" cap="rnd">
            <a:solidFill>
              <a:srgbClr val="FFFFFF"/>
            </a:solidFill>
            <a:prstDash val="solid"/>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5" name="Freeform 624"/>
          <p:cNvSpPr>
            <a:spLocks/>
          </p:cNvSpPr>
          <p:nvPr userDrawn="1"/>
        </p:nvSpPr>
        <p:spPr bwMode="auto">
          <a:xfrm>
            <a:off x="11115596" y="2407672"/>
            <a:ext cx="458788" cy="468313"/>
          </a:xfrm>
          <a:custGeom>
            <a:avLst/>
            <a:gdLst/>
            <a:ahLst/>
            <a:cxnLst>
              <a:cxn ang="0">
                <a:pos x="198" y="5"/>
              </a:cxn>
              <a:cxn ang="0">
                <a:pos x="186" y="41"/>
              </a:cxn>
              <a:cxn ang="0">
                <a:pos x="145" y="74"/>
              </a:cxn>
              <a:cxn ang="0">
                <a:pos x="112" y="60"/>
              </a:cxn>
              <a:cxn ang="0">
                <a:pos x="80" y="70"/>
              </a:cxn>
              <a:cxn ang="0">
                <a:pos x="79" y="108"/>
              </a:cxn>
              <a:cxn ang="0">
                <a:pos x="61" y="93"/>
              </a:cxn>
              <a:cxn ang="0">
                <a:pos x="1" y="110"/>
              </a:cxn>
              <a:cxn ang="0">
                <a:pos x="22" y="165"/>
              </a:cxn>
              <a:cxn ang="0">
                <a:pos x="96" y="286"/>
              </a:cxn>
              <a:cxn ang="0">
                <a:pos x="79" y="344"/>
              </a:cxn>
              <a:cxn ang="0">
                <a:pos x="247" y="406"/>
              </a:cxn>
              <a:cxn ang="0">
                <a:pos x="258" y="390"/>
              </a:cxn>
              <a:cxn ang="0">
                <a:pos x="284" y="355"/>
              </a:cxn>
              <a:cxn ang="0">
                <a:pos x="355" y="372"/>
              </a:cxn>
              <a:cxn ang="0">
                <a:pos x="400" y="318"/>
              </a:cxn>
              <a:cxn ang="0">
                <a:pos x="363" y="228"/>
              </a:cxn>
              <a:cxn ang="0">
                <a:pos x="345" y="259"/>
              </a:cxn>
              <a:cxn ang="0">
                <a:pos x="346" y="349"/>
              </a:cxn>
              <a:cxn ang="0">
                <a:pos x="282" y="330"/>
              </a:cxn>
              <a:cxn ang="0">
                <a:pos x="232" y="380"/>
              </a:cxn>
              <a:cxn ang="0">
                <a:pos x="105" y="348"/>
              </a:cxn>
              <a:cxn ang="0">
                <a:pos x="123" y="263"/>
              </a:cxn>
              <a:cxn ang="0">
                <a:pos x="28" y="141"/>
              </a:cxn>
              <a:cxn ang="0">
                <a:pos x="56" y="119"/>
              </a:cxn>
              <a:cxn ang="0">
                <a:pos x="80" y="133"/>
              </a:cxn>
              <a:cxn ang="0">
                <a:pos x="123" y="117"/>
              </a:cxn>
              <a:cxn ang="0">
                <a:pos x="119" y="105"/>
              </a:cxn>
              <a:cxn ang="0">
                <a:pos x="128" y="94"/>
              </a:cxn>
              <a:cxn ang="0">
                <a:pos x="167" y="87"/>
              </a:cxn>
              <a:cxn ang="0">
                <a:pos x="211" y="42"/>
              </a:cxn>
              <a:cxn ang="0">
                <a:pos x="211" y="32"/>
              </a:cxn>
              <a:cxn ang="0">
                <a:pos x="221" y="25"/>
              </a:cxn>
              <a:cxn ang="0">
                <a:pos x="368" y="157"/>
              </a:cxn>
              <a:cxn ang="0">
                <a:pos x="320" y="228"/>
              </a:cxn>
              <a:cxn ang="0">
                <a:pos x="333" y="241"/>
              </a:cxn>
              <a:cxn ang="0">
                <a:pos x="386" y="178"/>
              </a:cxn>
              <a:cxn ang="0">
                <a:pos x="403" y="103"/>
              </a:cxn>
              <a:cxn ang="0">
                <a:pos x="393" y="87"/>
              </a:cxn>
              <a:cxn ang="0">
                <a:pos x="225" y="0"/>
              </a:cxn>
            </a:cxnLst>
            <a:rect l="0" t="0" r="r" b="b"/>
            <a:pathLst>
              <a:path w="406" h="414">
                <a:moveTo>
                  <a:pt x="225" y="0"/>
                </a:moveTo>
                <a:cubicBezTo>
                  <a:pt x="222" y="0"/>
                  <a:pt x="207" y="1"/>
                  <a:pt x="198" y="5"/>
                </a:cubicBezTo>
                <a:cubicBezTo>
                  <a:pt x="184" y="10"/>
                  <a:pt x="185" y="24"/>
                  <a:pt x="186" y="33"/>
                </a:cubicBezTo>
                <a:cubicBezTo>
                  <a:pt x="186" y="36"/>
                  <a:pt x="186" y="38"/>
                  <a:pt x="186" y="41"/>
                </a:cubicBezTo>
                <a:cubicBezTo>
                  <a:pt x="185" y="44"/>
                  <a:pt x="179" y="52"/>
                  <a:pt x="172" y="52"/>
                </a:cubicBezTo>
                <a:cubicBezTo>
                  <a:pt x="156" y="51"/>
                  <a:pt x="149" y="65"/>
                  <a:pt x="145" y="74"/>
                </a:cubicBezTo>
                <a:cubicBezTo>
                  <a:pt x="143" y="73"/>
                  <a:pt x="141" y="72"/>
                  <a:pt x="138" y="71"/>
                </a:cubicBezTo>
                <a:cubicBezTo>
                  <a:pt x="130" y="68"/>
                  <a:pt x="120" y="63"/>
                  <a:pt x="112" y="60"/>
                </a:cubicBezTo>
                <a:cubicBezTo>
                  <a:pt x="103" y="57"/>
                  <a:pt x="88" y="51"/>
                  <a:pt x="82" y="63"/>
                </a:cubicBezTo>
                <a:cubicBezTo>
                  <a:pt x="81" y="65"/>
                  <a:pt x="80" y="67"/>
                  <a:pt x="80" y="70"/>
                </a:cubicBezTo>
                <a:cubicBezTo>
                  <a:pt x="80" y="76"/>
                  <a:pt x="84" y="86"/>
                  <a:pt x="93" y="107"/>
                </a:cubicBezTo>
                <a:cubicBezTo>
                  <a:pt x="89" y="108"/>
                  <a:pt x="84" y="108"/>
                  <a:pt x="79" y="108"/>
                </a:cubicBezTo>
                <a:cubicBezTo>
                  <a:pt x="77" y="106"/>
                  <a:pt x="75" y="102"/>
                  <a:pt x="73" y="100"/>
                </a:cubicBezTo>
                <a:cubicBezTo>
                  <a:pt x="72" y="97"/>
                  <a:pt x="68" y="93"/>
                  <a:pt x="61" y="93"/>
                </a:cubicBezTo>
                <a:cubicBezTo>
                  <a:pt x="53" y="93"/>
                  <a:pt x="35" y="97"/>
                  <a:pt x="31" y="98"/>
                </a:cubicBezTo>
                <a:cubicBezTo>
                  <a:pt x="8" y="103"/>
                  <a:pt x="4" y="105"/>
                  <a:pt x="1" y="110"/>
                </a:cubicBezTo>
                <a:cubicBezTo>
                  <a:pt x="0" y="112"/>
                  <a:pt x="0" y="114"/>
                  <a:pt x="0" y="116"/>
                </a:cubicBezTo>
                <a:cubicBezTo>
                  <a:pt x="0" y="130"/>
                  <a:pt x="1" y="163"/>
                  <a:pt x="22" y="165"/>
                </a:cubicBezTo>
                <a:cubicBezTo>
                  <a:pt x="30" y="166"/>
                  <a:pt x="65" y="182"/>
                  <a:pt x="76" y="198"/>
                </a:cubicBezTo>
                <a:cubicBezTo>
                  <a:pt x="90" y="219"/>
                  <a:pt x="103" y="243"/>
                  <a:pt x="96" y="286"/>
                </a:cubicBezTo>
                <a:cubicBezTo>
                  <a:pt x="89" y="329"/>
                  <a:pt x="79" y="344"/>
                  <a:pt x="78" y="344"/>
                </a:cubicBezTo>
                <a:cubicBezTo>
                  <a:pt x="79" y="344"/>
                  <a:pt x="79" y="344"/>
                  <a:pt x="79" y="344"/>
                </a:cubicBezTo>
                <a:cubicBezTo>
                  <a:pt x="74" y="349"/>
                  <a:pt x="75" y="357"/>
                  <a:pt x="81" y="361"/>
                </a:cubicBezTo>
                <a:cubicBezTo>
                  <a:pt x="83" y="363"/>
                  <a:pt x="148" y="414"/>
                  <a:pt x="247" y="406"/>
                </a:cubicBezTo>
                <a:cubicBezTo>
                  <a:pt x="251" y="405"/>
                  <a:pt x="254" y="403"/>
                  <a:pt x="256" y="400"/>
                </a:cubicBezTo>
                <a:cubicBezTo>
                  <a:pt x="259" y="397"/>
                  <a:pt x="259" y="393"/>
                  <a:pt x="258" y="390"/>
                </a:cubicBezTo>
                <a:cubicBezTo>
                  <a:pt x="257" y="386"/>
                  <a:pt x="255" y="373"/>
                  <a:pt x="261" y="365"/>
                </a:cubicBezTo>
                <a:cubicBezTo>
                  <a:pt x="265" y="359"/>
                  <a:pt x="273" y="356"/>
                  <a:pt x="284" y="355"/>
                </a:cubicBezTo>
                <a:cubicBezTo>
                  <a:pt x="307" y="353"/>
                  <a:pt x="314" y="359"/>
                  <a:pt x="321" y="365"/>
                </a:cubicBezTo>
                <a:cubicBezTo>
                  <a:pt x="328" y="371"/>
                  <a:pt x="338" y="379"/>
                  <a:pt x="355" y="372"/>
                </a:cubicBezTo>
                <a:cubicBezTo>
                  <a:pt x="382" y="362"/>
                  <a:pt x="402" y="336"/>
                  <a:pt x="402" y="335"/>
                </a:cubicBezTo>
                <a:cubicBezTo>
                  <a:pt x="406" y="330"/>
                  <a:pt x="405" y="322"/>
                  <a:pt x="400" y="318"/>
                </a:cubicBezTo>
                <a:cubicBezTo>
                  <a:pt x="399" y="317"/>
                  <a:pt x="362" y="287"/>
                  <a:pt x="372" y="243"/>
                </a:cubicBezTo>
                <a:cubicBezTo>
                  <a:pt x="374" y="236"/>
                  <a:pt x="370" y="230"/>
                  <a:pt x="363" y="228"/>
                </a:cubicBezTo>
                <a:cubicBezTo>
                  <a:pt x="357" y="226"/>
                  <a:pt x="350" y="230"/>
                  <a:pt x="348" y="237"/>
                </a:cubicBezTo>
                <a:cubicBezTo>
                  <a:pt x="346" y="245"/>
                  <a:pt x="345" y="252"/>
                  <a:pt x="345" y="259"/>
                </a:cubicBezTo>
                <a:cubicBezTo>
                  <a:pt x="345" y="292"/>
                  <a:pt x="363" y="316"/>
                  <a:pt x="375" y="328"/>
                </a:cubicBezTo>
                <a:cubicBezTo>
                  <a:pt x="368" y="335"/>
                  <a:pt x="358" y="344"/>
                  <a:pt x="346" y="349"/>
                </a:cubicBezTo>
                <a:cubicBezTo>
                  <a:pt x="342" y="351"/>
                  <a:pt x="342" y="351"/>
                  <a:pt x="337" y="346"/>
                </a:cubicBezTo>
                <a:cubicBezTo>
                  <a:pt x="328" y="339"/>
                  <a:pt x="315" y="328"/>
                  <a:pt x="282" y="330"/>
                </a:cubicBezTo>
                <a:cubicBezTo>
                  <a:pt x="263" y="331"/>
                  <a:pt x="249" y="338"/>
                  <a:pt x="241" y="350"/>
                </a:cubicBezTo>
                <a:cubicBezTo>
                  <a:pt x="234" y="360"/>
                  <a:pt x="232" y="371"/>
                  <a:pt x="232" y="380"/>
                </a:cubicBezTo>
                <a:cubicBezTo>
                  <a:pt x="232" y="380"/>
                  <a:pt x="232" y="381"/>
                  <a:pt x="232" y="381"/>
                </a:cubicBezTo>
                <a:cubicBezTo>
                  <a:pt x="169" y="383"/>
                  <a:pt x="123" y="359"/>
                  <a:pt x="105" y="348"/>
                </a:cubicBezTo>
                <a:cubicBezTo>
                  <a:pt x="109" y="337"/>
                  <a:pt x="116" y="319"/>
                  <a:pt x="121" y="290"/>
                </a:cubicBezTo>
                <a:cubicBezTo>
                  <a:pt x="122" y="280"/>
                  <a:pt x="123" y="272"/>
                  <a:pt x="123" y="263"/>
                </a:cubicBezTo>
                <a:cubicBezTo>
                  <a:pt x="123" y="223"/>
                  <a:pt x="106" y="199"/>
                  <a:pt x="96" y="184"/>
                </a:cubicBezTo>
                <a:cubicBezTo>
                  <a:pt x="82" y="163"/>
                  <a:pt x="45" y="145"/>
                  <a:pt x="28" y="141"/>
                </a:cubicBezTo>
                <a:cubicBezTo>
                  <a:pt x="27" y="138"/>
                  <a:pt x="26" y="132"/>
                  <a:pt x="25" y="125"/>
                </a:cubicBezTo>
                <a:cubicBezTo>
                  <a:pt x="33" y="123"/>
                  <a:pt x="48" y="120"/>
                  <a:pt x="56" y="119"/>
                </a:cubicBezTo>
                <a:cubicBezTo>
                  <a:pt x="62" y="129"/>
                  <a:pt x="67" y="135"/>
                  <a:pt x="75" y="134"/>
                </a:cubicBezTo>
                <a:cubicBezTo>
                  <a:pt x="76" y="134"/>
                  <a:pt x="80" y="133"/>
                  <a:pt x="80" y="133"/>
                </a:cubicBezTo>
                <a:cubicBezTo>
                  <a:pt x="110" y="131"/>
                  <a:pt x="116" y="130"/>
                  <a:pt x="121" y="124"/>
                </a:cubicBezTo>
                <a:cubicBezTo>
                  <a:pt x="122" y="122"/>
                  <a:pt x="123" y="119"/>
                  <a:pt x="123" y="117"/>
                </a:cubicBezTo>
                <a:cubicBezTo>
                  <a:pt x="123" y="115"/>
                  <a:pt x="123" y="114"/>
                  <a:pt x="122" y="112"/>
                </a:cubicBezTo>
                <a:cubicBezTo>
                  <a:pt x="119" y="105"/>
                  <a:pt x="119" y="105"/>
                  <a:pt x="119" y="105"/>
                </a:cubicBezTo>
                <a:cubicBezTo>
                  <a:pt x="116" y="98"/>
                  <a:pt x="113" y="92"/>
                  <a:pt x="111" y="87"/>
                </a:cubicBezTo>
                <a:cubicBezTo>
                  <a:pt x="117" y="89"/>
                  <a:pt x="124" y="92"/>
                  <a:pt x="128" y="94"/>
                </a:cubicBezTo>
                <a:cubicBezTo>
                  <a:pt x="145" y="101"/>
                  <a:pt x="147" y="103"/>
                  <a:pt x="152" y="102"/>
                </a:cubicBezTo>
                <a:cubicBezTo>
                  <a:pt x="161" y="102"/>
                  <a:pt x="164" y="94"/>
                  <a:pt x="167" y="87"/>
                </a:cubicBezTo>
                <a:cubicBezTo>
                  <a:pt x="168" y="85"/>
                  <a:pt x="170" y="79"/>
                  <a:pt x="172" y="77"/>
                </a:cubicBezTo>
                <a:cubicBezTo>
                  <a:pt x="192" y="77"/>
                  <a:pt x="209" y="59"/>
                  <a:pt x="211" y="42"/>
                </a:cubicBezTo>
                <a:cubicBezTo>
                  <a:pt x="211" y="41"/>
                  <a:pt x="211" y="40"/>
                  <a:pt x="211" y="38"/>
                </a:cubicBezTo>
                <a:cubicBezTo>
                  <a:pt x="211" y="36"/>
                  <a:pt x="211" y="34"/>
                  <a:pt x="211" y="32"/>
                </a:cubicBezTo>
                <a:cubicBezTo>
                  <a:pt x="210" y="30"/>
                  <a:pt x="210" y="28"/>
                  <a:pt x="210" y="27"/>
                </a:cubicBezTo>
                <a:cubicBezTo>
                  <a:pt x="213" y="26"/>
                  <a:pt x="217" y="26"/>
                  <a:pt x="221" y="25"/>
                </a:cubicBezTo>
                <a:cubicBezTo>
                  <a:pt x="237" y="40"/>
                  <a:pt x="296" y="90"/>
                  <a:pt x="375" y="109"/>
                </a:cubicBezTo>
                <a:cubicBezTo>
                  <a:pt x="372" y="121"/>
                  <a:pt x="368" y="140"/>
                  <a:pt x="368" y="157"/>
                </a:cubicBezTo>
                <a:cubicBezTo>
                  <a:pt x="368" y="157"/>
                  <a:pt x="368" y="158"/>
                  <a:pt x="368" y="159"/>
                </a:cubicBezTo>
                <a:cubicBezTo>
                  <a:pt x="353" y="167"/>
                  <a:pt x="321" y="190"/>
                  <a:pt x="320" y="228"/>
                </a:cubicBezTo>
                <a:cubicBezTo>
                  <a:pt x="320" y="228"/>
                  <a:pt x="320" y="228"/>
                  <a:pt x="320" y="228"/>
                </a:cubicBezTo>
                <a:cubicBezTo>
                  <a:pt x="320" y="235"/>
                  <a:pt x="326" y="241"/>
                  <a:pt x="333" y="241"/>
                </a:cubicBezTo>
                <a:cubicBezTo>
                  <a:pt x="339" y="241"/>
                  <a:pt x="345" y="235"/>
                  <a:pt x="345" y="228"/>
                </a:cubicBezTo>
                <a:cubicBezTo>
                  <a:pt x="345" y="195"/>
                  <a:pt x="386" y="178"/>
                  <a:pt x="386" y="178"/>
                </a:cubicBezTo>
                <a:cubicBezTo>
                  <a:pt x="391" y="175"/>
                  <a:pt x="394" y="170"/>
                  <a:pt x="394" y="164"/>
                </a:cubicBezTo>
                <a:cubicBezTo>
                  <a:pt x="391" y="146"/>
                  <a:pt x="399" y="114"/>
                  <a:pt x="403" y="103"/>
                </a:cubicBezTo>
                <a:cubicBezTo>
                  <a:pt x="404" y="100"/>
                  <a:pt x="403" y="96"/>
                  <a:pt x="402" y="93"/>
                </a:cubicBezTo>
                <a:cubicBezTo>
                  <a:pt x="400" y="90"/>
                  <a:pt x="397" y="88"/>
                  <a:pt x="393" y="87"/>
                </a:cubicBezTo>
                <a:cubicBezTo>
                  <a:pt x="303" y="70"/>
                  <a:pt x="235" y="4"/>
                  <a:pt x="235" y="4"/>
                </a:cubicBezTo>
                <a:cubicBezTo>
                  <a:pt x="232" y="1"/>
                  <a:pt x="229" y="0"/>
                  <a:pt x="225" y="0"/>
                </a:cubicBezTo>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6" name="Freeform 664"/>
          <p:cNvSpPr>
            <a:spLocks noEditPoints="1"/>
          </p:cNvSpPr>
          <p:nvPr userDrawn="1"/>
        </p:nvSpPr>
        <p:spPr bwMode="auto">
          <a:xfrm>
            <a:off x="11088608" y="1205314"/>
            <a:ext cx="512762" cy="433388"/>
          </a:xfrm>
          <a:custGeom>
            <a:avLst/>
            <a:gdLst/>
            <a:ahLst/>
            <a:cxnLst>
              <a:cxn ang="0">
                <a:pos x="443" y="0"/>
              </a:cxn>
              <a:cxn ang="0">
                <a:pos x="217" y="90"/>
              </a:cxn>
              <a:cxn ang="0">
                <a:pos x="215" y="97"/>
              </a:cxn>
              <a:cxn ang="0">
                <a:pos x="215" y="336"/>
              </a:cxn>
              <a:cxn ang="0">
                <a:pos x="27" y="275"/>
              </a:cxn>
              <a:cxn ang="0">
                <a:pos x="27" y="28"/>
              </a:cxn>
              <a:cxn ang="0">
                <a:pos x="191" y="77"/>
              </a:cxn>
              <a:cxn ang="0">
                <a:pos x="210" y="75"/>
              </a:cxn>
              <a:cxn ang="0">
                <a:pos x="207" y="56"/>
              </a:cxn>
              <a:cxn ang="0">
                <a:pos x="14" y="0"/>
              </a:cxn>
              <a:cxn ang="0">
                <a:pos x="4" y="4"/>
              </a:cxn>
              <a:cxn ang="0">
                <a:pos x="0" y="14"/>
              </a:cxn>
              <a:cxn ang="0">
                <a:pos x="0" y="287"/>
              </a:cxn>
              <a:cxn ang="0">
                <a:pos x="13" y="301"/>
              </a:cxn>
              <a:cxn ang="0">
                <a:pos x="217" y="378"/>
              </a:cxn>
              <a:cxn ang="0">
                <a:pos x="218" y="379"/>
              </a:cxn>
              <a:cxn ang="0">
                <a:pos x="219" y="381"/>
              </a:cxn>
              <a:cxn ang="0">
                <a:pos x="220" y="382"/>
              </a:cxn>
              <a:cxn ang="0">
                <a:pos x="221" y="382"/>
              </a:cxn>
              <a:cxn ang="0">
                <a:pos x="222" y="383"/>
              </a:cxn>
              <a:cxn ang="0">
                <a:pos x="224" y="384"/>
              </a:cxn>
              <a:cxn ang="0">
                <a:pos x="225" y="384"/>
              </a:cxn>
              <a:cxn ang="0">
                <a:pos x="228" y="384"/>
              </a:cxn>
              <a:cxn ang="0">
                <a:pos x="228" y="384"/>
              </a:cxn>
              <a:cxn ang="0">
                <a:pos x="228" y="384"/>
              </a:cxn>
              <a:cxn ang="0">
                <a:pos x="232" y="384"/>
              </a:cxn>
              <a:cxn ang="0">
                <a:pos x="232" y="384"/>
              </a:cxn>
              <a:cxn ang="0">
                <a:pos x="234" y="383"/>
              </a:cxn>
              <a:cxn ang="0">
                <a:pos x="235" y="383"/>
              </a:cxn>
              <a:cxn ang="0">
                <a:pos x="237" y="381"/>
              </a:cxn>
              <a:cxn ang="0">
                <a:pos x="237" y="381"/>
              </a:cxn>
              <a:cxn ang="0">
                <a:pos x="239" y="379"/>
              </a:cxn>
              <a:cxn ang="0">
                <a:pos x="240" y="378"/>
              </a:cxn>
              <a:cxn ang="0">
                <a:pos x="443" y="301"/>
              </a:cxn>
              <a:cxn ang="0">
                <a:pos x="456" y="287"/>
              </a:cxn>
              <a:cxn ang="0">
                <a:pos x="456" y="14"/>
              </a:cxn>
              <a:cxn ang="0">
                <a:pos x="452" y="4"/>
              </a:cxn>
              <a:cxn ang="0">
                <a:pos x="443" y="0"/>
              </a:cxn>
              <a:cxn ang="0">
                <a:pos x="430" y="28"/>
              </a:cxn>
              <a:cxn ang="0">
                <a:pos x="430" y="275"/>
              </a:cxn>
              <a:cxn ang="0">
                <a:pos x="242" y="336"/>
              </a:cxn>
              <a:cxn ang="0">
                <a:pos x="242" y="102"/>
              </a:cxn>
              <a:cxn ang="0">
                <a:pos x="430" y="28"/>
              </a:cxn>
            </a:cxnLst>
            <a:rect l="0" t="0" r="r" b="b"/>
            <a:pathLst>
              <a:path w="456" h="384">
                <a:moveTo>
                  <a:pt x="443" y="0"/>
                </a:moveTo>
                <a:cubicBezTo>
                  <a:pt x="436" y="0"/>
                  <a:pt x="273" y="5"/>
                  <a:pt x="217" y="90"/>
                </a:cubicBezTo>
                <a:cubicBezTo>
                  <a:pt x="216" y="92"/>
                  <a:pt x="215" y="95"/>
                  <a:pt x="215" y="97"/>
                </a:cubicBezTo>
                <a:cubicBezTo>
                  <a:pt x="215" y="97"/>
                  <a:pt x="215" y="283"/>
                  <a:pt x="215" y="336"/>
                </a:cubicBezTo>
                <a:cubicBezTo>
                  <a:pt x="159" y="288"/>
                  <a:pt x="62" y="277"/>
                  <a:pt x="27" y="275"/>
                </a:cubicBezTo>
                <a:cubicBezTo>
                  <a:pt x="27" y="253"/>
                  <a:pt x="27" y="52"/>
                  <a:pt x="27" y="28"/>
                </a:cubicBezTo>
                <a:cubicBezTo>
                  <a:pt x="59" y="30"/>
                  <a:pt x="141" y="40"/>
                  <a:pt x="191" y="77"/>
                </a:cubicBezTo>
                <a:cubicBezTo>
                  <a:pt x="197" y="82"/>
                  <a:pt x="205" y="81"/>
                  <a:pt x="210" y="75"/>
                </a:cubicBezTo>
                <a:cubicBezTo>
                  <a:pt x="214" y="69"/>
                  <a:pt x="213" y="61"/>
                  <a:pt x="207" y="56"/>
                </a:cubicBezTo>
                <a:cubicBezTo>
                  <a:pt x="137" y="3"/>
                  <a:pt x="19" y="0"/>
                  <a:pt x="14" y="0"/>
                </a:cubicBezTo>
                <a:cubicBezTo>
                  <a:pt x="10" y="0"/>
                  <a:pt x="7" y="1"/>
                  <a:pt x="4" y="4"/>
                </a:cubicBezTo>
                <a:cubicBezTo>
                  <a:pt x="2" y="6"/>
                  <a:pt x="0" y="10"/>
                  <a:pt x="0" y="14"/>
                </a:cubicBezTo>
                <a:cubicBezTo>
                  <a:pt x="0" y="287"/>
                  <a:pt x="0" y="287"/>
                  <a:pt x="0" y="287"/>
                </a:cubicBezTo>
                <a:cubicBezTo>
                  <a:pt x="0" y="294"/>
                  <a:pt x="6" y="300"/>
                  <a:pt x="13" y="301"/>
                </a:cubicBezTo>
                <a:cubicBezTo>
                  <a:pt x="15" y="301"/>
                  <a:pt x="169" y="305"/>
                  <a:pt x="217" y="378"/>
                </a:cubicBezTo>
                <a:cubicBezTo>
                  <a:pt x="217" y="379"/>
                  <a:pt x="218" y="379"/>
                  <a:pt x="218" y="379"/>
                </a:cubicBezTo>
                <a:cubicBezTo>
                  <a:pt x="218" y="380"/>
                  <a:pt x="219" y="380"/>
                  <a:pt x="219" y="381"/>
                </a:cubicBezTo>
                <a:cubicBezTo>
                  <a:pt x="219" y="381"/>
                  <a:pt x="220" y="381"/>
                  <a:pt x="220" y="382"/>
                </a:cubicBezTo>
                <a:cubicBezTo>
                  <a:pt x="221" y="382"/>
                  <a:pt x="221" y="382"/>
                  <a:pt x="221" y="382"/>
                </a:cubicBezTo>
                <a:cubicBezTo>
                  <a:pt x="221" y="382"/>
                  <a:pt x="221" y="382"/>
                  <a:pt x="222" y="383"/>
                </a:cubicBezTo>
                <a:cubicBezTo>
                  <a:pt x="222" y="383"/>
                  <a:pt x="223" y="383"/>
                  <a:pt x="224" y="384"/>
                </a:cubicBezTo>
                <a:cubicBezTo>
                  <a:pt x="224" y="384"/>
                  <a:pt x="224" y="384"/>
                  <a:pt x="225" y="384"/>
                </a:cubicBezTo>
                <a:cubicBezTo>
                  <a:pt x="226" y="384"/>
                  <a:pt x="227" y="384"/>
                  <a:pt x="228" y="384"/>
                </a:cubicBezTo>
                <a:cubicBezTo>
                  <a:pt x="228" y="384"/>
                  <a:pt x="228" y="384"/>
                  <a:pt x="228" y="384"/>
                </a:cubicBezTo>
                <a:cubicBezTo>
                  <a:pt x="228" y="384"/>
                  <a:pt x="228" y="384"/>
                  <a:pt x="228" y="384"/>
                </a:cubicBezTo>
                <a:cubicBezTo>
                  <a:pt x="230" y="384"/>
                  <a:pt x="231" y="384"/>
                  <a:pt x="232" y="384"/>
                </a:cubicBezTo>
                <a:cubicBezTo>
                  <a:pt x="232" y="384"/>
                  <a:pt x="232" y="384"/>
                  <a:pt x="232" y="384"/>
                </a:cubicBezTo>
                <a:cubicBezTo>
                  <a:pt x="233" y="384"/>
                  <a:pt x="234" y="383"/>
                  <a:pt x="234" y="383"/>
                </a:cubicBezTo>
                <a:cubicBezTo>
                  <a:pt x="235" y="383"/>
                  <a:pt x="235" y="383"/>
                  <a:pt x="235" y="383"/>
                </a:cubicBezTo>
                <a:cubicBezTo>
                  <a:pt x="236" y="382"/>
                  <a:pt x="236" y="382"/>
                  <a:pt x="237" y="381"/>
                </a:cubicBezTo>
                <a:cubicBezTo>
                  <a:pt x="237" y="381"/>
                  <a:pt x="237" y="381"/>
                  <a:pt x="237" y="381"/>
                </a:cubicBezTo>
                <a:cubicBezTo>
                  <a:pt x="238" y="380"/>
                  <a:pt x="239" y="379"/>
                  <a:pt x="239" y="379"/>
                </a:cubicBezTo>
                <a:cubicBezTo>
                  <a:pt x="239" y="379"/>
                  <a:pt x="239" y="378"/>
                  <a:pt x="240" y="378"/>
                </a:cubicBezTo>
                <a:cubicBezTo>
                  <a:pt x="287" y="305"/>
                  <a:pt x="442" y="301"/>
                  <a:pt x="443" y="301"/>
                </a:cubicBezTo>
                <a:cubicBezTo>
                  <a:pt x="450" y="300"/>
                  <a:pt x="456" y="294"/>
                  <a:pt x="456" y="287"/>
                </a:cubicBezTo>
                <a:cubicBezTo>
                  <a:pt x="456" y="14"/>
                  <a:pt x="456" y="14"/>
                  <a:pt x="456" y="14"/>
                </a:cubicBezTo>
                <a:cubicBezTo>
                  <a:pt x="456" y="10"/>
                  <a:pt x="455" y="6"/>
                  <a:pt x="452" y="4"/>
                </a:cubicBezTo>
                <a:cubicBezTo>
                  <a:pt x="450" y="1"/>
                  <a:pt x="446" y="0"/>
                  <a:pt x="443" y="0"/>
                </a:cubicBezTo>
                <a:close/>
                <a:moveTo>
                  <a:pt x="430" y="28"/>
                </a:moveTo>
                <a:cubicBezTo>
                  <a:pt x="430" y="52"/>
                  <a:pt x="430" y="253"/>
                  <a:pt x="430" y="275"/>
                </a:cubicBezTo>
                <a:cubicBezTo>
                  <a:pt x="395" y="277"/>
                  <a:pt x="298" y="288"/>
                  <a:pt x="242" y="336"/>
                </a:cubicBezTo>
                <a:cubicBezTo>
                  <a:pt x="242" y="284"/>
                  <a:pt x="242" y="109"/>
                  <a:pt x="242" y="102"/>
                </a:cubicBezTo>
                <a:cubicBezTo>
                  <a:pt x="283" y="44"/>
                  <a:pt x="391" y="30"/>
                  <a:pt x="430" y="2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57" name="Freeform 668"/>
          <p:cNvSpPr>
            <a:spLocks/>
          </p:cNvSpPr>
          <p:nvPr userDrawn="1"/>
        </p:nvSpPr>
        <p:spPr bwMode="auto">
          <a:xfrm>
            <a:off x="11159254" y="1815214"/>
            <a:ext cx="371475" cy="377825"/>
          </a:xfrm>
          <a:custGeom>
            <a:avLst/>
            <a:gdLst/>
            <a:ahLst/>
            <a:cxnLst>
              <a:cxn ang="0">
                <a:pos x="212" y="60"/>
              </a:cxn>
              <a:cxn ang="0">
                <a:pos x="37" y="15"/>
              </a:cxn>
              <a:cxn ang="0">
                <a:pos x="0" y="57"/>
              </a:cxn>
              <a:cxn ang="0">
                <a:pos x="9" y="69"/>
              </a:cxn>
              <a:cxn ang="0">
                <a:pos x="135" y="139"/>
              </a:cxn>
              <a:cxn ang="0">
                <a:pos x="31" y="210"/>
              </a:cxn>
              <a:cxn ang="0">
                <a:pos x="7" y="222"/>
              </a:cxn>
              <a:cxn ang="0">
                <a:pos x="24" y="240"/>
              </a:cxn>
              <a:cxn ang="0">
                <a:pos x="60" y="250"/>
              </a:cxn>
              <a:cxn ang="0">
                <a:pos x="162" y="145"/>
              </a:cxn>
              <a:cxn ang="0">
                <a:pos x="165" y="135"/>
              </a:cxn>
              <a:cxn ang="0">
                <a:pos x="53" y="56"/>
              </a:cxn>
              <a:cxn ang="0">
                <a:pos x="36" y="51"/>
              </a:cxn>
              <a:cxn ang="0">
                <a:pos x="212" y="86"/>
              </a:cxn>
              <a:cxn ang="0">
                <a:pos x="273" y="34"/>
              </a:cxn>
              <a:cxn ang="0">
                <a:pos x="304" y="38"/>
              </a:cxn>
              <a:cxn ang="0">
                <a:pos x="251" y="109"/>
              </a:cxn>
              <a:cxn ang="0">
                <a:pos x="248" y="122"/>
              </a:cxn>
              <a:cxn ang="0">
                <a:pos x="283" y="297"/>
              </a:cxn>
              <a:cxn ang="0">
                <a:pos x="278" y="280"/>
              </a:cxn>
              <a:cxn ang="0">
                <a:pos x="198" y="169"/>
              </a:cxn>
              <a:cxn ang="0">
                <a:pos x="86" y="260"/>
              </a:cxn>
              <a:cxn ang="0">
                <a:pos x="83" y="274"/>
              </a:cxn>
              <a:cxn ang="0">
                <a:pos x="94" y="309"/>
              </a:cxn>
              <a:cxn ang="0">
                <a:pos x="94" y="327"/>
              </a:cxn>
              <a:cxn ang="0">
                <a:pos x="121" y="316"/>
              </a:cxn>
              <a:cxn ang="0">
                <a:pos x="124" y="302"/>
              </a:cxn>
              <a:cxn ang="0">
                <a:pos x="194" y="199"/>
              </a:cxn>
              <a:cxn ang="0">
                <a:pos x="264" y="324"/>
              </a:cxn>
              <a:cxn ang="0">
                <a:pos x="285" y="330"/>
              </a:cxn>
              <a:cxn ang="0">
                <a:pos x="322" y="288"/>
              </a:cxn>
              <a:cxn ang="0">
                <a:pos x="273" y="122"/>
              </a:cxn>
              <a:cxn ang="0">
                <a:pos x="329" y="39"/>
              </a:cxn>
              <a:cxn ang="0">
                <a:pos x="256" y="17"/>
              </a:cxn>
            </a:cxnLst>
            <a:rect l="0" t="0" r="r" b="b"/>
            <a:pathLst>
              <a:path w="329" h="334">
                <a:moveTo>
                  <a:pt x="256" y="17"/>
                </a:moveTo>
                <a:cubicBezTo>
                  <a:pt x="256" y="17"/>
                  <a:pt x="220" y="52"/>
                  <a:pt x="212" y="60"/>
                </a:cubicBezTo>
                <a:cubicBezTo>
                  <a:pt x="199" y="56"/>
                  <a:pt x="49" y="12"/>
                  <a:pt x="49" y="12"/>
                </a:cubicBezTo>
                <a:cubicBezTo>
                  <a:pt x="45" y="10"/>
                  <a:pt x="40" y="12"/>
                  <a:pt x="37" y="15"/>
                </a:cubicBezTo>
                <a:cubicBezTo>
                  <a:pt x="4" y="49"/>
                  <a:pt x="4" y="49"/>
                  <a:pt x="4" y="49"/>
                </a:cubicBezTo>
                <a:cubicBezTo>
                  <a:pt x="1" y="51"/>
                  <a:pt x="0" y="54"/>
                  <a:pt x="0" y="57"/>
                </a:cubicBezTo>
                <a:cubicBezTo>
                  <a:pt x="0" y="58"/>
                  <a:pt x="0" y="59"/>
                  <a:pt x="0" y="61"/>
                </a:cubicBezTo>
                <a:cubicBezTo>
                  <a:pt x="2" y="65"/>
                  <a:pt x="5" y="68"/>
                  <a:pt x="9" y="69"/>
                </a:cubicBezTo>
                <a:cubicBezTo>
                  <a:pt x="9" y="69"/>
                  <a:pt x="38" y="76"/>
                  <a:pt x="41" y="77"/>
                </a:cubicBezTo>
                <a:cubicBezTo>
                  <a:pt x="45" y="79"/>
                  <a:pt x="117" y="127"/>
                  <a:pt x="135" y="139"/>
                </a:cubicBezTo>
                <a:cubicBezTo>
                  <a:pt x="121" y="155"/>
                  <a:pt x="71" y="213"/>
                  <a:pt x="62" y="224"/>
                </a:cubicBezTo>
                <a:cubicBezTo>
                  <a:pt x="51" y="219"/>
                  <a:pt x="31" y="210"/>
                  <a:pt x="31" y="210"/>
                </a:cubicBezTo>
                <a:cubicBezTo>
                  <a:pt x="27" y="208"/>
                  <a:pt x="21" y="209"/>
                  <a:pt x="17" y="212"/>
                </a:cubicBezTo>
                <a:cubicBezTo>
                  <a:pt x="7" y="222"/>
                  <a:pt x="7" y="222"/>
                  <a:pt x="7" y="222"/>
                </a:cubicBezTo>
                <a:cubicBezTo>
                  <a:pt x="2" y="227"/>
                  <a:pt x="2" y="235"/>
                  <a:pt x="7" y="240"/>
                </a:cubicBezTo>
                <a:cubicBezTo>
                  <a:pt x="12" y="245"/>
                  <a:pt x="20" y="245"/>
                  <a:pt x="24" y="240"/>
                </a:cubicBezTo>
                <a:cubicBezTo>
                  <a:pt x="24" y="240"/>
                  <a:pt x="27" y="238"/>
                  <a:pt x="29" y="236"/>
                </a:cubicBezTo>
                <a:cubicBezTo>
                  <a:pt x="38" y="240"/>
                  <a:pt x="60" y="250"/>
                  <a:pt x="60" y="250"/>
                </a:cubicBezTo>
                <a:cubicBezTo>
                  <a:pt x="65" y="253"/>
                  <a:pt x="71" y="251"/>
                  <a:pt x="74" y="247"/>
                </a:cubicBezTo>
                <a:cubicBezTo>
                  <a:pt x="162" y="145"/>
                  <a:pt x="162" y="145"/>
                  <a:pt x="162" y="145"/>
                </a:cubicBezTo>
                <a:cubicBezTo>
                  <a:pt x="164" y="143"/>
                  <a:pt x="165" y="140"/>
                  <a:pt x="165" y="137"/>
                </a:cubicBezTo>
                <a:cubicBezTo>
                  <a:pt x="165" y="136"/>
                  <a:pt x="165" y="136"/>
                  <a:pt x="165" y="135"/>
                </a:cubicBezTo>
                <a:cubicBezTo>
                  <a:pt x="165" y="132"/>
                  <a:pt x="163" y="129"/>
                  <a:pt x="160" y="127"/>
                </a:cubicBezTo>
                <a:cubicBezTo>
                  <a:pt x="53" y="56"/>
                  <a:pt x="53" y="56"/>
                  <a:pt x="53" y="56"/>
                </a:cubicBezTo>
                <a:cubicBezTo>
                  <a:pt x="52" y="55"/>
                  <a:pt x="51" y="54"/>
                  <a:pt x="49" y="54"/>
                </a:cubicBezTo>
                <a:cubicBezTo>
                  <a:pt x="49" y="54"/>
                  <a:pt x="43" y="52"/>
                  <a:pt x="36" y="51"/>
                </a:cubicBezTo>
                <a:cubicBezTo>
                  <a:pt x="43" y="44"/>
                  <a:pt x="46" y="41"/>
                  <a:pt x="49" y="37"/>
                </a:cubicBezTo>
                <a:cubicBezTo>
                  <a:pt x="62" y="41"/>
                  <a:pt x="212" y="86"/>
                  <a:pt x="212" y="86"/>
                </a:cubicBezTo>
                <a:cubicBezTo>
                  <a:pt x="216" y="87"/>
                  <a:pt x="221" y="86"/>
                  <a:pt x="224" y="83"/>
                </a:cubicBezTo>
                <a:cubicBezTo>
                  <a:pt x="273" y="34"/>
                  <a:pt x="273" y="34"/>
                  <a:pt x="273" y="34"/>
                </a:cubicBezTo>
                <a:cubicBezTo>
                  <a:pt x="277" y="30"/>
                  <a:pt x="296" y="28"/>
                  <a:pt x="303" y="31"/>
                </a:cubicBezTo>
                <a:cubicBezTo>
                  <a:pt x="304" y="32"/>
                  <a:pt x="304" y="35"/>
                  <a:pt x="304" y="38"/>
                </a:cubicBezTo>
                <a:cubicBezTo>
                  <a:pt x="304" y="47"/>
                  <a:pt x="302" y="58"/>
                  <a:pt x="300" y="61"/>
                </a:cubicBezTo>
                <a:cubicBezTo>
                  <a:pt x="251" y="109"/>
                  <a:pt x="251" y="109"/>
                  <a:pt x="251" y="109"/>
                </a:cubicBezTo>
                <a:cubicBezTo>
                  <a:pt x="248" y="112"/>
                  <a:pt x="247" y="115"/>
                  <a:pt x="247" y="118"/>
                </a:cubicBezTo>
                <a:cubicBezTo>
                  <a:pt x="247" y="119"/>
                  <a:pt x="247" y="120"/>
                  <a:pt x="248" y="122"/>
                </a:cubicBezTo>
                <a:cubicBezTo>
                  <a:pt x="248" y="122"/>
                  <a:pt x="292" y="271"/>
                  <a:pt x="296" y="284"/>
                </a:cubicBezTo>
                <a:cubicBezTo>
                  <a:pt x="293" y="288"/>
                  <a:pt x="290" y="291"/>
                  <a:pt x="283" y="297"/>
                </a:cubicBezTo>
                <a:cubicBezTo>
                  <a:pt x="281" y="291"/>
                  <a:pt x="280" y="284"/>
                  <a:pt x="280" y="284"/>
                </a:cubicBezTo>
                <a:cubicBezTo>
                  <a:pt x="279" y="283"/>
                  <a:pt x="279" y="282"/>
                  <a:pt x="278" y="280"/>
                </a:cubicBezTo>
                <a:cubicBezTo>
                  <a:pt x="207" y="174"/>
                  <a:pt x="207" y="174"/>
                  <a:pt x="207" y="174"/>
                </a:cubicBezTo>
                <a:cubicBezTo>
                  <a:pt x="205" y="171"/>
                  <a:pt x="202" y="169"/>
                  <a:pt x="198" y="169"/>
                </a:cubicBezTo>
                <a:cubicBezTo>
                  <a:pt x="195" y="168"/>
                  <a:pt x="191" y="169"/>
                  <a:pt x="189" y="171"/>
                </a:cubicBezTo>
                <a:cubicBezTo>
                  <a:pt x="86" y="260"/>
                  <a:pt x="86" y="260"/>
                  <a:pt x="86" y="260"/>
                </a:cubicBezTo>
                <a:cubicBezTo>
                  <a:pt x="84" y="262"/>
                  <a:pt x="82" y="265"/>
                  <a:pt x="82" y="269"/>
                </a:cubicBezTo>
                <a:cubicBezTo>
                  <a:pt x="82" y="271"/>
                  <a:pt x="83" y="272"/>
                  <a:pt x="83" y="274"/>
                </a:cubicBezTo>
                <a:cubicBezTo>
                  <a:pt x="83" y="274"/>
                  <a:pt x="93" y="295"/>
                  <a:pt x="98" y="305"/>
                </a:cubicBezTo>
                <a:cubicBezTo>
                  <a:pt x="96" y="307"/>
                  <a:pt x="94" y="309"/>
                  <a:pt x="94" y="309"/>
                </a:cubicBezTo>
                <a:cubicBezTo>
                  <a:pt x="91" y="312"/>
                  <a:pt x="90" y="315"/>
                  <a:pt x="90" y="318"/>
                </a:cubicBezTo>
                <a:cubicBezTo>
                  <a:pt x="90" y="321"/>
                  <a:pt x="91" y="324"/>
                  <a:pt x="94" y="327"/>
                </a:cubicBezTo>
                <a:cubicBezTo>
                  <a:pt x="99" y="331"/>
                  <a:pt x="106" y="331"/>
                  <a:pt x="111" y="327"/>
                </a:cubicBezTo>
                <a:cubicBezTo>
                  <a:pt x="121" y="316"/>
                  <a:pt x="121" y="316"/>
                  <a:pt x="121" y="316"/>
                </a:cubicBezTo>
                <a:cubicBezTo>
                  <a:pt x="124" y="314"/>
                  <a:pt x="125" y="311"/>
                  <a:pt x="125" y="308"/>
                </a:cubicBezTo>
                <a:cubicBezTo>
                  <a:pt x="125" y="306"/>
                  <a:pt x="125" y="304"/>
                  <a:pt x="124" y="302"/>
                </a:cubicBezTo>
                <a:cubicBezTo>
                  <a:pt x="124" y="302"/>
                  <a:pt x="114" y="282"/>
                  <a:pt x="110" y="272"/>
                </a:cubicBezTo>
                <a:cubicBezTo>
                  <a:pt x="120" y="263"/>
                  <a:pt x="179" y="212"/>
                  <a:pt x="194" y="199"/>
                </a:cubicBezTo>
                <a:cubicBezTo>
                  <a:pt x="206" y="217"/>
                  <a:pt x="254" y="289"/>
                  <a:pt x="256" y="292"/>
                </a:cubicBezTo>
                <a:cubicBezTo>
                  <a:pt x="257" y="296"/>
                  <a:pt x="264" y="324"/>
                  <a:pt x="264" y="324"/>
                </a:cubicBezTo>
                <a:cubicBezTo>
                  <a:pt x="266" y="329"/>
                  <a:pt x="269" y="332"/>
                  <a:pt x="273" y="333"/>
                </a:cubicBezTo>
                <a:cubicBezTo>
                  <a:pt x="277" y="334"/>
                  <a:pt x="282" y="333"/>
                  <a:pt x="285" y="330"/>
                </a:cubicBezTo>
                <a:cubicBezTo>
                  <a:pt x="319" y="296"/>
                  <a:pt x="319" y="296"/>
                  <a:pt x="319" y="296"/>
                </a:cubicBezTo>
                <a:cubicBezTo>
                  <a:pt x="321" y="294"/>
                  <a:pt x="322" y="291"/>
                  <a:pt x="322" y="288"/>
                </a:cubicBezTo>
                <a:cubicBezTo>
                  <a:pt x="322" y="287"/>
                  <a:pt x="322" y="285"/>
                  <a:pt x="322" y="284"/>
                </a:cubicBezTo>
                <a:cubicBezTo>
                  <a:pt x="322" y="284"/>
                  <a:pt x="277" y="134"/>
                  <a:pt x="273" y="122"/>
                </a:cubicBezTo>
                <a:cubicBezTo>
                  <a:pt x="282" y="113"/>
                  <a:pt x="317" y="78"/>
                  <a:pt x="317" y="78"/>
                </a:cubicBezTo>
                <a:cubicBezTo>
                  <a:pt x="324" y="71"/>
                  <a:pt x="329" y="54"/>
                  <a:pt x="329" y="39"/>
                </a:cubicBezTo>
                <a:cubicBezTo>
                  <a:pt x="329" y="28"/>
                  <a:pt x="326" y="18"/>
                  <a:pt x="321" y="13"/>
                </a:cubicBezTo>
                <a:cubicBezTo>
                  <a:pt x="308" y="0"/>
                  <a:pt x="268" y="4"/>
                  <a:pt x="256" y="1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41" name="Freeform 17"/>
          <p:cNvSpPr>
            <a:spLocks noEditPoints="1"/>
          </p:cNvSpPr>
          <p:nvPr userDrawn="1"/>
        </p:nvSpPr>
        <p:spPr bwMode="auto">
          <a:xfrm>
            <a:off x="887415" y="6024573"/>
            <a:ext cx="174625" cy="92075"/>
          </a:xfrm>
          <a:custGeom>
            <a:avLst/>
            <a:gdLst/>
            <a:ahLst/>
            <a:cxnLst>
              <a:cxn ang="0">
                <a:pos x="149" y="6"/>
              </a:cxn>
              <a:cxn ang="0">
                <a:pos x="149" y="6"/>
              </a:cxn>
              <a:cxn ang="0">
                <a:pos x="149" y="6"/>
              </a:cxn>
              <a:cxn ang="0">
                <a:pos x="152" y="60"/>
              </a:cxn>
              <a:cxn ang="0">
                <a:pos x="153" y="53"/>
              </a:cxn>
              <a:cxn ang="0">
                <a:pos x="153" y="23"/>
              </a:cxn>
              <a:cxn ang="0">
                <a:pos x="153" y="14"/>
              </a:cxn>
              <a:cxn ang="0">
                <a:pos x="149" y="6"/>
              </a:cxn>
              <a:cxn ang="0">
                <a:pos x="140" y="2"/>
              </a:cxn>
              <a:cxn ang="0">
                <a:pos x="132" y="2"/>
              </a:cxn>
              <a:cxn ang="0">
                <a:pos x="103" y="3"/>
              </a:cxn>
              <a:cxn ang="0">
                <a:pos x="96" y="4"/>
              </a:cxn>
              <a:cxn ang="0">
                <a:pos x="88" y="16"/>
              </a:cxn>
              <a:cxn ang="0">
                <a:pos x="102" y="25"/>
              </a:cxn>
              <a:cxn ang="0">
                <a:pos x="114" y="24"/>
              </a:cxn>
              <a:cxn ang="0">
                <a:pos x="98" y="39"/>
              </a:cxn>
              <a:cxn ang="0">
                <a:pos x="77" y="48"/>
              </a:cxn>
              <a:cxn ang="0">
                <a:pos x="28" y="12"/>
              </a:cxn>
              <a:cxn ang="0">
                <a:pos x="12" y="1"/>
              </a:cxn>
              <a:cxn ang="0">
                <a:pos x="1" y="17"/>
              </a:cxn>
              <a:cxn ang="0">
                <a:pos x="82" y="75"/>
              </a:cxn>
              <a:cxn ang="0">
                <a:pos x="112" y="62"/>
              </a:cxn>
              <a:cxn ang="0">
                <a:pos x="132" y="43"/>
              </a:cxn>
              <a:cxn ang="0">
                <a:pos x="131" y="54"/>
              </a:cxn>
              <a:cxn ang="0">
                <a:pos x="140" y="68"/>
              </a:cxn>
              <a:cxn ang="0">
                <a:pos x="152" y="60"/>
              </a:cxn>
            </a:cxnLst>
            <a:rect l="0" t="0" r="r" b="b"/>
            <a:pathLst>
              <a:path w="154" h="81">
                <a:moveTo>
                  <a:pt x="149" y="6"/>
                </a:moveTo>
                <a:cubicBezTo>
                  <a:pt x="149" y="6"/>
                  <a:pt x="149" y="6"/>
                  <a:pt x="149" y="6"/>
                </a:cubicBezTo>
                <a:cubicBezTo>
                  <a:pt x="149" y="6"/>
                  <a:pt x="149" y="6"/>
                  <a:pt x="149" y="6"/>
                </a:cubicBezTo>
                <a:close/>
                <a:moveTo>
                  <a:pt x="152" y="60"/>
                </a:moveTo>
                <a:cubicBezTo>
                  <a:pt x="153" y="53"/>
                  <a:pt x="153" y="53"/>
                  <a:pt x="153" y="53"/>
                </a:cubicBezTo>
                <a:cubicBezTo>
                  <a:pt x="153" y="23"/>
                  <a:pt x="153" y="23"/>
                  <a:pt x="153" y="23"/>
                </a:cubicBezTo>
                <a:cubicBezTo>
                  <a:pt x="154" y="19"/>
                  <a:pt x="154" y="17"/>
                  <a:pt x="153" y="14"/>
                </a:cubicBezTo>
                <a:cubicBezTo>
                  <a:pt x="153" y="12"/>
                  <a:pt x="151" y="9"/>
                  <a:pt x="149" y="6"/>
                </a:cubicBezTo>
                <a:cubicBezTo>
                  <a:pt x="146" y="3"/>
                  <a:pt x="143" y="2"/>
                  <a:pt x="140" y="2"/>
                </a:cubicBezTo>
                <a:cubicBezTo>
                  <a:pt x="138" y="1"/>
                  <a:pt x="135" y="1"/>
                  <a:pt x="132" y="2"/>
                </a:cubicBezTo>
                <a:cubicBezTo>
                  <a:pt x="103" y="3"/>
                  <a:pt x="103" y="3"/>
                  <a:pt x="103" y="3"/>
                </a:cubicBezTo>
                <a:cubicBezTo>
                  <a:pt x="96" y="4"/>
                  <a:pt x="96" y="4"/>
                  <a:pt x="96" y="4"/>
                </a:cubicBezTo>
                <a:cubicBezTo>
                  <a:pt x="96" y="4"/>
                  <a:pt x="86" y="4"/>
                  <a:pt x="88" y="16"/>
                </a:cubicBezTo>
                <a:cubicBezTo>
                  <a:pt x="89" y="24"/>
                  <a:pt x="94" y="26"/>
                  <a:pt x="102" y="25"/>
                </a:cubicBezTo>
                <a:cubicBezTo>
                  <a:pt x="105" y="25"/>
                  <a:pt x="109" y="25"/>
                  <a:pt x="114" y="24"/>
                </a:cubicBezTo>
                <a:cubicBezTo>
                  <a:pt x="107" y="32"/>
                  <a:pt x="98" y="39"/>
                  <a:pt x="98" y="39"/>
                </a:cubicBezTo>
                <a:cubicBezTo>
                  <a:pt x="92" y="44"/>
                  <a:pt x="85" y="47"/>
                  <a:pt x="77" y="48"/>
                </a:cubicBezTo>
                <a:cubicBezTo>
                  <a:pt x="54" y="52"/>
                  <a:pt x="32" y="36"/>
                  <a:pt x="28" y="12"/>
                </a:cubicBezTo>
                <a:cubicBezTo>
                  <a:pt x="26" y="5"/>
                  <a:pt x="20" y="0"/>
                  <a:pt x="12" y="1"/>
                </a:cubicBezTo>
                <a:cubicBezTo>
                  <a:pt x="5" y="3"/>
                  <a:pt x="0" y="9"/>
                  <a:pt x="1" y="17"/>
                </a:cubicBezTo>
                <a:cubicBezTo>
                  <a:pt x="7" y="55"/>
                  <a:pt x="44" y="81"/>
                  <a:pt x="82" y="75"/>
                </a:cubicBezTo>
                <a:cubicBezTo>
                  <a:pt x="93" y="73"/>
                  <a:pt x="103" y="68"/>
                  <a:pt x="112" y="62"/>
                </a:cubicBezTo>
                <a:cubicBezTo>
                  <a:pt x="112" y="62"/>
                  <a:pt x="124" y="53"/>
                  <a:pt x="132" y="43"/>
                </a:cubicBezTo>
                <a:cubicBezTo>
                  <a:pt x="132" y="47"/>
                  <a:pt x="131" y="50"/>
                  <a:pt x="131" y="54"/>
                </a:cubicBezTo>
                <a:cubicBezTo>
                  <a:pt x="130" y="62"/>
                  <a:pt x="132" y="67"/>
                  <a:pt x="140" y="68"/>
                </a:cubicBezTo>
                <a:cubicBezTo>
                  <a:pt x="152" y="69"/>
                  <a:pt x="152" y="60"/>
                  <a:pt x="152" y="60"/>
                </a:cubicBezTo>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45" name="Freeform 21"/>
          <p:cNvSpPr>
            <a:spLocks noEditPoints="1"/>
          </p:cNvSpPr>
          <p:nvPr userDrawn="1"/>
        </p:nvSpPr>
        <p:spPr bwMode="auto">
          <a:xfrm>
            <a:off x="1243013" y="6003936"/>
            <a:ext cx="160337" cy="117475"/>
          </a:xfrm>
          <a:custGeom>
            <a:avLst/>
            <a:gdLst/>
            <a:ahLst/>
            <a:cxnLst>
              <a:cxn ang="0">
                <a:pos x="132" y="35"/>
              </a:cxn>
              <a:cxn ang="0">
                <a:pos x="107" y="12"/>
              </a:cxn>
              <a:cxn ang="0">
                <a:pos x="102" y="8"/>
              </a:cxn>
              <a:cxn ang="0">
                <a:pos x="86" y="11"/>
              </a:cxn>
              <a:cxn ang="0">
                <a:pos x="90" y="29"/>
              </a:cxn>
              <a:cxn ang="0">
                <a:pos x="100" y="38"/>
              </a:cxn>
              <a:cxn ang="0">
                <a:pos x="14" y="38"/>
              </a:cxn>
              <a:cxn ang="0">
                <a:pos x="0" y="51"/>
              </a:cxn>
              <a:cxn ang="0">
                <a:pos x="0" y="53"/>
              </a:cxn>
              <a:cxn ang="0">
                <a:pos x="14" y="65"/>
              </a:cxn>
              <a:cxn ang="0">
                <a:pos x="100" y="65"/>
              </a:cxn>
              <a:cxn ang="0">
                <a:pos x="90" y="74"/>
              </a:cxn>
              <a:cxn ang="0">
                <a:pos x="86" y="92"/>
              </a:cxn>
              <a:cxn ang="0">
                <a:pos x="102" y="95"/>
              </a:cxn>
              <a:cxn ang="0">
                <a:pos x="108" y="90"/>
              </a:cxn>
              <a:cxn ang="0">
                <a:pos x="132" y="68"/>
              </a:cxn>
              <a:cxn ang="0">
                <a:pos x="138" y="62"/>
              </a:cxn>
              <a:cxn ang="0">
                <a:pos x="141" y="52"/>
              </a:cxn>
              <a:cxn ang="0">
                <a:pos x="138" y="42"/>
              </a:cxn>
              <a:cxn ang="0">
                <a:pos x="132" y="35"/>
              </a:cxn>
              <a:cxn ang="0">
                <a:pos x="141" y="52"/>
              </a:cxn>
              <a:cxn ang="0">
                <a:pos x="141" y="52"/>
              </a:cxn>
              <a:cxn ang="0">
                <a:pos x="141" y="52"/>
              </a:cxn>
              <a:cxn ang="0">
                <a:pos x="141" y="52"/>
              </a:cxn>
            </a:cxnLst>
            <a:rect l="0" t="0" r="r" b="b"/>
            <a:pathLst>
              <a:path w="141" h="103">
                <a:moveTo>
                  <a:pt x="132" y="35"/>
                </a:moveTo>
                <a:cubicBezTo>
                  <a:pt x="107" y="12"/>
                  <a:pt x="107" y="12"/>
                  <a:pt x="107" y="12"/>
                </a:cubicBezTo>
                <a:cubicBezTo>
                  <a:pt x="102" y="8"/>
                  <a:pt x="102" y="8"/>
                  <a:pt x="102" y="8"/>
                </a:cubicBezTo>
                <a:cubicBezTo>
                  <a:pt x="102" y="8"/>
                  <a:pt x="94" y="0"/>
                  <a:pt x="86" y="11"/>
                </a:cubicBezTo>
                <a:cubicBezTo>
                  <a:pt x="80" y="18"/>
                  <a:pt x="83" y="23"/>
                  <a:pt x="90" y="29"/>
                </a:cubicBezTo>
                <a:cubicBezTo>
                  <a:pt x="92" y="31"/>
                  <a:pt x="96" y="35"/>
                  <a:pt x="100" y="38"/>
                </a:cubicBezTo>
                <a:cubicBezTo>
                  <a:pt x="14" y="38"/>
                  <a:pt x="14" y="38"/>
                  <a:pt x="14" y="38"/>
                </a:cubicBezTo>
                <a:cubicBezTo>
                  <a:pt x="4" y="38"/>
                  <a:pt x="0" y="43"/>
                  <a:pt x="0" y="51"/>
                </a:cubicBezTo>
                <a:cubicBezTo>
                  <a:pt x="0" y="53"/>
                  <a:pt x="0" y="53"/>
                  <a:pt x="0" y="53"/>
                </a:cubicBezTo>
                <a:cubicBezTo>
                  <a:pt x="0" y="60"/>
                  <a:pt x="4" y="65"/>
                  <a:pt x="14" y="65"/>
                </a:cubicBezTo>
                <a:cubicBezTo>
                  <a:pt x="100" y="65"/>
                  <a:pt x="100" y="65"/>
                  <a:pt x="100" y="65"/>
                </a:cubicBezTo>
                <a:cubicBezTo>
                  <a:pt x="96" y="68"/>
                  <a:pt x="93" y="71"/>
                  <a:pt x="90" y="74"/>
                </a:cubicBezTo>
                <a:cubicBezTo>
                  <a:pt x="83" y="80"/>
                  <a:pt x="81" y="85"/>
                  <a:pt x="86" y="92"/>
                </a:cubicBezTo>
                <a:cubicBezTo>
                  <a:pt x="94" y="103"/>
                  <a:pt x="102" y="95"/>
                  <a:pt x="102" y="95"/>
                </a:cubicBezTo>
                <a:cubicBezTo>
                  <a:pt x="108" y="90"/>
                  <a:pt x="108" y="90"/>
                  <a:pt x="108" y="90"/>
                </a:cubicBezTo>
                <a:cubicBezTo>
                  <a:pt x="132" y="68"/>
                  <a:pt x="132" y="68"/>
                  <a:pt x="132" y="68"/>
                </a:cubicBezTo>
                <a:cubicBezTo>
                  <a:pt x="135" y="66"/>
                  <a:pt x="137" y="64"/>
                  <a:pt x="138" y="62"/>
                </a:cubicBezTo>
                <a:cubicBezTo>
                  <a:pt x="140" y="59"/>
                  <a:pt x="141" y="56"/>
                  <a:pt x="141" y="52"/>
                </a:cubicBezTo>
                <a:cubicBezTo>
                  <a:pt x="141" y="48"/>
                  <a:pt x="140" y="44"/>
                  <a:pt x="138" y="42"/>
                </a:cubicBezTo>
                <a:cubicBezTo>
                  <a:pt x="137" y="39"/>
                  <a:pt x="135" y="38"/>
                  <a:pt x="132" y="35"/>
                </a:cubicBezTo>
                <a:close/>
                <a:moveTo>
                  <a:pt x="141" y="52"/>
                </a:moveTo>
                <a:cubicBezTo>
                  <a:pt x="141" y="52"/>
                  <a:pt x="141" y="52"/>
                  <a:pt x="141" y="52"/>
                </a:cubicBezTo>
                <a:cubicBezTo>
                  <a:pt x="141" y="52"/>
                  <a:pt x="141" y="52"/>
                  <a:pt x="141" y="52"/>
                </a:cubicBezTo>
                <a:cubicBezTo>
                  <a:pt x="141" y="52"/>
                  <a:pt x="141" y="52"/>
                  <a:pt x="141" y="5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49" name="Freeform 25"/>
          <p:cNvSpPr>
            <a:spLocks/>
          </p:cNvSpPr>
          <p:nvPr userDrawn="1"/>
        </p:nvSpPr>
        <p:spPr bwMode="auto">
          <a:xfrm>
            <a:off x="1579567" y="5995996"/>
            <a:ext cx="171449" cy="147637"/>
          </a:xfrm>
          <a:custGeom>
            <a:avLst/>
            <a:gdLst/>
            <a:ahLst/>
            <a:cxnLst>
              <a:cxn ang="0">
                <a:pos x="143" y="34"/>
              </a:cxn>
              <a:cxn ang="0">
                <a:pos x="138" y="30"/>
              </a:cxn>
              <a:cxn ang="0">
                <a:pos x="118" y="8"/>
              </a:cxn>
              <a:cxn ang="0">
                <a:pos x="112" y="2"/>
              </a:cxn>
              <a:cxn ang="0">
                <a:pos x="103" y="0"/>
              </a:cxn>
              <a:cxn ang="0">
                <a:pos x="94" y="2"/>
              </a:cxn>
              <a:cxn ang="0">
                <a:pos x="88" y="8"/>
              </a:cxn>
              <a:cxn ang="0">
                <a:pos x="69" y="30"/>
              </a:cxn>
              <a:cxn ang="0">
                <a:pos x="64" y="35"/>
              </a:cxn>
              <a:cxn ang="0">
                <a:pos x="67" y="49"/>
              </a:cxn>
              <a:cxn ang="0">
                <a:pos x="84" y="45"/>
              </a:cxn>
              <a:cxn ang="0">
                <a:pos x="91" y="37"/>
              </a:cxn>
              <a:cxn ang="0">
                <a:pos x="90" y="58"/>
              </a:cxn>
              <a:cxn ang="0">
                <a:pos x="82" y="79"/>
              </a:cxn>
              <a:cxn ang="0">
                <a:pos x="22" y="89"/>
              </a:cxn>
              <a:cxn ang="0">
                <a:pos x="4" y="92"/>
              </a:cxn>
              <a:cxn ang="0">
                <a:pos x="7" y="110"/>
              </a:cxn>
              <a:cxn ang="0">
                <a:pos x="104" y="94"/>
              </a:cxn>
              <a:cxn ang="0">
                <a:pos x="116" y="64"/>
              </a:cxn>
              <a:cxn ang="0">
                <a:pos x="117" y="37"/>
              </a:cxn>
              <a:cxn ang="0">
                <a:pos x="124" y="45"/>
              </a:cxn>
              <a:cxn ang="0">
                <a:pos x="140" y="49"/>
              </a:cxn>
              <a:cxn ang="0">
                <a:pos x="143" y="34"/>
              </a:cxn>
            </a:cxnLst>
            <a:rect l="0" t="0" r="r" b="b"/>
            <a:pathLst>
              <a:path w="150" h="132">
                <a:moveTo>
                  <a:pt x="143" y="34"/>
                </a:moveTo>
                <a:cubicBezTo>
                  <a:pt x="138" y="30"/>
                  <a:pt x="138" y="30"/>
                  <a:pt x="138" y="30"/>
                </a:cubicBezTo>
                <a:cubicBezTo>
                  <a:pt x="118" y="8"/>
                  <a:pt x="118" y="8"/>
                  <a:pt x="118" y="8"/>
                </a:cubicBezTo>
                <a:cubicBezTo>
                  <a:pt x="116" y="5"/>
                  <a:pt x="114" y="3"/>
                  <a:pt x="112" y="2"/>
                </a:cubicBezTo>
                <a:cubicBezTo>
                  <a:pt x="110" y="0"/>
                  <a:pt x="107" y="0"/>
                  <a:pt x="103" y="0"/>
                </a:cubicBezTo>
                <a:cubicBezTo>
                  <a:pt x="99" y="0"/>
                  <a:pt x="96" y="0"/>
                  <a:pt x="94" y="2"/>
                </a:cubicBezTo>
                <a:cubicBezTo>
                  <a:pt x="92" y="4"/>
                  <a:pt x="90" y="6"/>
                  <a:pt x="88" y="8"/>
                </a:cubicBezTo>
                <a:cubicBezTo>
                  <a:pt x="69" y="30"/>
                  <a:pt x="69" y="30"/>
                  <a:pt x="69" y="30"/>
                </a:cubicBezTo>
                <a:cubicBezTo>
                  <a:pt x="64" y="35"/>
                  <a:pt x="64" y="35"/>
                  <a:pt x="64" y="35"/>
                </a:cubicBezTo>
                <a:cubicBezTo>
                  <a:pt x="64" y="35"/>
                  <a:pt x="58" y="42"/>
                  <a:pt x="67" y="49"/>
                </a:cubicBezTo>
                <a:cubicBezTo>
                  <a:pt x="74" y="54"/>
                  <a:pt x="78" y="52"/>
                  <a:pt x="84" y="45"/>
                </a:cubicBezTo>
                <a:cubicBezTo>
                  <a:pt x="86" y="43"/>
                  <a:pt x="88" y="40"/>
                  <a:pt x="91" y="37"/>
                </a:cubicBezTo>
                <a:cubicBezTo>
                  <a:pt x="91" y="47"/>
                  <a:pt x="90" y="58"/>
                  <a:pt x="90" y="58"/>
                </a:cubicBezTo>
                <a:cubicBezTo>
                  <a:pt x="89" y="65"/>
                  <a:pt x="87" y="72"/>
                  <a:pt x="82" y="79"/>
                </a:cubicBezTo>
                <a:cubicBezTo>
                  <a:pt x="69" y="98"/>
                  <a:pt x="42" y="102"/>
                  <a:pt x="22" y="89"/>
                </a:cubicBezTo>
                <a:cubicBezTo>
                  <a:pt x="17" y="84"/>
                  <a:pt x="8" y="86"/>
                  <a:pt x="4" y="92"/>
                </a:cubicBezTo>
                <a:cubicBezTo>
                  <a:pt x="0" y="98"/>
                  <a:pt x="1" y="106"/>
                  <a:pt x="7" y="110"/>
                </a:cubicBezTo>
                <a:cubicBezTo>
                  <a:pt x="38" y="132"/>
                  <a:pt x="82" y="125"/>
                  <a:pt x="104" y="94"/>
                </a:cubicBezTo>
                <a:cubicBezTo>
                  <a:pt x="111" y="85"/>
                  <a:pt x="115" y="75"/>
                  <a:pt x="116" y="64"/>
                </a:cubicBezTo>
                <a:cubicBezTo>
                  <a:pt x="116" y="64"/>
                  <a:pt x="118" y="49"/>
                  <a:pt x="117" y="37"/>
                </a:cubicBezTo>
                <a:cubicBezTo>
                  <a:pt x="119" y="40"/>
                  <a:pt x="121" y="42"/>
                  <a:pt x="124" y="45"/>
                </a:cubicBezTo>
                <a:cubicBezTo>
                  <a:pt x="129" y="52"/>
                  <a:pt x="134" y="54"/>
                  <a:pt x="140" y="49"/>
                </a:cubicBezTo>
                <a:cubicBezTo>
                  <a:pt x="150" y="42"/>
                  <a:pt x="143" y="34"/>
                  <a:pt x="143" y="3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53" name="Freeform 29"/>
          <p:cNvSpPr>
            <a:spLocks/>
          </p:cNvSpPr>
          <p:nvPr userDrawn="1"/>
        </p:nvSpPr>
        <p:spPr bwMode="auto">
          <a:xfrm>
            <a:off x="1920882" y="5983296"/>
            <a:ext cx="171449" cy="150813"/>
          </a:xfrm>
          <a:custGeom>
            <a:avLst/>
            <a:gdLst/>
            <a:ahLst/>
            <a:cxnLst>
              <a:cxn ang="0">
                <a:pos x="140" y="84"/>
              </a:cxn>
              <a:cxn ang="0">
                <a:pos x="124" y="87"/>
              </a:cxn>
              <a:cxn ang="0">
                <a:pos x="117" y="96"/>
              </a:cxn>
              <a:cxn ang="0">
                <a:pos x="116" y="68"/>
              </a:cxn>
              <a:cxn ang="0">
                <a:pos x="104" y="38"/>
              </a:cxn>
              <a:cxn ang="0">
                <a:pos x="7" y="23"/>
              </a:cxn>
              <a:cxn ang="0">
                <a:pos x="4" y="41"/>
              </a:cxn>
              <a:cxn ang="0">
                <a:pos x="22" y="44"/>
              </a:cxn>
              <a:cxn ang="0">
                <a:pos x="82" y="54"/>
              </a:cxn>
              <a:cxn ang="0">
                <a:pos x="90" y="75"/>
              </a:cxn>
              <a:cxn ang="0">
                <a:pos x="91" y="96"/>
              </a:cxn>
              <a:cxn ang="0">
                <a:pos x="84" y="87"/>
              </a:cxn>
              <a:cxn ang="0">
                <a:pos x="67" y="84"/>
              </a:cxn>
              <a:cxn ang="0">
                <a:pos x="64" y="98"/>
              </a:cxn>
              <a:cxn ang="0">
                <a:pos x="69" y="103"/>
              </a:cxn>
              <a:cxn ang="0">
                <a:pos x="88" y="125"/>
              </a:cxn>
              <a:cxn ang="0">
                <a:pos x="94" y="131"/>
              </a:cxn>
              <a:cxn ang="0">
                <a:pos x="103" y="133"/>
              </a:cxn>
              <a:cxn ang="0">
                <a:pos x="112" y="131"/>
              </a:cxn>
              <a:cxn ang="0">
                <a:pos x="118" y="125"/>
              </a:cxn>
              <a:cxn ang="0">
                <a:pos x="138" y="103"/>
              </a:cxn>
              <a:cxn ang="0">
                <a:pos x="143" y="98"/>
              </a:cxn>
              <a:cxn ang="0">
                <a:pos x="140" y="84"/>
              </a:cxn>
            </a:cxnLst>
            <a:rect l="0" t="0" r="r" b="b"/>
            <a:pathLst>
              <a:path w="150" h="133">
                <a:moveTo>
                  <a:pt x="140" y="84"/>
                </a:moveTo>
                <a:cubicBezTo>
                  <a:pt x="134" y="79"/>
                  <a:pt x="129" y="81"/>
                  <a:pt x="124" y="87"/>
                </a:cubicBezTo>
                <a:cubicBezTo>
                  <a:pt x="121" y="90"/>
                  <a:pt x="119" y="93"/>
                  <a:pt x="117" y="96"/>
                </a:cubicBezTo>
                <a:cubicBezTo>
                  <a:pt x="118" y="83"/>
                  <a:pt x="116" y="68"/>
                  <a:pt x="116" y="68"/>
                </a:cubicBezTo>
                <a:cubicBezTo>
                  <a:pt x="115" y="58"/>
                  <a:pt x="111" y="48"/>
                  <a:pt x="104" y="38"/>
                </a:cubicBezTo>
                <a:cubicBezTo>
                  <a:pt x="82" y="7"/>
                  <a:pt x="38" y="0"/>
                  <a:pt x="7" y="23"/>
                </a:cubicBezTo>
                <a:cubicBezTo>
                  <a:pt x="1" y="27"/>
                  <a:pt x="0" y="35"/>
                  <a:pt x="4" y="41"/>
                </a:cubicBezTo>
                <a:cubicBezTo>
                  <a:pt x="8" y="47"/>
                  <a:pt x="17" y="48"/>
                  <a:pt x="22" y="44"/>
                </a:cubicBezTo>
                <a:cubicBezTo>
                  <a:pt x="42" y="30"/>
                  <a:pt x="69" y="35"/>
                  <a:pt x="82" y="54"/>
                </a:cubicBezTo>
                <a:cubicBezTo>
                  <a:pt x="87" y="60"/>
                  <a:pt x="89" y="67"/>
                  <a:pt x="90" y="75"/>
                </a:cubicBezTo>
                <a:cubicBezTo>
                  <a:pt x="90" y="75"/>
                  <a:pt x="91" y="86"/>
                  <a:pt x="91" y="96"/>
                </a:cubicBezTo>
                <a:cubicBezTo>
                  <a:pt x="88" y="93"/>
                  <a:pt x="86" y="90"/>
                  <a:pt x="84" y="87"/>
                </a:cubicBezTo>
                <a:cubicBezTo>
                  <a:pt x="78" y="81"/>
                  <a:pt x="74" y="79"/>
                  <a:pt x="67" y="84"/>
                </a:cubicBezTo>
                <a:cubicBezTo>
                  <a:pt x="58" y="91"/>
                  <a:pt x="64" y="98"/>
                  <a:pt x="64" y="98"/>
                </a:cubicBezTo>
                <a:cubicBezTo>
                  <a:pt x="69" y="103"/>
                  <a:pt x="69" y="103"/>
                  <a:pt x="69" y="103"/>
                </a:cubicBezTo>
                <a:cubicBezTo>
                  <a:pt x="88" y="125"/>
                  <a:pt x="88" y="125"/>
                  <a:pt x="88" y="125"/>
                </a:cubicBezTo>
                <a:cubicBezTo>
                  <a:pt x="90" y="127"/>
                  <a:pt x="92" y="129"/>
                  <a:pt x="94" y="131"/>
                </a:cubicBezTo>
                <a:cubicBezTo>
                  <a:pt x="96" y="132"/>
                  <a:pt x="99" y="133"/>
                  <a:pt x="103" y="133"/>
                </a:cubicBezTo>
                <a:cubicBezTo>
                  <a:pt x="107" y="133"/>
                  <a:pt x="110" y="132"/>
                  <a:pt x="112" y="131"/>
                </a:cubicBezTo>
                <a:cubicBezTo>
                  <a:pt x="114" y="129"/>
                  <a:pt x="116" y="127"/>
                  <a:pt x="118" y="125"/>
                </a:cubicBezTo>
                <a:cubicBezTo>
                  <a:pt x="138" y="103"/>
                  <a:pt x="138" y="103"/>
                  <a:pt x="138" y="103"/>
                </a:cubicBezTo>
                <a:cubicBezTo>
                  <a:pt x="143" y="98"/>
                  <a:pt x="143" y="98"/>
                  <a:pt x="143" y="98"/>
                </a:cubicBezTo>
                <a:cubicBezTo>
                  <a:pt x="143" y="98"/>
                  <a:pt x="150" y="91"/>
                  <a:pt x="140" y="8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grpSp>
        <p:nvGrpSpPr>
          <p:cNvPr id="83" name="Group 32"/>
          <p:cNvGrpSpPr>
            <a:grpSpLocks noChangeAspect="1"/>
          </p:cNvGrpSpPr>
          <p:nvPr userDrawn="1"/>
        </p:nvGrpSpPr>
        <p:grpSpPr bwMode="auto">
          <a:xfrm>
            <a:off x="2262188" y="6015045"/>
            <a:ext cx="142875" cy="96839"/>
            <a:chOff x="1425" y="3789"/>
            <a:chExt cx="90" cy="61"/>
          </a:xfrm>
          <a:solidFill>
            <a:schemeClr val="bg1"/>
          </a:solidFill>
        </p:grpSpPr>
        <p:sp>
          <p:nvSpPr>
            <p:cNvPr id="1057" name="Freeform 33"/>
            <p:cNvSpPr>
              <a:spLocks/>
            </p:cNvSpPr>
            <p:nvPr userDrawn="1"/>
          </p:nvSpPr>
          <p:spPr bwMode="auto">
            <a:xfrm>
              <a:off x="1425" y="3789"/>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1058" name="Freeform 34"/>
            <p:cNvSpPr>
              <a:spLocks/>
            </p:cNvSpPr>
            <p:nvPr userDrawn="1"/>
          </p:nvSpPr>
          <p:spPr bwMode="auto">
            <a:xfrm>
              <a:off x="1425" y="3830"/>
              <a:ext cx="90" cy="20"/>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2"/>
                    <a:pt x="0" y="15"/>
                  </a:cubicBezTo>
                  <a:cubicBezTo>
                    <a:pt x="0" y="13"/>
                    <a:pt x="0" y="13"/>
                    <a:pt x="0" y="13"/>
                  </a:cubicBezTo>
                  <a:cubicBezTo>
                    <a:pt x="0" y="5"/>
                    <a:pt x="5" y="0"/>
                    <a:pt x="16" y="0"/>
                  </a:cubicBezTo>
                  <a:cubicBezTo>
                    <a:pt x="49" y="0"/>
                    <a:pt x="49" y="0"/>
                    <a:pt x="49" y="0"/>
                  </a:cubicBezTo>
                  <a:cubicBezTo>
                    <a:pt x="78" y="0"/>
                    <a:pt x="78" y="0"/>
                    <a:pt x="78" y="0"/>
                  </a:cubicBezTo>
                  <a:cubicBezTo>
                    <a:pt x="111" y="0"/>
                    <a:pt x="111" y="0"/>
                    <a:pt x="111" y="0"/>
                  </a:cubicBezTo>
                  <a:cubicBezTo>
                    <a:pt x="122" y="0"/>
                    <a:pt x="126" y="5"/>
                    <a:pt x="126" y="13"/>
                  </a:cubicBezTo>
                  <a:cubicBezTo>
                    <a:pt x="126" y="15"/>
                    <a:pt x="126" y="15"/>
                    <a:pt x="126" y="15"/>
                  </a:cubicBezTo>
                  <a:cubicBezTo>
                    <a:pt x="126" y="22"/>
                    <a:pt x="122" y="28"/>
                    <a:pt x="111" y="28"/>
                  </a:cubicBezTo>
                  <a:cubicBezTo>
                    <a:pt x="78" y="28"/>
                    <a:pt x="78" y="28"/>
                    <a:pt x="78" y="28"/>
                  </a:cubicBezTo>
                  <a:lnTo>
                    <a:pt x="4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grpSp>
      <p:sp>
        <p:nvSpPr>
          <p:cNvPr id="1062" name="Freeform 38"/>
          <p:cNvSpPr>
            <a:spLocks/>
          </p:cNvSpPr>
          <p:nvPr userDrawn="1"/>
        </p:nvSpPr>
        <p:spPr bwMode="auto">
          <a:xfrm>
            <a:off x="2584449" y="6048377"/>
            <a:ext cx="141289" cy="31751"/>
          </a:xfrm>
          <a:custGeom>
            <a:avLst/>
            <a:gdLst/>
            <a:ahLst/>
            <a:cxnLst>
              <a:cxn ang="0">
                <a:pos x="49" y="28"/>
              </a:cxn>
              <a:cxn ang="0">
                <a:pos x="16" y="28"/>
              </a:cxn>
              <a:cxn ang="0">
                <a:pos x="0" y="15"/>
              </a:cxn>
              <a:cxn ang="0">
                <a:pos x="0" y="13"/>
              </a:cxn>
              <a:cxn ang="0">
                <a:pos x="16" y="0"/>
              </a:cxn>
              <a:cxn ang="0">
                <a:pos x="49" y="0"/>
              </a:cxn>
              <a:cxn ang="0">
                <a:pos x="78" y="0"/>
              </a:cxn>
              <a:cxn ang="0">
                <a:pos x="111" y="0"/>
              </a:cxn>
              <a:cxn ang="0">
                <a:pos x="126" y="13"/>
              </a:cxn>
              <a:cxn ang="0">
                <a:pos x="126" y="15"/>
              </a:cxn>
              <a:cxn ang="0">
                <a:pos x="111" y="28"/>
              </a:cxn>
              <a:cxn ang="0">
                <a:pos x="78" y="28"/>
              </a:cxn>
              <a:cxn ang="0">
                <a:pos x="49" y="28"/>
              </a:cxn>
            </a:cxnLst>
            <a:rect l="0" t="0" r="r" b="b"/>
            <a:pathLst>
              <a:path w="126" h="28">
                <a:moveTo>
                  <a:pt x="49" y="28"/>
                </a:moveTo>
                <a:cubicBezTo>
                  <a:pt x="16" y="28"/>
                  <a:pt x="16" y="28"/>
                  <a:pt x="16" y="28"/>
                </a:cubicBezTo>
                <a:cubicBezTo>
                  <a:pt x="5" y="28"/>
                  <a:pt x="0" y="23"/>
                  <a:pt x="0" y="15"/>
                </a:cubicBezTo>
                <a:cubicBezTo>
                  <a:pt x="0" y="13"/>
                  <a:pt x="0" y="13"/>
                  <a:pt x="0" y="13"/>
                </a:cubicBezTo>
                <a:cubicBezTo>
                  <a:pt x="0" y="6"/>
                  <a:pt x="5" y="0"/>
                  <a:pt x="16" y="0"/>
                </a:cubicBezTo>
                <a:cubicBezTo>
                  <a:pt x="49" y="0"/>
                  <a:pt x="49" y="0"/>
                  <a:pt x="49" y="0"/>
                </a:cubicBezTo>
                <a:cubicBezTo>
                  <a:pt x="78" y="0"/>
                  <a:pt x="78" y="0"/>
                  <a:pt x="78" y="0"/>
                </a:cubicBezTo>
                <a:cubicBezTo>
                  <a:pt x="111" y="0"/>
                  <a:pt x="111" y="0"/>
                  <a:pt x="111" y="0"/>
                </a:cubicBezTo>
                <a:cubicBezTo>
                  <a:pt x="122" y="0"/>
                  <a:pt x="126" y="6"/>
                  <a:pt x="126" y="13"/>
                </a:cubicBezTo>
                <a:cubicBezTo>
                  <a:pt x="126" y="15"/>
                  <a:pt x="126" y="15"/>
                  <a:pt x="126" y="15"/>
                </a:cubicBezTo>
                <a:cubicBezTo>
                  <a:pt x="126" y="23"/>
                  <a:pt x="122" y="28"/>
                  <a:pt x="111" y="28"/>
                </a:cubicBezTo>
                <a:cubicBezTo>
                  <a:pt x="78" y="28"/>
                  <a:pt x="78" y="28"/>
                  <a:pt x="78" y="28"/>
                </a:cubicBezTo>
                <a:lnTo>
                  <a:pt x="49" y="28"/>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66" name="Freeform 42"/>
          <p:cNvSpPr>
            <a:spLocks/>
          </p:cNvSpPr>
          <p:nvPr userDrawn="1"/>
        </p:nvSpPr>
        <p:spPr bwMode="auto">
          <a:xfrm>
            <a:off x="2901952" y="5992815"/>
            <a:ext cx="142875" cy="144463"/>
          </a:xfrm>
          <a:custGeom>
            <a:avLst/>
            <a:gdLst/>
            <a:ahLst/>
            <a:cxnLst>
              <a:cxn ang="0">
                <a:pos x="16" y="76"/>
              </a:cxn>
              <a:cxn ang="0">
                <a:pos x="0" y="63"/>
              </a:cxn>
              <a:cxn ang="0">
                <a:pos x="0" y="61"/>
              </a:cxn>
              <a:cxn ang="0">
                <a:pos x="16" y="49"/>
              </a:cxn>
              <a:cxn ang="0">
                <a:pos x="49" y="49"/>
              </a:cxn>
              <a:cxn ang="0">
                <a:pos x="49" y="15"/>
              </a:cxn>
              <a:cxn ang="0">
                <a:pos x="62" y="0"/>
              </a:cxn>
              <a:cxn ang="0">
                <a:pos x="65" y="0"/>
              </a:cxn>
              <a:cxn ang="0">
                <a:pos x="78" y="15"/>
              </a:cxn>
              <a:cxn ang="0">
                <a:pos x="78" y="49"/>
              </a:cxn>
              <a:cxn ang="0">
                <a:pos x="111" y="49"/>
              </a:cxn>
              <a:cxn ang="0">
                <a:pos x="126" y="61"/>
              </a:cxn>
              <a:cxn ang="0">
                <a:pos x="126" y="63"/>
              </a:cxn>
              <a:cxn ang="0">
                <a:pos x="111" y="76"/>
              </a:cxn>
              <a:cxn ang="0">
                <a:pos x="78" y="76"/>
              </a:cxn>
              <a:cxn ang="0">
                <a:pos x="78" y="112"/>
              </a:cxn>
              <a:cxn ang="0">
                <a:pos x="65" y="127"/>
              </a:cxn>
              <a:cxn ang="0">
                <a:pos x="62" y="127"/>
              </a:cxn>
              <a:cxn ang="0">
                <a:pos x="49" y="112"/>
              </a:cxn>
              <a:cxn ang="0">
                <a:pos x="49" y="76"/>
              </a:cxn>
              <a:cxn ang="0">
                <a:pos x="16" y="76"/>
              </a:cxn>
            </a:cxnLst>
            <a:rect l="0" t="0" r="r" b="b"/>
            <a:pathLst>
              <a:path w="126" h="127">
                <a:moveTo>
                  <a:pt x="16" y="76"/>
                </a:moveTo>
                <a:cubicBezTo>
                  <a:pt x="5" y="76"/>
                  <a:pt x="0" y="71"/>
                  <a:pt x="0" y="63"/>
                </a:cubicBezTo>
                <a:cubicBezTo>
                  <a:pt x="0" y="61"/>
                  <a:pt x="0" y="61"/>
                  <a:pt x="0" y="61"/>
                </a:cubicBezTo>
                <a:cubicBezTo>
                  <a:pt x="0" y="54"/>
                  <a:pt x="5" y="49"/>
                  <a:pt x="16" y="49"/>
                </a:cubicBezTo>
                <a:cubicBezTo>
                  <a:pt x="49" y="49"/>
                  <a:pt x="49" y="49"/>
                  <a:pt x="49" y="49"/>
                </a:cubicBezTo>
                <a:cubicBezTo>
                  <a:pt x="49" y="15"/>
                  <a:pt x="49" y="15"/>
                  <a:pt x="49" y="15"/>
                </a:cubicBezTo>
                <a:cubicBezTo>
                  <a:pt x="49" y="4"/>
                  <a:pt x="54" y="0"/>
                  <a:pt x="62" y="0"/>
                </a:cubicBezTo>
                <a:cubicBezTo>
                  <a:pt x="65" y="0"/>
                  <a:pt x="65" y="0"/>
                  <a:pt x="65" y="0"/>
                </a:cubicBezTo>
                <a:cubicBezTo>
                  <a:pt x="72" y="0"/>
                  <a:pt x="78" y="4"/>
                  <a:pt x="78" y="15"/>
                </a:cubicBezTo>
                <a:cubicBezTo>
                  <a:pt x="78" y="49"/>
                  <a:pt x="78" y="49"/>
                  <a:pt x="78" y="49"/>
                </a:cubicBezTo>
                <a:cubicBezTo>
                  <a:pt x="111" y="49"/>
                  <a:pt x="111" y="49"/>
                  <a:pt x="111" y="49"/>
                </a:cubicBezTo>
                <a:cubicBezTo>
                  <a:pt x="122" y="49"/>
                  <a:pt x="126" y="54"/>
                  <a:pt x="126" y="61"/>
                </a:cubicBezTo>
                <a:cubicBezTo>
                  <a:pt x="126" y="63"/>
                  <a:pt x="126" y="63"/>
                  <a:pt x="126" y="63"/>
                </a:cubicBezTo>
                <a:cubicBezTo>
                  <a:pt x="126" y="71"/>
                  <a:pt x="122" y="76"/>
                  <a:pt x="111" y="76"/>
                </a:cubicBezTo>
                <a:cubicBezTo>
                  <a:pt x="78" y="76"/>
                  <a:pt x="78" y="76"/>
                  <a:pt x="78" y="76"/>
                </a:cubicBezTo>
                <a:cubicBezTo>
                  <a:pt x="78" y="112"/>
                  <a:pt x="78" y="112"/>
                  <a:pt x="78" y="112"/>
                </a:cubicBezTo>
                <a:cubicBezTo>
                  <a:pt x="78" y="122"/>
                  <a:pt x="72" y="127"/>
                  <a:pt x="65" y="127"/>
                </a:cubicBezTo>
                <a:cubicBezTo>
                  <a:pt x="62" y="127"/>
                  <a:pt x="62" y="127"/>
                  <a:pt x="62" y="127"/>
                </a:cubicBezTo>
                <a:cubicBezTo>
                  <a:pt x="54" y="127"/>
                  <a:pt x="49" y="122"/>
                  <a:pt x="49" y="112"/>
                </a:cubicBezTo>
                <a:cubicBezTo>
                  <a:pt x="49" y="76"/>
                  <a:pt x="49" y="76"/>
                  <a:pt x="49" y="76"/>
                </a:cubicBezTo>
                <a:lnTo>
                  <a:pt x="16" y="76"/>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grpSp>
        <p:nvGrpSpPr>
          <p:cNvPr id="84" name="Group 45"/>
          <p:cNvGrpSpPr>
            <a:grpSpLocks noChangeAspect="1"/>
          </p:cNvGrpSpPr>
          <p:nvPr userDrawn="1"/>
        </p:nvGrpSpPr>
        <p:grpSpPr bwMode="auto">
          <a:xfrm>
            <a:off x="3222630" y="5999161"/>
            <a:ext cx="134937" cy="131763"/>
            <a:chOff x="2030" y="3779"/>
            <a:chExt cx="85" cy="83"/>
          </a:xfrm>
          <a:solidFill>
            <a:schemeClr val="bg1"/>
          </a:solidFill>
        </p:grpSpPr>
        <p:sp>
          <p:nvSpPr>
            <p:cNvPr id="1070" name="Freeform 46"/>
            <p:cNvSpPr>
              <a:spLocks noEditPoints="1"/>
            </p:cNvSpPr>
            <p:nvPr userDrawn="1"/>
          </p:nvSpPr>
          <p:spPr bwMode="auto">
            <a:xfrm>
              <a:off x="2030" y="3780"/>
              <a:ext cx="85" cy="82"/>
            </a:xfrm>
            <a:custGeom>
              <a:avLst/>
              <a:gdLst/>
              <a:ahLst/>
              <a:cxnLst>
                <a:cxn ang="0">
                  <a:pos x="28" y="54"/>
                </a:cxn>
                <a:cxn ang="0">
                  <a:pos x="16" y="52"/>
                </a:cxn>
                <a:cxn ang="0">
                  <a:pos x="7" y="46"/>
                </a:cxn>
                <a:cxn ang="0">
                  <a:pos x="2" y="38"/>
                </a:cxn>
                <a:cxn ang="0">
                  <a:pos x="0" y="27"/>
                </a:cxn>
                <a:cxn ang="0">
                  <a:pos x="0" y="26"/>
                </a:cxn>
                <a:cxn ang="0">
                  <a:pos x="2" y="15"/>
                </a:cxn>
                <a:cxn ang="0">
                  <a:pos x="8" y="7"/>
                </a:cxn>
                <a:cxn ang="0">
                  <a:pos x="16" y="2"/>
                </a:cxn>
                <a:cxn ang="0">
                  <a:pos x="28" y="0"/>
                </a:cxn>
                <a:cxn ang="0">
                  <a:pos x="39" y="2"/>
                </a:cxn>
                <a:cxn ang="0">
                  <a:pos x="48" y="7"/>
                </a:cxn>
                <a:cxn ang="0">
                  <a:pos x="53" y="15"/>
                </a:cxn>
                <a:cxn ang="0">
                  <a:pos x="55" y="26"/>
                </a:cxn>
                <a:cxn ang="0">
                  <a:pos x="55" y="27"/>
                </a:cxn>
                <a:cxn ang="0">
                  <a:pos x="53" y="38"/>
                </a:cxn>
                <a:cxn ang="0">
                  <a:pos x="48" y="46"/>
                </a:cxn>
                <a:cxn ang="0">
                  <a:pos x="39" y="52"/>
                </a:cxn>
                <a:cxn ang="0">
                  <a:pos x="28" y="54"/>
                </a:cxn>
                <a:cxn ang="0">
                  <a:pos x="28" y="41"/>
                </a:cxn>
                <a:cxn ang="0">
                  <a:pos x="36" y="37"/>
                </a:cxn>
                <a:cxn ang="0">
                  <a:pos x="39" y="28"/>
                </a:cxn>
                <a:cxn ang="0">
                  <a:pos x="39" y="25"/>
                </a:cxn>
                <a:cxn ang="0">
                  <a:pos x="36" y="16"/>
                </a:cxn>
                <a:cxn ang="0">
                  <a:pos x="28" y="13"/>
                </a:cxn>
                <a:cxn ang="0">
                  <a:pos x="19" y="16"/>
                </a:cxn>
                <a:cxn ang="0">
                  <a:pos x="16" y="25"/>
                </a:cxn>
                <a:cxn ang="0">
                  <a:pos x="16" y="28"/>
                </a:cxn>
                <a:cxn ang="0">
                  <a:pos x="20" y="37"/>
                </a:cxn>
                <a:cxn ang="0">
                  <a:pos x="28" y="41"/>
                </a:cxn>
                <a:cxn ang="0">
                  <a:pos x="91" y="113"/>
                </a:cxn>
                <a:cxn ang="0">
                  <a:pos x="80" y="111"/>
                </a:cxn>
                <a:cxn ang="0">
                  <a:pos x="71" y="106"/>
                </a:cxn>
                <a:cxn ang="0">
                  <a:pos x="65" y="97"/>
                </a:cxn>
                <a:cxn ang="0">
                  <a:pos x="63" y="87"/>
                </a:cxn>
                <a:cxn ang="0">
                  <a:pos x="63" y="85"/>
                </a:cxn>
                <a:cxn ang="0">
                  <a:pos x="65" y="75"/>
                </a:cxn>
                <a:cxn ang="0">
                  <a:pos x="71" y="66"/>
                </a:cxn>
                <a:cxn ang="0">
                  <a:pos x="80" y="61"/>
                </a:cxn>
                <a:cxn ang="0">
                  <a:pos x="91" y="59"/>
                </a:cxn>
                <a:cxn ang="0">
                  <a:pos x="102" y="61"/>
                </a:cxn>
                <a:cxn ang="0">
                  <a:pos x="111" y="66"/>
                </a:cxn>
                <a:cxn ang="0">
                  <a:pos x="117" y="75"/>
                </a:cxn>
                <a:cxn ang="0">
                  <a:pos x="119" y="85"/>
                </a:cxn>
                <a:cxn ang="0">
                  <a:pos x="119" y="87"/>
                </a:cxn>
                <a:cxn ang="0">
                  <a:pos x="117" y="97"/>
                </a:cxn>
                <a:cxn ang="0">
                  <a:pos x="111" y="106"/>
                </a:cxn>
                <a:cxn ang="0">
                  <a:pos x="102" y="111"/>
                </a:cxn>
                <a:cxn ang="0">
                  <a:pos x="91" y="113"/>
                </a:cxn>
                <a:cxn ang="0">
                  <a:pos x="91" y="100"/>
                </a:cxn>
                <a:cxn ang="0">
                  <a:pos x="99" y="96"/>
                </a:cxn>
                <a:cxn ang="0">
                  <a:pos x="102" y="87"/>
                </a:cxn>
                <a:cxn ang="0">
                  <a:pos x="102" y="85"/>
                </a:cxn>
                <a:cxn ang="0">
                  <a:pos x="99" y="75"/>
                </a:cxn>
                <a:cxn ang="0">
                  <a:pos x="91" y="72"/>
                </a:cxn>
                <a:cxn ang="0">
                  <a:pos x="83" y="75"/>
                </a:cxn>
                <a:cxn ang="0">
                  <a:pos x="80" y="85"/>
                </a:cxn>
                <a:cxn ang="0">
                  <a:pos x="80" y="87"/>
                </a:cxn>
                <a:cxn ang="0">
                  <a:pos x="83" y="96"/>
                </a:cxn>
                <a:cxn ang="0">
                  <a:pos x="91" y="100"/>
                </a:cxn>
              </a:cxnLst>
              <a:rect l="0" t="0" r="r" b="b"/>
              <a:pathLst>
                <a:path w="119" h="113">
                  <a:moveTo>
                    <a:pt x="28" y="54"/>
                  </a:moveTo>
                  <a:cubicBezTo>
                    <a:pt x="23" y="54"/>
                    <a:pt x="20" y="53"/>
                    <a:pt x="16" y="52"/>
                  </a:cubicBezTo>
                  <a:cubicBezTo>
                    <a:pt x="13" y="50"/>
                    <a:pt x="10" y="49"/>
                    <a:pt x="7" y="46"/>
                  </a:cubicBezTo>
                  <a:cubicBezTo>
                    <a:pt x="5" y="44"/>
                    <a:pt x="3" y="41"/>
                    <a:pt x="2" y="38"/>
                  </a:cubicBezTo>
                  <a:cubicBezTo>
                    <a:pt x="0" y="35"/>
                    <a:pt x="0" y="31"/>
                    <a:pt x="0" y="27"/>
                  </a:cubicBezTo>
                  <a:cubicBezTo>
                    <a:pt x="0" y="26"/>
                    <a:pt x="0" y="26"/>
                    <a:pt x="0" y="26"/>
                  </a:cubicBezTo>
                  <a:cubicBezTo>
                    <a:pt x="0" y="22"/>
                    <a:pt x="0" y="19"/>
                    <a:pt x="2" y="15"/>
                  </a:cubicBezTo>
                  <a:cubicBezTo>
                    <a:pt x="3" y="12"/>
                    <a:pt x="5" y="9"/>
                    <a:pt x="8" y="7"/>
                  </a:cubicBezTo>
                  <a:cubicBezTo>
                    <a:pt x="10" y="5"/>
                    <a:pt x="13" y="3"/>
                    <a:pt x="16" y="2"/>
                  </a:cubicBezTo>
                  <a:cubicBezTo>
                    <a:pt x="20" y="0"/>
                    <a:pt x="24" y="0"/>
                    <a:pt x="28" y="0"/>
                  </a:cubicBezTo>
                  <a:cubicBezTo>
                    <a:pt x="32" y="0"/>
                    <a:pt x="36" y="0"/>
                    <a:pt x="39" y="2"/>
                  </a:cubicBezTo>
                  <a:cubicBezTo>
                    <a:pt x="42" y="3"/>
                    <a:pt x="45" y="5"/>
                    <a:pt x="48" y="7"/>
                  </a:cubicBezTo>
                  <a:cubicBezTo>
                    <a:pt x="50" y="9"/>
                    <a:pt x="52" y="12"/>
                    <a:pt x="53" y="15"/>
                  </a:cubicBezTo>
                  <a:cubicBezTo>
                    <a:pt x="55" y="19"/>
                    <a:pt x="55" y="22"/>
                    <a:pt x="55" y="26"/>
                  </a:cubicBezTo>
                  <a:cubicBezTo>
                    <a:pt x="55" y="27"/>
                    <a:pt x="55" y="27"/>
                    <a:pt x="55" y="27"/>
                  </a:cubicBezTo>
                  <a:cubicBezTo>
                    <a:pt x="55" y="31"/>
                    <a:pt x="55" y="35"/>
                    <a:pt x="53" y="38"/>
                  </a:cubicBezTo>
                  <a:cubicBezTo>
                    <a:pt x="52" y="41"/>
                    <a:pt x="50" y="44"/>
                    <a:pt x="48" y="46"/>
                  </a:cubicBezTo>
                  <a:cubicBezTo>
                    <a:pt x="45" y="49"/>
                    <a:pt x="42" y="50"/>
                    <a:pt x="39" y="52"/>
                  </a:cubicBezTo>
                  <a:cubicBezTo>
                    <a:pt x="35" y="53"/>
                    <a:pt x="32" y="54"/>
                    <a:pt x="28" y="54"/>
                  </a:cubicBezTo>
                  <a:close/>
                  <a:moveTo>
                    <a:pt x="28" y="41"/>
                  </a:moveTo>
                  <a:cubicBezTo>
                    <a:pt x="31" y="41"/>
                    <a:pt x="34" y="39"/>
                    <a:pt x="36" y="37"/>
                  </a:cubicBezTo>
                  <a:cubicBezTo>
                    <a:pt x="38" y="35"/>
                    <a:pt x="39" y="32"/>
                    <a:pt x="39" y="28"/>
                  </a:cubicBezTo>
                  <a:cubicBezTo>
                    <a:pt x="39" y="25"/>
                    <a:pt x="39" y="25"/>
                    <a:pt x="39" y="25"/>
                  </a:cubicBezTo>
                  <a:cubicBezTo>
                    <a:pt x="39" y="21"/>
                    <a:pt x="38" y="18"/>
                    <a:pt x="36" y="16"/>
                  </a:cubicBezTo>
                  <a:cubicBezTo>
                    <a:pt x="34" y="14"/>
                    <a:pt x="31" y="13"/>
                    <a:pt x="28" y="13"/>
                  </a:cubicBezTo>
                  <a:cubicBezTo>
                    <a:pt x="24" y="13"/>
                    <a:pt x="22" y="14"/>
                    <a:pt x="19" y="16"/>
                  </a:cubicBezTo>
                  <a:cubicBezTo>
                    <a:pt x="17" y="18"/>
                    <a:pt x="16" y="21"/>
                    <a:pt x="16" y="25"/>
                  </a:cubicBezTo>
                  <a:cubicBezTo>
                    <a:pt x="16" y="28"/>
                    <a:pt x="16" y="28"/>
                    <a:pt x="16" y="28"/>
                  </a:cubicBezTo>
                  <a:cubicBezTo>
                    <a:pt x="16" y="32"/>
                    <a:pt x="17" y="35"/>
                    <a:pt x="20" y="37"/>
                  </a:cubicBezTo>
                  <a:cubicBezTo>
                    <a:pt x="22" y="39"/>
                    <a:pt x="24" y="41"/>
                    <a:pt x="28" y="41"/>
                  </a:cubicBezTo>
                  <a:close/>
                  <a:moveTo>
                    <a:pt x="91" y="113"/>
                  </a:moveTo>
                  <a:cubicBezTo>
                    <a:pt x="87" y="113"/>
                    <a:pt x="83" y="112"/>
                    <a:pt x="80" y="111"/>
                  </a:cubicBezTo>
                  <a:cubicBezTo>
                    <a:pt x="76" y="110"/>
                    <a:pt x="73" y="108"/>
                    <a:pt x="71" y="106"/>
                  </a:cubicBezTo>
                  <a:cubicBezTo>
                    <a:pt x="69" y="103"/>
                    <a:pt x="67" y="101"/>
                    <a:pt x="65" y="97"/>
                  </a:cubicBezTo>
                  <a:cubicBezTo>
                    <a:pt x="64" y="94"/>
                    <a:pt x="63" y="91"/>
                    <a:pt x="63" y="87"/>
                  </a:cubicBezTo>
                  <a:cubicBezTo>
                    <a:pt x="63" y="85"/>
                    <a:pt x="63" y="85"/>
                    <a:pt x="63" y="85"/>
                  </a:cubicBezTo>
                  <a:cubicBezTo>
                    <a:pt x="63" y="82"/>
                    <a:pt x="64" y="78"/>
                    <a:pt x="65" y="75"/>
                  </a:cubicBezTo>
                  <a:cubicBezTo>
                    <a:pt x="67" y="72"/>
                    <a:pt x="69" y="69"/>
                    <a:pt x="71" y="66"/>
                  </a:cubicBezTo>
                  <a:cubicBezTo>
                    <a:pt x="74" y="64"/>
                    <a:pt x="77" y="62"/>
                    <a:pt x="80" y="61"/>
                  </a:cubicBezTo>
                  <a:cubicBezTo>
                    <a:pt x="83" y="60"/>
                    <a:pt x="87" y="59"/>
                    <a:pt x="91" y="59"/>
                  </a:cubicBezTo>
                  <a:cubicBezTo>
                    <a:pt x="95" y="59"/>
                    <a:pt x="99" y="60"/>
                    <a:pt x="102" y="61"/>
                  </a:cubicBezTo>
                  <a:cubicBezTo>
                    <a:pt x="106" y="62"/>
                    <a:pt x="109" y="64"/>
                    <a:pt x="111" y="66"/>
                  </a:cubicBezTo>
                  <a:cubicBezTo>
                    <a:pt x="114" y="69"/>
                    <a:pt x="116" y="71"/>
                    <a:pt x="117" y="75"/>
                  </a:cubicBezTo>
                  <a:cubicBezTo>
                    <a:pt x="118" y="78"/>
                    <a:pt x="119" y="81"/>
                    <a:pt x="119" y="85"/>
                  </a:cubicBezTo>
                  <a:cubicBezTo>
                    <a:pt x="119" y="87"/>
                    <a:pt x="119" y="87"/>
                    <a:pt x="119" y="87"/>
                  </a:cubicBezTo>
                  <a:cubicBezTo>
                    <a:pt x="119" y="90"/>
                    <a:pt x="118" y="94"/>
                    <a:pt x="117" y="97"/>
                  </a:cubicBezTo>
                  <a:cubicBezTo>
                    <a:pt x="116" y="100"/>
                    <a:pt x="114" y="103"/>
                    <a:pt x="111" y="106"/>
                  </a:cubicBezTo>
                  <a:cubicBezTo>
                    <a:pt x="109" y="108"/>
                    <a:pt x="106" y="110"/>
                    <a:pt x="102" y="111"/>
                  </a:cubicBezTo>
                  <a:cubicBezTo>
                    <a:pt x="99" y="112"/>
                    <a:pt x="95" y="113"/>
                    <a:pt x="91" y="113"/>
                  </a:cubicBezTo>
                  <a:close/>
                  <a:moveTo>
                    <a:pt x="91" y="100"/>
                  </a:moveTo>
                  <a:cubicBezTo>
                    <a:pt x="94" y="100"/>
                    <a:pt x="97" y="99"/>
                    <a:pt x="99" y="96"/>
                  </a:cubicBezTo>
                  <a:cubicBezTo>
                    <a:pt x="101" y="94"/>
                    <a:pt x="102" y="91"/>
                    <a:pt x="102" y="87"/>
                  </a:cubicBezTo>
                  <a:cubicBezTo>
                    <a:pt x="102" y="85"/>
                    <a:pt x="102" y="85"/>
                    <a:pt x="102" y="85"/>
                  </a:cubicBezTo>
                  <a:cubicBezTo>
                    <a:pt x="102" y="81"/>
                    <a:pt x="101" y="78"/>
                    <a:pt x="99" y="75"/>
                  </a:cubicBezTo>
                  <a:cubicBezTo>
                    <a:pt x="97" y="73"/>
                    <a:pt x="94" y="72"/>
                    <a:pt x="91" y="72"/>
                  </a:cubicBezTo>
                  <a:cubicBezTo>
                    <a:pt x="88" y="72"/>
                    <a:pt x="85" y="73"/>
                    <a:pt x="83" y="75"/>
                  </a:cubicBezTo>
                  <a:cubicBezTo>
                    <a:pt x="81" y="78"/>
                    <a:pt x="80" y="81"/>
                    <a:pt x="80" y="85"/>
                  </a:cubicBezTo>
                  <a:cubicBezTo>
                    <a:pt x="80" y="87"/>
                    <a:pt x="80" y="87"/>
                    <a:pt x="80" y="87"/>
                  </a:cubicBezTo>
                  <a:cubicBezTo>
                    <a:pt x="80" y="91"/>
                    <a:pt x="81" y="94"/>
                    <a:pt x="83" y="96"/>
                  </a:cubicBezTo>
                  <a:cubicBezTo>
                    <a:pt x="85" y="99"/>
                    <a:pt x="88" y="100"/>
                    <a:pt x="91"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1071" name="Freeform 47"/>
            <p:cNvSpPr>
              <a:spLocks/>
            </p:cNvSpPr>
            <p:nvPr userDrawn="1"/>
          </p:nvSpPr>
          <p:spPr bwMode="auto">
            <a:xfrm>
              <a:off x="2036" y="3779"/>
              <a:ext cx="74" cy="83"/>
            </a:xfrm>
            <a:custGeom>
              <a:avLst/>
              <a:gdLst/>
              <a:ahLst/>
              <a:cxnLst>
                <a:cxn ang="0">
                  <a:pos x="35" y="90"/>
                </a:cxn>
                <a:cxn ang="0">
                  <a:pos x="17" y="111"/>
                </a:cxn>
                <a:cxn ang="0">
                  <a:pos x="10" y="116"/>
                </a:cxn>
                <a:cxn ang="0">
                  <a:pos x="4" y="113"/>
                </a:cxn>
                <a:cxn ang="0">
                  <a:pos x="3" y="113"/>
                </a:cxn>
                <a:cxn ang="0">
                  <a:pos x="0" y="107"/>
                </a:cxn>
                <a:cxn ang="0">
                  <a:pos x="4" y="99"/>
                </a:cxn>
                <a:cxn ang="0">
                  <a:pos x="16" y="85"/>
                </a:cxn>
                <a:cxn ang="0">
                  <a:pos x="19" y="82"/>
                </a:cxn>
                <a:cxn ang="0">
                  <a:pos x="66" y="29"/>
                </a:cxn>
                <a:cxn ang="0">
                  <a:pos x="67" y="27"/>
                </a:cxn>
                <a:cxn ang="0">
                  <a:pos x="86" y="5"/>
                </a:cxn>
                <a:cxn ang="0">
                  <a:pos x="99" y="3"/>
                </a:cxn>
                <a:cxn ang="0">
                  <a:pos x="100" y="4"/>
                </a:cxn>
                <a:cxn ang="0">
                  <a:pos x="100" y="17"/>
                </a:cxn>
                <a:cxn ang="0">
                  <a:pos x="80" y="39"/>
                </a:cxn>
                <a:cxn ang="0">
                  <a:pos x="76" y="44"/>
                </a:cxn>
                <a:cxn ang="0">
                  <a:pos x="35" y="91"/>
                </a:cxn>
              </a:cxnLst>
              <a:rect l="0" t="0" r="r" b="b"/>
              <a:pathLst>
                <a:path w="104" h="116">
                  <a:moveTo>
                    <a:pt x="35" y="90"/>
                  </a:moveTo>
                  <a:cubicBezTo>
                    <a:pt x="17" y="111"/>
                    <a:pt x="17" y="111"/>
                    <a:pt x="17" y="111"/>
                  </a:cubicBezTo>
                  <a:cubicBezTo>
                    <a:pt x="15" y="114"/>
                    <a:pt x="12" y="115"/>
                    <a:pt x="10" y="116"/>
                  </a:cubicBezTo>
                  <a:cubicBezTo>
                    <a:pt x="8" y="116"/>
                    <a:pt x="6" y="115"/>
                    <a:pt x="4" y="113"/>
                  </a:cubicBezTo>
                  <a:cubicBezTo>
                    <a:pt x="3" y="113"/>
                    <a:pt x="3" y="113"/>
                    <a:pt x="3" y="113"/>
                  </a:cubicBezTo>
                  <a:cubicBezTo>
                    <a:pt x="1" y="111"/>
                    <a:pt x="0" y="109"/>
                    <a:pt x="0" y="107"/>
                  </a:cubicBezTo>
                  <a:cubicBezTo>
                    <a:pt x="0" y="105"/>
                    <a:pt x="1" y="102"/>
                    <a:pt x="4" y="99"/>
                  </a:cubicBezTo>
                  <a:cubicBezTo>
                    <a:pt x="16" y="85"/>
                    <a:pt x="16" y="85"/>
                    <a:pt x="16" y="85"/>
                  </a:cubicBezTo>
                  <a:cubicBezTo>
                    <a:pt x="16" y="85"/>
                    <a:pt x="16" y="85"/>
                    <a:pt x="19" y="82"/>
                  </a:cubicBezTo>
                  <a:cubicBezTo>
                    <a:pt x="66" y="29"/>
                    <a:pt x="66" y="29"/>
                    <a:pt x="66" y="29"/>
                  </a:cubicBezTo>
                  <a:cubicBezTo>
                    <a:pt x="68" y="26"/>
                    <a:pt x="67" y="27"/>
                    <a:pt x="67" y="27"/>
                  </a:cubicBezTo>
                  <a:cubicBezTo>
                    <a:pt x="86" y="5"/>
                    <a:pt x="86" y="5"/>
                    <a:pt x="86" y="5"/>
                  </a:cubicBezTo>
                  <a:cubicBezTo>
                    <a:pt x="91" y="0"/>
                    <a:pt x="95" y="0"/>
                    <a:pt x="99" y="3"/>
                  </a:cubicBezTo>
                  <a:cubicBezTo>
                    <a:pt x="100" y="4"/>
                    <a:pt x="100" y="4"/>
                    <a:pt x="100" y="4"/>
                  </a:cubicBezTo>
                  <a:cubicBezTo>
                    <a:pt x="104" y="7"/>
                    <a:pt x="104" y="11"/>
                    <a:pt x="100" y="17"/>
                  </a:cubicBezTo>
                  <a:cubicBezTo>
                    <a:pt x="80" y="39"/>
                    <a:pt x="80" y="39"/>
                    <a:pt x="80" y="39"/>
                  </a:cubicBezTo>
                  <a:cubicBezTo>
                    <a:pt x="76" y="44"/>
                    <a:pt x="76" y="44"/>
                    <a:pt x="76" y="44"/>
                  </a:cubicBezTo>
                  <a:cubicBezTo>
                    <a:pt x="35" y="91"/>
                    <a:pt x="35" y="91"/>
                    <a:pt x="35" y="9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grpSp>
      <p:grpSp>
        <p:nvGrpSpPr>
          <p:cNvPr id="85" name="Group 50"/>
          <p:cNvGrpSpPr>
            <a:grpSpLocks noChangeAspect="1"/>
          </p:cNvGrpSpPr>
          <p:nvPr userDrawn="1"/>
        </p:nvGrpSpPr>
        <p:grpSpPr bwMode="auto">
          <a:xfrm>
            <a:off x="3535353" y="5994403"/>
            <a:ext cx="136524" cy="141288"/>
            <a:chOff x="2227" y="3776"/>
            <a:chExt cx="86" cy="89"/>
          </a:xfrm>
          <a:solidFill>
            <a:schemeClr val="bg1"/>
          </a:solidFill>
        </p:grpSpPr>
        <p:sp>
          <p:nvSpPr>
            <p:cNvPr id="1075" name="Freeform 51"/>
            <p:cNvSpPr>
              <a:spLocks/>
            </p:cNvSpPr>
            <p:nvPr userDrawn="1"/>
          </p:nvSpPr>
          <p:spPr bwMode="auto">
            <a:xfrm>
              <a:off x="2227" y="3811"/>
              <a:ext cx="86" cy="19"/>
            </a:xfrm>
            <a:custGeom>
              <a:avLst/>
              <a:gdLst/>
              <a:ahLst/>
              <a:cxnLst>
                <a:cxn ang="0">
                  <a:pos x="46" y="26"/>
                </a:cxn>
                <a:cxn ang="0">
                  <a:pos x="15" y="26"/>
                </a:cxn>
                <a:cxn ang="0">
                  <a:pos x="0" y="14"/>
                </a:cxn>
                <a:cxn ang="0">
                  <a:pos x="0" y="12"/>
                </a:cxn>
                <a:cxn ang="0">
                  <a:pos x="15" y="0"/>
                </a:cxn>
                <a:cxn ang="0">
                  <a:pos x="46" y="0"/>
                </a:cxn>
                <a:cxn ang="0">
                  <a:pos x="74" y="0"/>
                </a:cxn>
                <a:cxn ang="0">
                  <a:pos x="106" y="0"/>
                </a:cxn>
                <a:cxn ang="0">
                  <a:pos x="121" y="12"/>
                </a:cxn>
                <a:cxn ang="0">
                  <a:pos x="121" y="14"/>
                </a:cxn>
                <a:cxn ang="0">
                  <a:pos x="106" y="26"/>
                </a:cxn>
                <a:cxn ang="0">
                  <a:pos x="74" y="26"/>
                </a:cxn>
                <a:cxn ang="0">
                  <a:pos x="46" y="26"/>
                </a:cxn>
              </a:cxnLst>
              <a:rect l="0" t="0" r="r" b="b"/>
              <a:pathLst>
                <a:path w="121" h="26">
                  <a:moveTo>
                    <a:pt x="46" y="26"/>
                  </a:moveTo>
                  <a:cubicBezTo>
                    <a:pt x="15" y="26"/>
                    <a:pt x="15" y="26"/>
                    <a:pt x="15" y="26"/>
                  </a:cubicBezTo>
                  <a:cubicBezTo>
                    <a:pt x="5" y="26"/>
                    <a:pt x="0" y="21"/>
                    <a:pt x="0" y="14"/>
                  </a:cubicBezTo>
                  <a:cubicBezTo>
                    <a:pt x="0" y="12"/>
                    <a:pt x="0" y="12"/>
                    <a:pt x="0" y="12"/>
                  </a:cubicBezTo>
                  <a:cubicBezTo>
                    <a:pt x="0" y="5"/>
                    <a:pt x="5" y="0"/>
                    <a:pt x="15" y="0"/>
                  </a:cubicBezTo>
                  <a:cubicBezTo>
                    <a:pt x="46" y="0"/>
                    <a:pt x="46" y="0"/>
                    <a:pt x="46" y="0"/>
                  </a:cubicBezTo>
                  <a:cubicBezTo>
                    <a:pt x="74" y="0"/>
                    <a:pt x="74" y="0"/>
                    <a:pt x="74" y="0"/>
                  </a:cubicBezTo>
                  <a:cubicBezTo>
                    <a:pt x="106" y="0"/>
                    <a:pt x="106" y="0"/>
                    <a:pt x="106" y="0"/>
                  </a:cubicBezTo>
                  <a:cubicBezTo>
                    <a:pt x="116" y="0"/>
                    <a:pt x="121" y="5"/>
                    <a:pt x="121" y="12"/>
                  </a:cubicBezTo>
                  <a:cubicBezTo>
                    <a:pt x="121" y="14"/>
                    <a:pt x="121" y="14"/>
                    <a:pt x="121" y="14"/>
                  </a:cubicBezTo>
                  <a:cubicBezTo>
                    <a:pt x="121" y="21"/>
                    <a:pt x="116" y="26"/>
                    <a:pt x="106" y="26"/>
                  </a:cubicBezTo>
                  <a:cubicBezTo>
                    <a:pt x="74" y="26"/>
                    <a:pt x="74" y="26"/>
                    <a:pt x="74" y="26"/>
                  </a:cubicBezTo>
                  <a:lnTo>
                    <a:pt x="46"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1076" name="Oval 52"/>
            <p:cNvSpPr>
              <a:spLocks noChangeArrowheads="1"/>
            </p:cNvSpPr>
            <p:nvPr userDrawn="1"/>
          </p:nvSpPr>
          <p:spPr bwMode="auto">
            <a:xfrm>
              <a:off x="2260" y="3776"/>
              <a:ext cx="21" cy="21"/>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sp>
          <p:nvSpPr>
            <p:cNvPr id="1077" name="Oval 53"/>
            <p:cNvSpPr>
              <a:spLocks noChangeArrowheads="1"/>
            </p:cNvSpPr>
            <p:nvPr userDrawn="1"/>
          </p:nvSpPr>
          <p:spPr bwMode="auto">
            <a:xfrm>
              <a:off x="2260" y="3845"/>
              <a:ext cx="21" cy="2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87D200"/>
                </a:solidFill>
              </a:endParaRPr>
            </a:p>
          </p:txBody>
        </p:sp>
      </p:grpSp>
      <p:sp>
        <p:nvSpPr>
          <p:cNvPr id="1081" name="Freeform 57"/>
          <p:cNvSpPr>
            <a:spLocks/>
          </p:cNvSpPr>
          <p:nvPr userDrawn="1"/>
        </p:nvSpPr>
        <p:spPr bwMode="auto">
          <a:xfrm>
            <a:off x="3856038" y="5995988"/>
            <a:ext cx="109537" cy="138112"/>
          </a:xfrm>
          <a:custGeom>
            <a:avLst/>
            <a:gdLst/>
            <a:ahLst/>
            <a:cxnLst>
              <a:cxn ang="0">
                <a:pos x="11" y="73"/>
              </a:cxn>
              <a:cxn ang="0">
                <a:pos x="4" y="70"/>
              </a:cxn>
              <a:cxn ang="0">
                <a:pos x="1" y="65"/>
              </a:cxn>
              <a:cxn ang="0">
                <a:pos x="1" y="63"/>
              </a:cxn>
              <a:cxn ang="0">
                <a:pos x="4" y="58"/>
              </a:cxn>
              <a:cxn ang="0">
                <a:pos x="11" y="55"/>
              </a:cxn>
              <a:cxn ang="0">
                <a:pos x="29" y="55"/>
              </a:cxn>
              <a:cxn ang="0">
                <a:pos x="24" y="49"/>
              </a:cxn>
              <a:cxn ang="0">
                <a:pos x="20" y="41"/>
              </a:cxn>
              <a:cxn ang="0">
                <a:pos x="14" y="34"/>
              </a:cxn>
              <a:cxn ang="0">
                <a:pos x="0" y="12"/>
              </a:cxn>
              <a:cxn ang="0">
                <a:pos x="1" y="9"/>
              </a:cxn>
              <a:cxn ang="0">
                <a:pos x="3" y="6"/>
              </a:cxn>
              <a:cxn ang="0">
                <a:pos x="8" y="2"/>
              </a:cxn>
              <a:cxn ang="0">
                <a:pos x="16" y="1"/>
              </a:cxn>
              <a:cxn ang="0">
                <a:pos x="23" y="3"/>
              </a:cxn>
              <a:cxn ang="0">
                <a:pos x="28" y="10"/>
              </a:cxn>
              <a:cxn ang="0">
                <a:pos x="49" y="48"/>
              </a:cxn>
              <a:cxn ang="0">
                <a:pos x="69" y="10"/>
              </a:cxn>
              <a:cxn ang="0">
                <a:pos x="75" y="3"/>
              </a:cxn>
              <a:cxn ang="0">
                <a:pos x="82" y="0"/>
              </a:cxn>
              <a:cxn ang="0">
                <a:pos x="89" y="2"/>
              </a:cxn>
              <a:cxn ang="0">
                <a:pos x="94" y="6"/>
              </a:cxn>
              <a:cxn ang="0">
                <a:pos x="96" y="9"/>
              </a:cxn>
              <a:cxn ang="0">
                <a:pos x="96" y="12"/>
              </a:cxn>
              <a:cxn ang="0">
                <a:pos x="68" y="55"/>
              </a:cxn>
              <a:cxn ang="0">
                <a:pos x="86" y="55"/>
              </a:cxn>
              <a:cxn ang="0">
                <a:pos x="93" y="58"/>
              </a:cxn>
              <a:cxn ang="0">
                <a:pos x="95" y="63"/>
              </a:cxn>
              <a:cxn ang="0">
                <a:pos x="95" y="65"/>
              </a:cxn>
              <a:cxn ang="0">
                <a:pos x="93" y="70"/>
              </a:cxn>
              <a:cxn ang="0">
                <a:pos x="86" y="73"/>
              </a:cxn>
              <a:cxn ang="0">
                <a:pos x="60" y="73"/>
              </a:cxn>
              <a:cxn ang="0">
                <a:pos x="60" y="82"/>
              </a:cxn>
              <a:cxn ang="0">
                <a:pos x="86" y="82"/>
              </a:cxn>
              <a:cxn ang="0">
                <a:pos x="93" y="84"/>
              </a:cxn>
              <a:cxn ang="0">
                <a:pos x="95" y="90"/>
              </a:cxn>
              <a:cxn ang="0">
                <a:pos x="95" y="92"/>
              </a:cxn>
              <a:cxn ang="0">
                <a:pos x="93" y="97"/>
              </a:cxn>
              <a:cxn ang="0">
                <a:pos x="86" y="100"/>
              </a:cxn>
              <a:cxn ang="0">
                <a:pos x="60" y="100"/>
              </a:cxn>
              <a:cxn ang="0">
                <a:pos x="60" y="108"/>
              </a:cxn>
              <a:cxn ang="0">
                <a:pos x="58" y="117"/>
              </a:cxn>
              <a:cxn ang="0">
                <a:pos x="50" y="120"/>
              </a:cxn>
              <a:cxn ang="0">
                <a:pos x="47" y="120"/>
              </a:cxn>
              <a:cxn ang="0">
                <a:pos x="39" y="117"/>
              </a:cxn>
              <a:cxn ang="0">
                <a:pos x="37" y="108"/>
              </a:cxn>
              <a:cxn ang="0">
                <a:pos x="37" y="100"/>
              </a:cxn>
              <a:cxn ang="0">
                <a:pos x="11" y="100"/>
              </a:cxn>
              <a:cxn ang="0">
                <a:pos x="4" y="97"/>
              </a:cxn>
              <a:cxn ang="0">
                <a:pos x="1" y="92"/>
              </a:cxn>
              <a:cxn ang="0">
                <a:pos x="1" y="90"/>
              </a:cxn>
              <a:cxn ang="0">
                <a:pos x="4" y="84"/>
              </a:cxn>
              <a:cxn ang="0">
                <a:pos x="11" y="82"/>
              </a:cxn>
              <a:cxn ang="0">
                <a:pos x="37" y="82"/>
              </a:cxn>
              <a:cxn ang="0">
                <a:pos x="37" y="73"/>
              </a:cxn>
              <a:cxn ang="0">
                <a:pos x="11" y="73"/>
              </a:cxn>
            </a:cxnLst>
            <a:rect l="0" t="0" r="r" b="b"/>
            <a:pathLst>
              <a:path w="97" h="120">
                <a:moveTo>
                  <a:pt x="11" y="73"/>
                </a:moveTo>
                <a:cubicBezTo>
                  <a:pt x="8" y="73"/>
                  <a:pt x="5" y="72"/>
                  <a:pt x="4" y="70"/>
                </a:cubicBezTo>
                <a:cubicBezTo>
                  <a:pt x="2" y="69"/>
                  <a:pt x="1" y="67"/>
                  <a:pt x="1" y="65"/>
                </a:cubicBezTo>
                <a:cubicBezTo>
                  <a:pt x="1" y="63"/>
                  <a:pt x="1" y="63"/>
                  <a:pt x="1" y="63"/>
                </a:cubicBezTo>
                <a:cubicBezTo>
                  <a:pt x="1" y="61"/>
                  <a:pt x="2" y="59"/>
                  <a:pt x="4" y="58"/>
                </a:cubicBezTo>
                <a:cubicBezTo>
                  <a:pt x="5" y="56"/>
                  <a:pt x="8" y="55"/>
                  <a:pt x="11" y="55"/>
                </a:cubicBezTo>
                <a:cubicBezTo>
                  <a:pt x="29" y="55"/>
                  <a:pt x="29" y="55"/>
                  <a:pt x="29" y="55"/>
                </a:cubicBezTo>
                <a:cubicBezTo>
                  <a:pt x="27" y="53"/>
                  <a:pt x="26" y="51"/>
                  <a:pt x="24" y="49"/>
                </a:cubicBezTo>
                <a:cubicBezTo>
                  <a:pt x="23" y="46"/>
                  <a:pt x="21" y="44"/>
                  <a:pt x="20" y="41"/>
                </a:cubicBezTo>
                <a:cubicBezTo>
                  <a:pt x="18" y="39"/>
                  <a:pt x="16" y="36"/>
                  <a:pt x="14" y="34"/>
                </a:cubicBezTo>
                <a:cubicBezTo>
                  <a:pt x="0" y="12"/>
                  <a:pt x="0" y="12"/>
                  <a:pt x="0" y="12"/>
                </a:cubicBezTo>
                <a:cubicBezTo>
                  <a:pt x="0" y="11"/>
                  <a:pt x="0" y="11"/>
                  <a:pt x="1" y="9"/>
                </a:cubicBezTo>
                <a:cubicBezTo>
                  <a:pt x="1" y="8"/>
                  <a:pt x="2" y="7"/>
                  <a:pt x="3" y="6"/>
                </a:cubicBezTo>
                <a:cubicBezTo>
                  <a:pt x="4" y="4"/>
                  <a:pt x="6" y="3"/>
                  <a:pt x="8" y="2"/>
                </a:cubicBezTo>
                <a:cubicBezTo>
                  <a:pt x="10" y="1"/>
                  <a:pt x="13" y="1"/>
                  <a:pt x="16" y="1"/>
                </a:cubicBezTo>
                <a:cubicBezTo>
                  <a:pt x="18" y="1"/>
                  <a:pt x="21" y="1"/>
                  <a:pt x="23" y="3"/>
                </a:cubicBezTo>
                <a:cubicBezTo>
                  <a:pt x="25" y="4"/>
                  <a:pt x="27" y="7"/>
                  <a:pt x="28" y="10"/>
                </a:cubicBezTo>
                <a:cubicBezTo>
                  <a:pt x="49" y="48"/>
                  <a:pt x="49" y="48"/>
                  <a:pt x="49" y="48"/>
                </a:cubicBezTo>
                <a:cubicBezTo>
                  <a:pt x="69" y="10"/>
                  <a:pt x="69" y="10"/>
                  <a:pt x="69" y="10"/>
                </a:cubicBezTo>
                <a:cubicBezTo>
                  <a:pt x="71" y="6"/>
                  <a:pt x="73" y="4"/>
                  <a:pt x="75" y="3"/>
                </a:cubicBezTo>
                <a:cubicBezTo>
                  <a:pt x="77" y="1"/>
                  <a:pt x="80" y="0"/>
                  <a:pt x="82" y="0"/>
                </a:cubicBezTo>
                <a:cubicBezTo>
                  <a:pt x="85" y="0"/>
                  <a:pt x="87" y="1"/>
                  <a:pt x="89" y="2"/>
                </a:cubicBezTo>
                <a:cubicBezTo>
                  <a:pt x="91" y="3"/>
                  <a:pt x="93" y="4"/>
                  <a:pt x="94" y="6"/>
                </a:cubicBezTo>
                <a:cubicBezTo>
                  <a:pt x="95" y="7"/>
                  <a:pt x="96" y="8"/>
                  <a:pt x="96" y="9"/>
                </a:cubicBezTo>
                <a:cubicBezTo>
                  <a:pt x="97" y="11"/>
                  <a:pt x="97" y="11"/>
                  <a:pt x="96" y="12"/>
                </a:cubicBezTo>
                <a:cubicBezTo>
                  <a:pt x="68" y="55"/>
                  <a:pt x="68" y="55"/>
                  <a:pt x="68" y="55"/>
                </a:cubicBezTo>
                <a:cubicBezTo>
                  <a:pt x="86" y="55"/>
                  <a:pt x="86" y="55"/>
                  <a:pt x="86" y="55"/>
                </a:cubicBezTo>
                <a:cubicBezTo>
                  <a:pt x="89" y="55"/>
                  <a:pt x="92" y="56"/>
                  <a:pt x="93" y="58"/>
                </a:cubicBezTo>
                <a:cubicBezTo>
                  <a:pt x="95" y="59"/>
                  <a:pt x="95" y="61"/>
                  <a:pt x="95" y="63"/>
                </a:cubicBezTo>
                <a:cubicBezTo>
                  <a:pt x="95" y="65"/>
                  <a:pt x="95" y="65"/>
                  <a:pt x="95" y="65"/>
                </a:cubicBezTo>
                <a:cubicBezTo>
                  <a:pt x="95" y="67"/>
                  <a:pt x="95" y="69"/>
                  <a:pt x="93" y="70"/>
                </a:cubicBezTo>
                <a:cubicBezTo>
                  <a:pt x="92" y="72"/>
                  <a:pt x="89" y="73"/>
                  <a:pt x="86" y="73"/>
                </a:cubicBezTo>
                <a:cubicBezTo>
                  <a:pt x="60" y="73"/>
                  <a:pt x="60" y="73"/>
                  <a:pt x="60" y="73"/>
                </a:cubicBezTo>
                <a:cubicBezTo>
                  <a:pt x="60" y="82"/>
                  <a:pt x="60" y="82"/>
                  <a:pt x="60" y="82"/>
                </a:cubicBezTo>
                <a:cubicBezTo>
                  <a:pt x="86" y="82"/>
                  <a:pt x="86" y="82"/>
                  <a:pt x="86" y="82"/>
                </a:cubicBezTo>
                <a:cubicBezTo>
                  <a:pt x="89" y="82"/>
                  <a:pt x="92" y="83"/>
                  <a:pt x="93" y="84"/>
                </a:cubicBezTo>
                <a:cubicBezTo>
                  <a:pt x="95" y="86"/>
                  <a:pt x="95" y="88"/>
                  <a:pt x="95" y="90"/>
                </a:cubicBezTo>
                <a:cubicBezTo>
                  <a:pt x="95" y="92"/>
                  <a:pt x="95" y="92"/>
                  <a:pt x="95" y="92"/>
                </a:cubicBezTo>
                <a:cubicBezTo>
                  <a:pt x="95" y="94"/>
                  <a:pt x="95" y="96"/>
                  <a:pt x="93" y="97"/>
                </a:cubicBezTo>
                <a:cubicBezTo>
                  <a:pt x="92" y="99"/>
                  <a:pt x="89" y="100"/>
                  <a:pt x="86" y="100"/>
                </a:cubicBezTo>
                <a:cubicBezTo>
                  <a:pt x="60" y="100"/>
                  <a:pt x="60" y="100"/>
                  <a:pt x="60" y="100"/>
                </a:cubicBezTo>
                <a:cubicBezTo>
                  <a:pt x="60" y="108"/>
                  <a:pt x="60" y="108"/>
                  <a:pt x="60" y="108"/>
                </a:cubicBezTo>
                <a:cubicBezTo>
                  <a:pt x="60" y="112"/>
                  <a:pt x="59" y="115"/>
                  <a:pt x="58" y="117"/>
                </a:cubicBezTo>
                <a:cubicBezTo>
                  <a:pt x="56" y="119"/>
                  <a:pt x="53" y="120"/>
                  <a:pt x="50" y="120"/>
                </a:cubicBezTo>
                <a:cubicBezTo>
                  <a:pt x="47" y="120"/>
                  <a:pt x="47" y="120"/>
                  <a:pt x="47" y="120"/>
                </a:cubicBezTo>
                <a:cubicBezTo>
                  <a:pt x="43" y="120"/>
                  <a:pt x="40" y="119"/>
                  <a:pt x="39" y="117"/>
                </a:cubicBezTo>
                <a:cubicBezTo>
                  <a:pt x="37" y="115"/>
                  <a:pt x="37" y="112"/>
                  <a:pt x="37" y="108"/>
                </a:cubicBezTo>
                <a:cubicBezTo>
                  <a:pt x="37" y="100"/>
                  <a:pt x="37" y="100"/>
                  <a:pt x="37" y="100"/>
                </a:cubicBezTo>
                <a:cubicBezTo>
                  <a:pt x="11" y="100"/>
                  <a:pt x="11" y="100"/>
                  <a:pt x="11" y="100"/>
                </a:cubicBezTo>
                <a:cubicBezTo>
                  <a:pt x="8" y="100"/>
                  <a:pt x="5" y="99"/>
                  <a:pt x="4" y="97"/>
                </a:cubicBezTo>
                <a:cubicBezTo>
                  <a:pt x="2" y="96"/>
                  <a:pt x="1" y="94"/>
                  <a:pt x="1" y="92"/>
                </a:cubicBezTo>
                <a:cubicBezTo>
                  <a:pt x="1" y="90"/>
                  <a:pt x="1" y="90"/>
                  <a:pt x="1" y="90"/>
                </a:cubicBezTo>
                <a:cubicBezTo>
                  <a:pt x="1" y="88"/>
                  <a:pt x="2" y="86"/>
                  <a:pt x="4" y="84"/>
                </a:cubicBezTo>
                <a:cubicBezTo>
                  <a:pt x="5" y="83"/>
                  <a:pt x="8" y="82"/>
                  <a:pt x="11" y="82"/>
                </a:cubicBezTo>
                <a:cubicBezTo>
                  <a:pt x="37" y="82"/>
                  <a:pt x="37" y="82"/>
                  <a:pt x="37" y="82"/>
                </a:cubicBezTo>
                <a:cubicBezTo>
                  <a:pt x="37" y="73"/>
                  <a:pt x="37" y="73"/>
                  <a:pt x="37" y="73"/>
                </a:cubicBezTo>
                <a:lnTo>
                  <a:pt x="11" y="73"/>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85" name="Freeform 61"/>
          <p:cNvSpPr>
            <a:spLocks/>
          </p:cNvSpPr>
          <p:nvPr userDrawn="1"/>
        </p:nvSpPr>
        <p:spPr bwMode="auto">
          <a:xfrm>
            <a:off x="4160842" y="6000761"/>
            <a:ext cx="100013" cy="130175"/>
          </a:xfrm>
          <a:custGeom>
            <a:avLst/>
            <a:gdLst/>
            <a:ahLst/>
            <a:cxnLst>
              <a:cxn ang="0">
                <a:pos x="66" y="52"/>
              </a:cxn>
              <a:cxn ang="0">
                <a:pos x="81" y="63"/>
              </a:cxn>
              <a:cxn ang="0">
                <a:pos x="87" y="80"/>
              </a:cxn>
              <a:cxn ang="0">
                <a:pos x="75" y="104"/>
              </a:cxn>
              <a:cxn ang="0">
                <a:pos x="42" y="113"/>
              </a:cxn>
              <a:cxn ang="0">
                <a:pos x="24" y="111"/>
              </a:cxn>
              <a:cxn ang="0">
                <a:pos x="11" y="105"/>
              </a:cxn>
              <a:cxn ang="0">
                <a:pos x="3" y="97"/>
              </a:cxn>
              <a:cxn ang="0">
                <a:pos x="0" y="88"/>
              </a:cxn>
              <a:cxn ang="0">
                <a:pos x="2" y="81"/>
              </a:cxn>
              <a:cxn ang="0">
                <a:pos x="7" y="77"/>
              </a:cxn>
              <a:cxn ang="0">
                <a:pos x="12" y="76"/>
              </a:cxn>
              <a:cxn ang="0">
                <a:pos x="15" y="76"/>
              </a:cxn>
              <a:cxn ang="0">
                <a:pos x="24" y="89"/>
              </a:cxn>
              <a:cxn ang="0">
                <a:pos x="41" y="94"/>
              </a:cxn>
              <a:cxn ang="0">
                <a:pos x="57" y="90"/>
              </a:cxn>
              <a:cxn ang="0">
                <a:pos x="63" y="78"/>
              </a:cxn>
              <a:cxn ang="0">
                <a:pos x="44" y="63"/>
              </a:cxn>
              <a:cxn ang="0">
                <a:pos x="38" y="63"/>
              </a:cxn>
              <a:cxn ang="0">
                <a:pos x="29" y="61"/>
              </a:cxn>
              <a:cxn ang="0">
                <a:pos x="26" y="55"/>
              </a:cxn>
              <a:cxn ang="0">
                <a:pos x="26" y="54"/>
              </a:cxn>
              <a:cxn ang="0">
                <a:pos x="38" y="45"/>
              </a:cxn>
              <a:cxn ang="0">
                <a:pos x="46" y="45"/>
              </a:cxn>
              <a:cxn ang="0">
                <a:pos x="57" y="42"/>
              </a:cxn>
              <a:cxn ang="0">
                <a:pos x="61" y="33"/>
              </a:cxn>
              <a:cxn ang="0">
                <a:pos x="56" y="22"/>
              </a:cxn>
              <a:cxn ang="0">
                <a:pos x="41" y="19"/>
              </a:cxn>
              <a:cxn ang="0">
                <a:pos x="32" y="20"/>
              </a:cxn>
              <a:cxn ang="0">
                <a:pos x="25" y="24"/>
              </a:cxn>
              <a:cxn ang="0">
                <a:pos x="20" y="28"/>
              </a:cxn>
              <a:cxn ang="0">
                <a:pos x="17" y="34"/>
              </a:cxn>
              <a:cxn ang="0">
                <a:pos x="15" y="35"/>
              </a:cxn>
              <a:cxn ang="0">
                <a:pos x="10" y="33"/>
              </a:cxn>
              <a:cxn ang="0">
                <a:pos x="5" y="30"/>
              </a:cxn>
              <a:cxn ang="0">
                <a:pos x="3" y="23"/>
              </a:cxn>
              <a:cxn ang="0">
                <a:pos x="5" y="14"/>
              </a:cxn>
              <a:cxn ang="0">
                <a:pos x="13" y="7"/>
              </a:cxn>
              <a:cxn ang="0">
                <a:pos x="25" y="2"/>
              </a:cxn>
              <a:cxn ang="0">
                <a:pos x="42" y="0"/>
              </a:cxn>
              <a:cxn ang="0">
                <a:pos x="74" y="7"/>
              </a:cxn>
              <a:cxn ang="0">
                <a:pos x="85" y="29"/>
              </a:cxn>
              <a:cxn ang="0">
                <a:pos x="66" y="52"/>
              </a:cxn>
            </a:cxnLst>
            <a:rect l="0" t="0" r="r" b="b"/>
            <a:pathLst>
              <a:path w="87" h="113">
                <a:moveTo>
                  <a:pt x="66" y="52"/>
                </a:moveTo>
                <a:cubicBezTo>
                  <a:pt x="73" y="54"/>
                  <a:pt x="78" y="58"/>
                  <a:pt x="81" y="63"/>
                </a:cubicBezTo>
                <a:cubicBezTo>
                  <a:pt x="85" y="68"/>
                  <a:pt x="87" y="73"/>
                  <a:pt x="87" y="80"/>
                </a:cubicBezTo>
                <a:cubicBezTo>
                  <a:pt x="87" y="90"/>
                  <a:pt x="83" y="99"/>
                  <a:pt x="75" y="104"/>
                </a:cubicBezTo>
                <a:cubicBezTo>
                  <a:pt x="67" y="110"/>
                  <a:pt x="56" y="113"/>
                  <a:pt x="42" y="113"/>
                </a:cubicBezTo>
                <a:cubicBezTo>
                  <a:pt x="35" y="113"/>
                  <a:pt x="29" y="112"/>
                  <a:pt x="24" y="111"/>
                </a:cubicBezTo>
                <a:cubicBezTo>
                  <a:pt x="19" y="109"/>
                  <a:pt x="14" y="107"/>
                  <a:pt x="11" y="105"/>
                </a:cubicBezTo>
                <a:cubicBezTo>
                  <a:pt x="7" y="103"/>
                  <a:pt x="5" y="100"/>
                  <a:pt x="3" y="97"/>
                </a:cubicBezTo>
                <a:cubicBezTo>
                  <a:pt x="1" y="94"/>
                  <a:pt x="0" y="91"/>
                  <a:pt x="0" y="88"/>
                </a:cubicBezTo>
                <a:cubicBezTo>
                  <a:pt x="0" y="85"/>
                  <a:pt x="1" y="83"/>
                  <a:pt x="2" y="81"/>
                </a:cubicBezTo>
                <a:cubicBezTo>
                  <a:pt x="4" y="79"/>
                  <a:pt x="5" y="78"/>
                  <a:pt x="7" y="77"/>
                </a:cubicBezTo>
                <a:cubicBezTo>
                  <a:pt x="9" y="77"/>
                  <a:pt x="11" y="76"/>
                  <a:pt x="12" y="76"/>
                </a:cubicBezTo>
                <a:cubicBezTo>
                  <a:pt x="14" y="76"/>
                  <a:pt x="15" y="76"/>
                  <a:pt x="15" y="76"/>
                </a:cubicBezTo>
                <a:cubicBezTo>
                  <a:pt x="16" y="82"/>
                  <a:pt x="20" y="86"/>
                  <a:pt x="24" y="89"/>
                </a:cubicBezTo>
                <a:cubicBezTo>
                  <a:pt x="29" y="92"/>
                  <a:pt x="35" y="94"/>
                  <a:pt x="41" y="94"/>
                </a:cubicBezTo>
                <a:cubicBezTo>
                  <a:pt x="48" y="94"/>
                  <a:pt x="53" y="92"/>
                  <a:pt x="57" y="90"/>
                </a:cubicBezTo>
                <a:cubicBezTo>
                  <a:pt x="61" y="87"/>
                  <a:pt x="63" y="83"/>
                  <a:pt x="63" y="78"/>
                </a:cubicBezTo>
                <a:cubicBezTo>
                  <a:pt x="63" y="68"/>
                  <a:pt x="57" y="63"/>
                  <a:pt x="44" y="63"/>
                </a:cubicBezTo>
                <a:cubicBezTo>
                  <a:pt x="38" y="63"/>
                  <a:pt x="38" y="63"/>
                  <a:pt x="38" y="63"/>
                </a:cubicBezTo>
                <a:cubicBezTo>
                  <a:pt x="34" y="63"/>
                  <a:pt x="31" y="63"/>
                  <a:pt x="29" y="61"/>
                </a:cubicBezTo>
                <a:cubicBezTo>
                  <a:pt x="27" y="60"/>
                  <a:pt x="26" y="58"/>
                  <a:pt x="26" y="55"/>
                </a:cubicBezTo>
                <a:cubicBezTo>
                  <a:pt x="26" y="54"/>
                  <a:pt x="26" y="54"/>
                  <a:pt x="26" y="54"/>
                </a:cubicBezTo>
                <a:cubicBezTo>
                  <a:pt x="26" y="48"/>
                  <a:pt x="30" y="45"/>
                  <a:pt x="38" y="45"/>
                </a:cubicBezTo>
                <a:cubicBezTo>
                  <a:pt x="46" y="45"/>
                  <a:pt x="46" y="45"/>
                  <a:pt x="46" y="45"/>
                </a:cubicBezTo>
                <a:cubicBezTo>
                  <a:pt x="51" y="45"/>
                  <a:pt x="55" y="44"/>
                  <a:pt x="57" y="42"/>
                </a:cubicBezTo>
                <a:cubicBezTo>
                  <a:pt x="60" y="40"/>
                  <a:pt x="61" y="36"/>
                  <a:pt x="61" y="33"/>
                </a:cubicBezTo>
                <a:cubicBezTo>
                  <a:pt x="61" y="28"/>
                  <a:pt x="59" y="25"/>
                  <a:pt x="56" y="22"/>
                </a:cubicBezTo>
                <a:cubicBezTo>
                  <a:pt x="52" y="20"/>
                  <a:pt x="48" y="19"/>
                  <a:pt x="41" y="19"/>
                </a:cubicBezTo>
                <a:cubicBezTo>
                  <a:pt x="38" y="19"/>
                  <a:pt x="35" y="19"/>
                  <a:pt x="32" y="20"/>
                </a:cubicBezTo>
                <a:cubicBezTo>
                  <a:pt x="29" y="21"/>
                  <a:pt x="27" y="22"/>
                  <a:pt x="25" y="24"/>
                </a:cubicBezTo>
                <a:cubicBezTo>
                  <a:pt x="23" y="25"/>
                  <a:pt x="21" y="27"/>
                  <a:pt x="20" y="28"/>
                </a:cubicBezTo>
                <a:cubicBezTo>
                  <a:pt x="19" y="30"/>
                  <a:pt x="18" y="32"/>
                  <a:pt x="17" y="34"/>
                </a:cubicBezTo>
                <a:cubicBezTo>
                  <a:pt x="17" y="35"/>
                  <a:pt x="16" y="35"/>
                  <a:pt x="15" y="35"/>
                </a:cubicBezTo>
                <a:cubicBezTo>
                  <a:pt x="13" y="35"/>
                  <a:pt x="11" y="34"/>
                  <a:pt x="10" y="33"/>
                </a:cubicBezTo>
                <a:cubicBezTo>
                  <a:pt x="8" y="33"/>
                  <a:pt x="6" y="32"/>
                  <a:pt x="5" y="30"/>
                </a:cubicBezTo>
                <a:cubicBezTo>
                  <a:pt x="3" y="28"/>
                  <a:pt x="3" y="26"/>
                  <a:pt x="3" y="23"/>
                </a:cubicBezTo>
                <a:cubicBezTo>
                  <a:pt x="3" y="20"/>
                  <a:pt x="4" y="17"/>
                  <a:pt x="5" y="14"/>
                </a:cubicBezTo>
                <a:cubicBezTo>
                  <a:pt x="7" y="12"/>
                  <a:pt x="10" y="9"/>
                  <a:pt x="13" y="7"/>
                </a:cubicBezTo>
                <a:cubicBezTo>
                  <a:pt x="17" y="5"/>
                  <a:pt x="21" y="3"/>
                  <a:pt x="25" y="2"/>
                </a:cubicBezTo>
                <a:cubicBezTo>
                  <a:pt x="30" y="0"/>
                  <a:pt x="36" y="0"/>
                  <a:pt x="42" y="0"/>
                </a:cubicBezTo>
                <a:cubicBezTo>
                  <a:pt x="56" y="0"/>
                  <a:pt x="66" y="2"/>
                  <a:pt x="74" y="7"/>
                </a:cubicBezTo>
                <a:cubicBezTo>
                  <a:pt x="81" y="12"/>
                  <a:pt x="85" y="20"/>
                  <a:pt x="85" y="29"/>
                </a:cubicBezTo>
                <a:cubicBezTo>
                  <a:pt x="85" y="41"/>
                  <a:pt x="78" y="48"/>
                  <a:pt x="66" y="5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89" name="Freeform 65"/>
          <p:cNvSpPr>
            <a:spLocks noEditPoints="1"/>
          </p:cNvSpPr>
          <p:nvPr userDrawn="1"/>
        </p:nvSpPr>
        <p:spPr bwMode="auto">
          <a:xfrm>
            <a:off x="4456117" y="6002339"/>
            <a:ext cx="109538" cy="127000"/>
          </a:xfrm>
          <a:custGeom>
            <a:avLst/>
            <a:gdLst/>
            <a:ahLst/>
            <a:cxnLst>
              <a:cxn ang="0">
                <a:pos x="86" y="64"/>
              </a:cxn>
              <a:cxn ang="0">
                <a:pos x="94" y="66"/>
              </a:cxn>
              <a:cxn ang="0">
                <a:pos x="96" y="73"/>
              </a:cxn>
              <a:cxn ang="0">
                <a:pos x="96" y="74"/>
              </a:cxn>
              <a:cxn ang="0">
                <a:pos x="94" y="81"/>
              </a:cxn>
              <a:cxn ang="0">
                <a:pos x="86" y="83"/>
              </a:cxn>
              <a:cxn ang="0">
                <a:pos x="77" y="83"/>
              </a:cxn>
              <a:cxn ang="0">
                <a:pos x="77" y="100"/>
              </a:cxn>
              <a:cxn ang="0">
                <a:pos x="67" y="111"/>
              </a:cxn>
              <a:cxn ang="0">
                <a:pos x="64" y="111"/>
              </a:cxn>
              <a:cxn ang="0">
                <a:pos x="57" y="108"/>
              </a:cxn>
              <a:cxn ang="0">
                <a:pos x="55" y="100"/>
              </a:cxn>
              <a:cxn ang="0">
                <a:pos x="55" y="83"/>
              </a:cxn>
              <a:cxn ang="0">
                <a:pos x="14" y="83"/>
              </a:cxn>
              <a:cxn ang="0">
                <a:pos x="4" y="80"/>
              </a:cxn>
              <a:cxn ang="0">
                <a:pos x="0" y="73"/>
              </a:cxn>
              <a:cxn ang="0">
                <a:pos x="0" y="68"/>
              </a:cxn>
              <a:cxn ang="0">
                <a:pos x="2" y="62"/>
              </a:cxn>
              <a:cxn ang="0">
                <a:pos x="6" y="55"/>
              </a:cxn>
              <a:cxn ang="0">
                <a:pos x="39" y="9"/>
              </a:cxn>
              <a:cxn ang="0">
                <a:pos x="42" y="4"/>
              </a:cxn>
              <a:cxn ang="0">
                <a:pos x="46" y="2"/>
              </a:cxn>
              <a:cxn ang="0">
                <a:pos x="52" y="0"/>
              </a:cxn>
              <a:cxn ang="0">
                <a:pos x="59" y="0"/>
              </a:cxn>
              <a:cxn ang="0">
                <a:pos x="73" y="3"/>
              </a:cxn>
              <a:cxn ang="0">
                <a:pos x="77" y="16"/>
              </a:cxn>
              <a:cxn ang="0">
                <a:pos x="77" y="64"/>
              </a:cxn>
              <a:cxn ang="0">
                <a:pos x="86" y="64"/>
              </a:cxn>
              <a:cxn ang="0">
                <a:pos x="56" y="65"/>
              </a:cxn>
              <a:cxn ang="0">
                <a:pos x="56" y="18"/>
              </a:cxn>
              <a:cxn ang="0">
                <a:pos x="22" y="65"/>
              </a:cxn>
              <a:cxn ang="0">
                <a:pos x="56" y="65"/>
              </a:cxn>
            </a:cxnLst>
            <a:rect l="0" t="0" r="r" b="b"/>
            <a:pathLst>
              <a:path w="96" h="111">
                <a:moveTo>
                  <a:pt x="86" y="64"/>
                </a:moveTo>
                <a:cubicBezTo>
                  <a:pt x="90" y="64"/>
                  <a:pt x="92" y="65"/>
                  <a:pt x="94" y="66"/>
                </a:cubicBezTo>
                <a:cubicBezTo>
                  <a:pt x="95" y="68"/>
                  <a:pt x="96" y="70"/>
                  <a:pt x="96" y="73"/>
                </a:cubicBezTo>
                <a:cubicBezTo>
                  <a:pt x="96" y="74"/>
                  <a:pt x="96" y="74"/>
                  <a:pt x="96" y="74"/>
                </a:cubicBezTo>
                <a:cubicBezTo>
                  <a:pt x="96" y="77"/>
                  <a:pt x="95" y="80"/>
                  <a:pt x="94" y="81"/>
                </a:cubicBezTo>
                <a:cubicBezTo>
                  <a:pt x="92" y="83"/>
                  <a:pt x="90" y="83"/>
                  <a:pt x="86" y="83"/>
                </a:cubicBezTo>
                <a:cubicBezTo>
                  <a:pt x="77" y="83"/>
                  <a:pt x="77" y="83"/>
                  <a:pt x="77" y="83"/>
                </a:cubicBezTo>
                <a:cubicBezTo>
                  <a:pt x="77" y="100"/>
                  <a:pt x="77" y="100"/>
                  <a:pt x="77" y="100"/>
                </a:cubicBezTo>
                <a:cubicBezTo>
                  <a:pt x="77" y="107"/>
                  <a:pt x="74" y="111"/>
                  <a:pt x="67" y="111"/>
                </a:cubicBezTo>
                <a:cubicBezTo>
                  <a:pt x="64" y="111"/>
                  <a:pt x="64" y="111"/>
                  <a:pt x="64" y="111"/>
                </a:cubicBezTo>
                <a:cubicBezTo>
                  <a:pt x="61" y="111"/>
                  <a:pt x="59" y="110"/>
                  <a:pt x="57" y="108"/>
                </a:cubicBezTo>
                <a:cubicBezTo>
                  <a:pt x="55" y="106"/>
                  <a:pt x="55" y="103"/>
                  <a:pt x="55" y="100"/>
                </a:cubicBezTo>
                <a:cubicBezTo>
                  <a:pt x="55" y="83"/>
                  <a:pt x="55" y="83"/>
                  <a:pt x="55" y="83"/>
                </a:cubicBezTo>
                <a:cubicBezTo>
                  <a:pt x="14" y="83"/>
                  <a:pt x="14" y="83"/>
                  <a:pt x="14" y="83"/>
                </a:cubicBezTo>
                <a:cubicBezTo>
                  <a:pt x="10" y="83"/>
                  <a:pt x="7" y="82"/>
                  <a:pt x="4" y="80"/>
                </a:cubicBezTo>
                <a:cubicBezTo>
                  <a:pt x="2" y="78"/>
                  <a:pt x="0" y="76"/>
                  <a:pt x="0" y="73"/>
                </a:cubicBezTo>
                <a:cubicBezTo>
                  <a:pt x="0" y="68"/>
                  <a:pt x="0" y="68"/>
                  <a:pt x="0" y="68"/>
                </a:cubicBezTo>
                <a:cubicBezTo>
                  <a:pt x="0" y="66"/>
                  <a:pt x="1" y="64"/>
                  <a:pt x="2" y="62"/>
                </a:cubicBezTo>
                <a:cubicBezTo>
                  <a:pt x="2" y="60"/>
                  <a:pt x="4" y="58"/>
                  <a:pt x="6" y="55"/>
                </a:cubicBezTo>
                <a:cubicBezTo>
                  <a:pt x="39" y="9"/>
                  <a:pt x="39" y="9"/>
                  <a:pt x="39" y="9"/>
                </a:cubicBezTo>
                <a:cubicBezTo>
                  <a:pt x="40" y="7"/>
                  <a:pt x="41" y="6"/>
                  <a:pt x="42" y="4"/>
                </a:cubicBezTo>
                <a:cubicBezTo>
                  <a:pt x="44" y="3"/>
                  <a:pt x="45" y="2"/>
                  <a:pt x="46" y="2"/>
                </a:cubicBezTo>
                <a:cubicBezTo>
                  <a:pt x="48" y="1"/>
                  <a:pt x="50" y="0"/>
                  <a:pt x="52" y="0"/>
                </a:cubicBezTo>
                <a:cubicBezTo>
                  <a:pt x="54" y="0"/>
                  <a:pt x="56" y="0"/>
                  <a:pt x="59" y="0"/>
                </a:cubicBezTo>
                <a:cubicBezTo>
                  <a:pt x="66" y="0"/>
                  <a:pt x="70" y="1"/>
                  <a:pt x="73" y="3"/>
                </a:cubicBezTo>
                <a:cubicBezTo>
                  <a:pt x="76" y="6"/>
                  <a:pt x="77" y="10"/>
                  <a:pt x="77" y="16"/>
                </a:cubicBezTo>
                <a:cubicBezTo>
                  <a:pt x="77" y="64"/>
                  <a:pt x="77" y="64"/>
                  <a:pt x="77" y="64"/>
                </a:cubicBezTo>
                <a:lnTo>
                  <a:pt x="86" y="64"/>
                </a:lnTo>
                <a:close/>
                <a:moveTo>
                  <a:pt x="56" y="65"/>
                </a:moveTo>
                <a:cubicBezTo>
                  <a:pt x="56" y="18"/>
                  <a:pt x="56" y="18"/>
                  <a:pt x="56" y="18"/>
                </a:cubicBezTo>
                <a:cubicBezTo>
                  <a:pt x="22" y="65"/>
                  <a:pt x="22" y="65"/>
                  <a:pt x="22" y="65"/>
                </a:cubicBezTo>
                <a:lnTo>
                  <a:pt x="56" y="65"/>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93" name="Freeform 69"/>
          <p:cNvSpPr>
            <a:spLocks/>
          </p:cNvSpPr>
          <p:nvPr userDrawn="1"/>
        </p:nvSpPr>
        <p:spPr bwMode="auto">
          <a:xfrm>
            <a:off x="4764093" y="6002339"/>
            <a:ext cx="96837" cy="127000"/>
          </a:xfrm>
          <a:custGeom>
            <a:avLst/>
            <a:gdLst/>
            <a:ahLst/>
            <a:cxnLst>
              <a:cxn ang="0">
                <a:pos x="34" y="41"/>
              </a:cxn>
              <a:cxn ang="0">
                <a:pos x="45" y="40"/>
              </a:cxn>
              <a:cxn ang="0">
                <a:pos x="61" y="43"/>
              </a:cxn>
              <a:cxn ang="0">
                <a:pos x="74" y="50"/>
              </a:cxn>
              <a:cxn ang="0">
                <a:pos x="82" y="60"/>
              </a:cxn>
              <a:cxn ang="0">
                <a:pos x="85" y="75"/>
              </a:cxn>
              <a:cxn ang="0">
                <a:pos x="82" y="90"/>
              </a:cxn>
              <a:cxn ang="0">
                <a:pos x="73" y="101"/>
              </a:cxn>
              <a:cxn ang="0">
                <a:pos x="59" y="108"/>
              </a:cxn>
              <a:cxn ang="0">
                <a:pos x="40" y="111"/>
              </a:cxn>
              <a:cxn ang="0">
                <a:pos x="23" y="109"/>
              </a:cxn>
              <a:cxn ang="0">
                <a:pos x="11" y="104"/>
              </a:cxn>
              <a:cxn ang="0">
                <a:pos x="3" y="97"/>
              </a:cxn>
              <a:cxn ang="0">
                <a:pos x="0" y="90"/>
              </a:cxn>
              <a:cxn ang="0">
                <a:pos x="1" y="85"/>
              </a:cxn>
              <a:cxn ang="0">
                <a:pos x="5" y="81"/>
              </a:cxn>
              <a:cxn ang="0">
                <a:pos x="8" y="78"/>
              </a:cxn>
              <a:cxn ang="0">
                <a:pos x="10" y="78"/>
              </a:cxn>
              <a:cxn ang="0">
                <a:pos x="23" y="89"/>
              </a:cxn>
              <a:cxn ang="0">
                <a:pos x="40" y="93"/>
              </a:cxn>
              <a:cxn ang="0">
                <a:pos x="57" y="88"/>
              </a:cxn>
              <a:cxn ang="0">
                <a:pos x="63" y="75"/>
              </a:cxn>
              <a:cxn ang="0">
                <a:pos x="57" y="62"/>
              </a:cxn>
              <a:cxn ang="0">
                <a:pos x="41" y="57"/>
              </a:cxn>
              <a:cxn ang="0">
                <a:pos x="28" y="59"/>
              </a:cxn>
              <a:cxn ang="0">
                <a:pos x="18" y="64"/>
              </a:cxn>
              <a:cxn ang="0">
                <a:pos x="7" y="60"/>
              </a:cxn>
              <a:cxn ang="0">
                <a:pos x="4" y="50"/>
              </a:cxn>
              <a:cxn ang="0">
                <a:pos x="4" y="14"/>
              </a:cxn>
              <a:cxn ang="0">
                <a:pos x="7" y="3"/>
              </a:cxn>
              <a:cxn ang="0">
                <a:pos x="16" y="0"/>
              </a:cxn>
              <a:cxn ang="0">
                <a:pos x="69" y="0"/>
              </a:cxn>
              <a:cxn ang="0">
                <a:pos x="80" y="10"/>
              </a:cxn>
              <a:cxn ang="0">
                <a:pos x="80" y="10"/>
              </a:cxn>
              <a:cxn ang="0">
                <a:pos x="69" y="20"/>
              </a:cxn>
              <a:cxn ang="0">
                <a:pos x="25" y="20"/>
              </a:cxn>
              <a:cxn ang="0">
                <a:pos x="25" y="44"/>
              </a:cxn>
              <a:cxn ang="0">
                <a:pos x="34" y="41"/>
              </a:cxn>
            </a:cxnLst>
            <a:rect l="0" t="0" r="r" b="b"/>
            <a:pathLst>
              <a:path w="85" h="111">
                <a:moveTo>
                  <a:pt x="34" y="41"/>
                </a:moveTo>
                <a:cubicBezTo>
                  <a:pt x="37" y="41"/>
                  <a:pt x="41" y="40"/>
                  <a:pt x="45" y="40"/>
                </a:cubicBezTo>
                <a:cubicBezTo>
                  <a:pt x="51" y="40"/>
                  <a:pt x="56" y="41"/>
                  <a:pt x="61" y="43"/>
                </a:cubicBezTo>
                <a:cubicBezTo>
                  <a:pt x="66" y="44"/>
                  <a:pt x="70" y="47"/>
                  <a:pt x="74" y="50"/>
                </a:cubicBezTo>
                <a:cubicBezTo>
                  <a:pt x="77" y="53"/>
                  <a:pt x="80" y="56"/>
                  <a:pt x="82" y="60"/>
                </a:cubicBezTo>
                <a:cubicBezTo>
                  <a:pt x="84" y="65"/>
                  <a:pt x="85" y="69"/>
                  <a:pt x="85" y="75"/>
                </a:cubicBezTo>
                <a:cubicBezTo>
                  <a:pt x="85" y="80"/>
                  <a:pt x="84" y="85"/>
                  <a:pt x="82" y="90"/>
                </a:cubicBezTo>
                <a:cubicBezTo>
                  <a:pt x="80" y="94"/>
                  <a:pt x="77" y="98"/>
                  <a:pt x="73" y="101"/>
                </a:cubicBezTo>
                <a:cubicBezTo>
                  <a:pt x="69" y="104"/>
                  <a:pt x="64" y="107"/>
                  <a:pt x="59" y="108"/>
                </a:cubicBezTo>
                <a:cubicBezTo>
                  <a:pt x="53" y="110"/>
                  <a:pt x="47" y="111"/>
                  <a:pt x="40" y="111"/>
                </a:cubicBezTo>
                <a:cubicBezTo>
                  <a:pt x="34" y="111"/>
                  <a:pt x="28" y="110"/>
                  <a:pt x="23" y="109"/>
                </a:cubicBezTo>
                <a:cubicBezTo>
                  <a:pt x="18" y="108"/>
                  <a:pt x="14" y="106"/>
                  <a:pt x="11" y="104"/>
                </a:cubicBezTo>
                <a:cubicBezTo>
                  <a:pt x="7" y="102"/>
                  <a:pt x="5" y="100"/>
                  <a:pt x="3" y="97"/>
                </a:cubicBezTo>
                <a:cubicBezTo>
                  <a:pt x="1" y="95"/>
                  <a:pt x="0" y="92"/>
                  <a:pt x="0" y="90"/>
                </a:cubicBezTo>
                <a:cubicBezTo>
                  <a:pt x="0" y="88"/>
                  <a:pt x="0" y="86"/>
                  <a:pt x="1" y="85"/>
                </a:cubicBezTo>
                <a:cubicBezTo>
                  <a:pt x="2" y="83"/>
                  <a:pt x="4" y="82"/>
                  <a:pt x="5" y="81"/>
                </a:cubicBezTo>
                <a:cubicBezTo>
                  <a:pt x="6" y="80"/>
                  <a:pt x="7" y="79"/>
                  <a:pt x="8" y="78"/>
                </a:cubicBezTo>
                <a:cubicBezTo>
                  <a:pt x="9" y="78"/>
                  <a:pt x="10" y="78"/>
                  <a:pt x="10" y="78"/>
                </a:cubicBezTo>
                <a:cubicBezTo>
                  <a:pt x="13" y="83"/>
                  <a:pt x="18" y="86"/>
                  <a:pt x="23" y="89"/>
                </a:cubicBezTo>
                <a:cubicBezTo>
                  <a:pt x="28" y="91"/>
                  <a:pt x="34" y="93"/>
                  <a:pt x="40" y="93"/>
                </a:cubicBezTo>
                <a:cubicBezTo>
                  <a:pt x="47" y="93"/>
                  <a:pt x="53" y="91"/>
                  <a:pt x="57" y="88"/>
                </a:cubicBezTo>
                <a:cubicBezTo>
                  <a:pt x="61" y="85"/>
                  <a:pt x="63" y="80"/>
                  <a:pt x="63" y="75"/>
                </a:cubicBezTo>
                <a:cubicBezTo>
                  <a:pt x="63" y="69"/>
                  <a:pt x="61" y="65"/>
                  <a:pt x="57" y="62"/>
                </a:cubicBezTo>
                <a:cubicBezTo>
                  <a:pt x="53" y="59"/>
                  <a:pt x="48" y="57"/>
                  <a:pt x="41" y="57"/>
                </a:cubicBezTo>
                <a:cubicBezTo>
                  <a:pt x="36" y="57"/>
                  <a:pt x="31" y="58"/>
                  <a:pt x="28" y="59"/>
                </a:cubicBezTo>
                <a:cubicBezTo>
                  <a:pt x="24" y="61"/>
                  <a:pt x="21" y="62"/>
                  <a:pt x="18" y="64"/>
                </a:cubicBezTo>
                <a:cubicBezTo>
                  <a:pt x="14" y="64"/>
                  <a:pt x="10" y="63"/>
                  <a:pt x="7" y="60"/>
                </a:cubicBezTo>
                <a:cubicBezTo>
                  <a:pt x="5" y="58"/>
                  <a:pt x="4" y="55"/>
                  <a:pt x="4" y="50"/>
                </a:cubicBezTo>
                <a:cubicBezTo>
                  <a:pt x="4" y="14"/>
                  <a:pt x="4" y="14"/>
                  <a:pt x="4" y="14"/>
                </a:cubicBezTo>
                <a:cubicBezTo>
                  <a:pt x="4" y="9"/>
                  <a:pt x="5" y="6"/>
                  <a:pt x="7" y="3"/>
                </a:cubicBezTo>
                <a:cubicBezTo>
                  <a:pt x="9" y="1"/>
                  <a:pt x="12" y="0"/>
                  <a:pt x="16" y="0"/>
                </a:cubicBezTo>
                <a:cubicBezTo>
                  <a:pt x="69" y="0"/>
                  <a:pt x="69" y="0"/>
                  <a:pt x="69" y="0"/>
                </a:cubicBezTo>
                <a:cubicBezTo>
                  <a:pt x="76" y="0"/>
                  <a:pt x="80" y="3"/>
                  <a:pt x="80" y="10"/>
                </a:cubicBezTo>
                <a:cubicBezTo>
                  <a:pt x="80" y="10"/>
                  <a:pt x="80" y="10"/>
                  <a:pt x="80" y="10"/>
                </a:cubicBezTo>
                <a:cubicBezTo>
                  <a:pt x="80" y="17"/>
                  <a:pt x="76" y="20"/>
                  <a:pt x="69" y="20"/>
                </a:cubicBezTo>
                <a:cubicBezTo>
                  <a:pt x="25" y="20"/>
                  <a:pt x="25" y="20"/>
                  <a:pt x="25" y="20"/>
                </a:cubicBezTo>
                <a:cubicBezTo>
                  <a:pt x="25" y="44"/>
                  <a:pt x="25" y="44"/>
                  <a:pt x="25" y="44"/>
                </a:cubicBezTo>
                <a:cubicBezTo>
                  <a:pt x="28" y="43"/>
                  <a:pt x="31" y="42"/>
                  <a:pt x="34" y="4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097" name="Freeform 73"/>
          <p:cNvSpPr>
            <a:spLocks noEditPoints="1"/>
          </p:cNvSpPr>
          <p:nvPr userDrawn="1"/>
        </p:nvSpPr>
        <p:spPr bwMode="auto">
          <a:xfrm>
            <a:off x="5060950" y="6000761"/>
            <a:ext cx="103188" cy="130175"/>
          </a:xfrm>
          <a:custGeom>
            <a:avLst/>
            <a:gdLst/>
            <a:ahLst/>
            <a:cxnLst>
              <a:cxn ang="0">
                <a:pos x="37" y="45"/>
              </a:cxn>
              <a:cxn ang="0">
                <a:pos x="54" y="41"/>
              </a:cxn>
              <a:cxn ang="0">
                <a:pos x="69" y="44"/>
              </a:cxn>
              <a:cxn ang="0">
                <a:pos x="81" y="50"/>
              </a:cxn>
              <a:cxn ang="0">
                <a:pos x="88" y="60"/>
              </a:cxn>
              <a:cxn ang="0">
                <a:pos x="91" y="74"/>
              </a:cxn>
              <a:cxn ang="0">
                <a:pos x="91" y="75"/>
              </a:cxn>
              <a:cxn ang="0">
                <a:pos x="87" y="90"/>
              </a:cxn>
              <a:cxn ang="0">
                <a:pos x="78" y="102"/>
              </a:cxn>
              <a:cxn ang="0">
                <a:pos x="65" y="110"/>
              </a:cxn>
              <a:cxn ang="0">
                <a:pos x="47" y="113"/>
              </a:cxn>
              <a:cxn ang="0">
                <a:pos x="27" y="109"/>
              </a:cxn>
              <a:cxn ang="0">
                <a:pos x="13" y="99"/>
              </a:cxn>
              <a:cxn ang="0">
                <a:pos x="3" y="83"/>
              </a:cxn>
              <a:cxn ang="0">
                <a:pos x="0" y="62"/>
              </a:cxn>
              <a:cxn ang="0">
                <a:pos x="0" y="52"/>
              </a:cxn>
              <a:cxn ang="0">
                <a:pos x="4" y="30"/>
              </a:cxn>
              <a:cxn ang="0">
                <a:pos x="13" y="14"/>
              </a:cxn>
              <a:cxn ang="0">
                <a:pos x="29" y="3"/>
              </a:cxn>
              <a:cxn ang="0">
                <a:pos x="49" y="0"/>
              </a:cxn>
              <a:cxn ang="0">
                <a:pos x="65" y="1"/>
              </a:cxn>
              <a:cxn ang="0">
                <a:pos x="77" y="6"/>
              </a:cxn>
              <a:cxn ang="0">
                <a:pos x="84" y="13"/>
              </a:cxn>
              <a:cxn ang="0">
                <a:pos x="86" y="21"/>
              </a:cxn>
              <a:cxn ang="0">
                <a:pos x="84" y="27"/>
              </a:cxn>
              <a:cxn ang="0">
                <a:pos x="80" y="30"/>
              </a:cxn>
              <a:cxn ang="0">
                <a:pos x="76" y="32"/>
              </a:cxn>
              <a:cxn ang="0">
                <a:pos x="74" y="32"/>
              </a:cxn>
              <a:cxn ang="0">
                <a:pos x="65" y="23"/>
              </a:cxn>
              <a:cxn ang="0">
                <a:pos x="51" y="19"/>
              </a:cxn>
              <a:cxn ang="0">
                <a:pos x="25" y="51"/>
              </a:cxn>
              <a:cxn ang="0">
                <a:pos x="25" y="52"/>
              </a:cxn>
              <a:cxn ang="0">
                <a:pos x="37" y="45"/>
              </a:cxn>
              <a:cxn ang="0">
                <a:pos x="25" y="68"/>
              </a:cxn>
              <a:cxn ang="0">
                <a:pos x="31" y="87"/>
              </a:cxn>
              <a:cxn ang="0">
                <a:pos x="47" y="94"/>
              </a:cxn>
              <a:cxn ang="0">
                <a:pos x="61" y="89"/>
              </a:cxn>
              <a:cxn ang="0">
                <a:pos x="67" y="77"/>
              </a:cxn>
              <a:cxn ang="0">
                <a:pos x="67" y="76"/>
              </a:cxn>
              <a:cxn ang="0">
                <a:pos x="62" y="63"/>
              </a:cxn>
              <a:cxn ang="0">
                <a:pos x="47" y="59"/>
              </a:cxn>
              <a:cxn ang="0">
                <a:pos x="35" y="61"/>
              </a:cxn>
              <a:cxn ang="0">
                <a:pos x="25" y="68"/>
              </a:cxn>
            </a:cxnLst>
            <a:rect l="0" t="0" r="r" b="b"/>
            <a:pathLst>
              <a:path w="91" h="113">
                <a:moveTo>
                  <a:pt x="37" y="45"/>
                </a:moveTo>
                <a:cubicBezTo>
                  <a:pt x="42" y="43"/>
                  <a:pt x="48" y="41"/>
                  <a:pt x="54" y="41"/>
                </a:cubicBezTo>
                <a:cubicBezTo>
                  <a:pt x="60" y="41"/>
                  <a:pt x="65" y="42"/>
                  <a:pt x="69" y="44"/>
                </a:cubicBezTo>
                <a:cubicBezTo>
                  <a:pt x="73" y="45"/>
                  <a:pt x="77" y="47"/>
                  <a:pt x="81" y="50"/>
                </a:cubicBezTo>
                <a:cubicBezTo>
                  <a:pt x="84" y="53"/>
                  <a:pt x="86" y="56"/>
                  <a:pt x="88" y="60"/>
                </a:cubicBezTo>
                <a:cubicBezTo>
                  <a:pt x="90" y="64"/>
                  <a:pt x="91" y="69"/>
                  <a:pt x="91" y="74"/>
                </a:cubicBezTo>
                <a:cubicBezTo>
                  <a:pt x="91" y="75"/>
                  <a:pt x="91" y="75"/>
                  <a:pt x="91" y="75"/>
                </a:cubicBezTo>
                <a:cubicBezTo>
                  <a:pt x="91" y="81"/>
                  <a:pt x="89" y="86"/>
                  <a:pt x="87" y="90"/>
                </a:cubicBezTo>
                <a:cubicBezTo>
                  <a:pt x="85" y="95"/>
                  <a:pt x="82" y="99"/>
                  <a:pt x="78" y="102"/>
                </a:cubicBezTo>
                <a:cubicBezTo>
                  <a:pt x="75" y="106"/>
                  <a:pt x="70" y="108"/>
                  <a:pt x="65" y="110"/>
                </a:cubicBezTo>
                <a:cubicBezTo>
                  <a:pt x="60" y="112"/>
                  <a:pt x="54" y="113"/>
                  <a:pt x="47" y="113"/>
                </a:cubicBezTo>
                <a:cubicBezTo>
                  <a:pt x="40" y="113"/>
                  <a:pt x="33" y="112"/>
                  <a:pt x="27" y="109"/>
                </a:cubicBezTo>
                <a:cubicBezTo>
                  <a:pt x="22" y="107"/>
                  <a:pt x="17" y="103"/>
                  <a:pt x="13" y="99"/>
                </a:cubicBezTo>
                <a:cubicBezTo>
                  <a:pt x="9" y="94"/>
                  <a:pt x="5" y="89"/>
                  <a:pt x="3" y="83"/>
                </a:cubicBezTo>
                <a:cubicBezTo>
                  <a:pt x="1" y="77"/>
                  <a:pt x="0" y="70"/>
                  <a:pt x="0" y="62"/>
                </a:cubicBezTo>
                <a:cubicBezTo>
                  <a:pt x="0" y="52"/>
                  <a:pt x="0" y="52"/>
                  <a:pt x="0" y="52"/>
                </a:cubicBezTo>
                <a:cubicBezTo>
                  <a:pt x="0" y="44"/>
                  <a:pt x="1" y="37"/>
                  <a:pt x="4" y="30"/>
                </a:cubicBezTo>
                <a:cubicBezTo>
                  <a:pt x="6" y="24"/>
                  <a:pt x="9" y="18"/>
                  <a:pt x="13" y="14"/>
                </a:cubicBezTo>
                <a:cubicBezTo>
                  <a:pt x="18" y="9"/>
                  <a:pt x="23" y="6"/>
                  <a:pt x="29" y="3"/>
                </a:cubicBezTo>
                <a:cubicBezTo>
                  <a:pt x="35" y="1"/>
                  <a:pt x="42" y="0"/>
                  <a:pt x="49" y="0"/>
                </a:cubicBezTo>
                <a:cubicBezTo>
                  <a:pt x="55" y="0"/>
                  <a:pt x="61" y="0"/>
                  <a:pt x="65" y="1"/>
                </a:cubicBezTo>
                <a:cubicBezTo>
                  <a:pt x="70" y="3"/>
                  <a:pt x="74" y="4"/>
                  <a:pt x="77" y="6"/>
                </a:cubicBezTo>
                <a:cubicBezTo>
                  <a:pt x="80" y="8"/>
                  <a:pt x="82" y="10"/>
                  <a:pt x="84" y="13"/>
                </a:cubicBezTo>
                <a:cubicBezTo>
                  <a:pt x="85" y="15"/>
                  <a:pt x="86" y="18"/>
                  <a:pt x="86" y="21"/>
                </a:cubicBezTo>
                <a:cubicBezTo>
                  <a:pt x="86" y="23"/>
                  <a:pt x="86" y="25"/>
                  <a:pt x="84" y="27"/>
                </a:cubicBezTo>
                <a:cubicBezTo>
                  <a:pt x="83" y="28"/>
                  <a:pt x="82" y="29"/>
                  <a:pt x="80" y="30"/>
                </a:cubicBezTo>
                <a:cubicBezTo>
                  <a:pt x="79" y="31"/>
                  <a:pt x="77" y="31"/>
                  <a:pt x="76" y="32"/>
                </a:cubicBezTo>
                <a:cubicBezTo>
                  <a:pt x="75" y="32"/>
                  <a:pt x="74" y="32"/>
                  <a:pt x="74" y="32"/>
                </a:cubicBezTo>
                <a:cubicBezTo>
                  <a:pt x="72" y="28"/>
                  <a:pt x="69" y="26"/>
                  <a:pt x="65" y="23"/>
                </a:cubicBezTo>
                <a:cubicBezTo>
                  <a:pt x="62" y="21"/>
                  <a:pt x="57" y="19"/>
                  <a:pt x="51" y="19"/>
                </a:cubicBezTo>
                <a:cubicBezTo>
                  <a:pt x="33" y="19"/>
                  <a:pt x="25" y="30"/>
                  <a:pt x="25" y="51"/>
                </a:cubicBezTo>
                <a:cubicBezTo>
                  <a:pt x="25" y="52"/>
                  <a:pt x="25" y="52"/>
                  <a:pt x="25" y="52"/>
                </a:cubicBezTo>
                <a:cubicBezTo>
                  <a:pt x="28" y="49"/>
                  <a:pt x="32" y="47"/>
                  <a:pt x="37" y="45"/>
                </a:cubicBezTo>
                <a:close/>
                <a:moveTo>
                  <a:pt x="25" y="68"/>
                </a:moveTo>
                <a:cubicBezTo>
                  <a:pt x="26" y="76"/>
                  <a:pt x="28" y="83"/>
                  <a:pt x="31" y="87"/>
                </a:cubicBezTo>
                <a:cubicBezTo>
                  <a:pt x="35" y="92"/>
                  <a:pt x="40" y="94"/>
                  <a:pt x="47" y="94"/>
                </a:cubicBezTo>
                <a:cubicBezTo>
                  <a:pt x="53" y="94"/>
                  <a:pt x="57" y="93"/>
                  <a:pt x="61" y="89"/>
                </a:cubicBezTo>
                <a:cubicBezTo>
                  <a:pt x="65" y="86"/>
                  <a:pt x="67" y="82"/>
                  <a:pt x="67" y="77"/>
                </a:cubicBezTo>
                <a:cubicBezTo>
                  <a:pt x="67" y="76"/>
                  <a:pt x="67" y="76"/>
                  <a:pt x="67" y="76"/>
                </a:cubicBezTo>
                <a:cubicBezTo>
                  <a:pt x="67" y="70"/>
                  <a:pt x="65" y="66"/>
                  <a:pt x="62" y="63"/>
                </a:cubicBezTo>
                <a:cubicBezTo>
                  <a:pt x="58" y="60"/>
                  <a:pt x="53" y="59"/>
                  <a:pt x="47" y="59"/>
                </a:cubicBezTo>
                <a:cubicBezTo>
                  <a:pt x="43" y="59"/>
                  <a:pt x="39" y="60"/>
                  <a:pt x="35" y="61"/>
                </a:cubicBezTo>
                <a:cubicBezTo>
                  <a:pt x="31" y="63"/>
                  <a:pt x="28" y="65"/>
                  <a:pt x="25" y="6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01" name="Freeform 77"/>
          <p:cNvSpPr>
            <a:spLocks/>
          </p:cNvSpPr>
          <p:nvPr userDrawn="1"/>
        </p:nvSpPr>
        <p:spPr bwMode="auto">
          <a:xfrm>
            <a:off x="5365750" y="6002339"/>
            <a:ext cx="95250" cy="125412"/>
          </a:xfrm>
          <a:custGeom>
            <a:avLst/>
            <a:gdLst/>
            <a:ahLst/>
            <a:cxnLst>
              <a:cxn ang="0">
                <a:pos x="58" y="21"/>
              </a:cxn>
              <a:cxn ang="0">
                <a:pos x="11" y="21"/>
              </a:cxn>
              <a:cxn ang="0">
                <a:pos x="2" y="19"/>
              </a:cxn>
              <a:cxn ang="0">
                <a:pos x="0" y="11"/>
              </a:cxn>
              <a:cxn ang="0">
                <a:pos x="0" y="10"/>
              </a:cxn>
              <a:cxn ang="0">
                <a:pos x="2" y="3"/>
              </a:cxn>
              <a:cxn ang="0">
                <a:pos x="11" y="0"/>
              </a:cxn>
              <a:cxn ang="0">
                <a:pos x="69" y="0"/>
              </a:cxn>
              <a:cxn ang="0">
                <a:pos x="77" y="1"/>
              </a:cxn>
              <a:cxn ang="0">
                <a:pos x="82" y="4"/>
              </a:cxn>
              <a:cxn ang="0">
                <a:pos x="84" y="8"/>
              </a:cxn>
              <a:cxn ang="0">
                <a:pos x="85" y="13"/>
              </a:cxn>
              <a:cxn ang="0">
                <a:pos x="85" y="14"/>
              </a:cxn>
              <a:cxn ang="0">
                <a:pos x="82" y="24"/>
              </a:cxn>
              <a:cxn ang="0">
                <a:pos x="78" y="33"/>
              </a:cxn>
              <a:cxn ang="0">
                <a:pos x="40" y="102"/>
              </a:cxn>
              <a:cxn ang="0">
                <a:pos x="34" y="108"/>
              </a:cxn>
              <a:cxn ang="0">
                <a:pos x="27" y="110"/>
              </a:cxn>
              <a:cxn ang="0">
                <a:pos x="21" y="109"/>
              </a:cxn>
              <a:cxn ang="0">
                <a:pos x="17" y="107"/>
              </a:cxn>
              <a:cxn ang="0">
                <a:pos x="14" y="104"/>
              </a:cxn>
              <a:cxn ang="0">
                <a:pos x="13" y="101"/>
              </a:cxn>
              <a:cxn ang="0">
                <a:pos x="58" y="21"/>
              </a:cxn>
            </a:cxnLst>
            <a:rect l="0" t="0" r="r" b="b"/>
            <a:pathLst>
              <a:path w="85" h="110">
                <a:moveTo>
                  <a:pt x="58" y="21"/>
                </a:moveTo>
                <a:cubicBezTo>
                  <a:pt x="11" y="21"/>
                  <a:pt x="11" y="21"/>
                  <a:pt x="11" y="21"/>
                </a:cubicBezTo>
                <a:cubicBezTo>
                  <a:pt x="7" y="21"/>
                  <a:pt x="4" y="20"/>
                  <a:pt x="2" y="19"/>
                </a:cubicBezTo>
                <a:cubicBezTo>
                  <a:pt x="1" y="17"/>
                  <a:pt x="0" y="15"/>
                  <a:pt x="0" y="11"/>
                </a:cubicBezTo>
                <a:cubicBezTo>
                  <a:pt x="0" y="10"/>
                  <a:pt x="0" y="10"/>
                  <a:pt x="0" y="10"/>
                </a:cubicBezTo>
                <a:cubicBezTo>
                  <a:pt x="0" y="7"/>
                  <a:pt x="1" y="4"/>
                  <a:pt x="2" y="3"/>
                </a:cubicBezTo>
                <a:cubicBezTo>
                  <a:pt x="4" y="1"/>
                  <a:pt x="7" y="0"/>
                  <a:pt x="11" y="0"/>
                </a:cubicBezTo>
                <a:cubicBezTo>
                  <a:pt x="69" y="0"/>
                  <a:pt x="69" y="0"/>
                  <a:pt x="69" y="0"/>
                </a:cubicBezTo>
                <a:cubicBezTo>
                  <a:pt x="72" y="0"/>
                  <a:pt x="75" y="1"/>
                  <a:pt x="77" y="1"/>
                </a:cubicBezTo>
                <a:cubicBezTo>
                  <a:pt x="79" y="2"/>
                  <a:pt x="81" y="3"/>
                  <a:pt x="82" y="4"/>
                </a:cubicBezTo>
                <a:cubicBezTo>
                  <a:pt x="83" y="5"/>
                  <a:pt x="84" y="7"/>
                  <a:pt x="84" y="8"/>
                </a:cubicBezTo>
                <a:cubicBezTo>
                  <a:pt x="85" y="10"/>
                  <a:pt x="85" y="11"/>
                  <a:pt x="85" y="13"/>
                </a:cubicBezTo>
                <a:cubicBezTo>
                  <a:pt x="85" y="14"/>
                  <a:pt x="85" y="14"/>
                  <a:pt x="85" y="14"/>
                </a:cubicBezTo>
                <a:cubicBezTo>
                  <a:pt x="85" y="17"/>
                  <a:pt x="84" y="20"/>
                  <a:pt x="82" y="24"/>
                </a:cubicBezTo>
                <a:cubicBezTo>
                  <a:pt x="81" y="27"/>
                  <a:pt x="79" y="30"/>
                  <a:pt x="78" y="33"/>
                </a:cubicBezTo>
                <a:cubicBezTo>
                  <a:pt x="40" y="102"/>
                  <a:pt x="40" y="102"/>
                  <a:pt x="40" y="102"/>
                </a:cubicBezTo>
                <a:cubicBezTo>
                  <a:pt x="38" y="105"/>
                  <a:pt x="36" y="107"/>
                  <a:pt x="34" y="108"/>
                </a:cubicBezTo>
                <a:cubicBezTo>
                  <a:pt x="31" y="110"/>
                  <a:pt x="29" y="110"/>
                  <a:pt x="27" y="110"/>
                </a:cubicBezTo>
                <a:cubicBezTo>
                  <a:pt x="25" y="110"/>
                  <a:pt x="23" y="110"/>
                  <a:pt x="21" y="109"/>
                </a:cubicBezTo>
                <a:cubicBezTo>
                  <a:pt x="19" y="108"/>
                  <a:pt x="18" y="108"/>
                  <a:pt x="17" y="107"/>
                </a:cubicBezTo>
                <a:cubicBezTo>
                  <a:pt x="15" y="106"/>
                  <a:pt x="14" y="105"/>
                  <a:pt x="14" y="104"/>
                </a:cubicBezTo>
                <a:cubicBezTo>
                  <a:pt x="13" y="103"/>
                  <a:pt x="13" y="102"/>
                  <a:pt x="13" y="101"/>
                </a:cubicBezTo>
                <a:lnTo>
                  <a:pt x="58" y="21"/>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05" name="Freeform 81"/>
          <p:cNvSpPr>
            <a:spLocks noEditPoints="1"/>
          </p:cNvSpPr>
          <p:nvPr userDrawn="1"/>
        </p:nvSpPr>
        <p:spPr bwMode="auto">
          <a:xfrm>
            <a:off x="5662616" y="6000761"/>
            <a:ext cx="103188" cy="130175"/>
          </a:xfrm>
          <a:custGeom>
            <a:avLst/>
            <a:gdLst/>
            <a:ahLst/>
            <a:cxnLst>
              <a:cxn ang="0">
                <a:pos x="22" y="55"/>
              </a:cxn>
              <a:cxn ang="0">
                <a:pos x="8" y="46"/>
              </a:cxn>
              <a:cxn ang="0">
                <a:pos x="3" y="31"/>
              </a:cxn>
              <a:cxn ang="0">
                <a:pos x="6" y="18"/>
              </a:cxn>
              <a:cxn ang="0">
                <a:pos x="15" y="8"/>
              </a:cxn>
              <a:cxn ang="0">
                <a:pos x="28" y="2"/>
              </a:cxn>
              <a:cxn ang="0">
                <a:pos x="46" y="0"/>
              </a:cxn>
              <a:cxn ang="0">
                <a:pos x="63" y="2"/>
              </a:cxn>
              <a:cxn ang="0">
                <a:pos x="76" y="8"/>
              </a:cxn>
              <a:cxn ang="0">
                <a:pos x="84" y="18"/>
              </a:cxn>
              <a:cxn ang="0">
                <a:pos x="87" y="30"/>
              </a:cxn>
              <a:cxn ang="0">
                <a:pos x="83" y="45"/>
              </a:cxn>
              <a:cxn ang="0">
                <a:pos x="69" y="55"/>
              </a:cxn>
              <a:cxn ang="0">
                <a:pos x="85" y="65"/>
              </a:cxn>
              <a:cxn ang="0">
                <a:pos x="91" y="82"/>
              </a:cxn>
              <a:cxn ang="0">
                <a:pos x="88" y="94"/>
              </a:cxn>
              <a:cxn ang="0">
                <a:pos x="78" y="104"/>
              </a:cxn>
              <a:cxn ang="0">
                <a:pos x="64" y="111"/>
              </a:cxn>
              <a:cxn ang="0">
                <a:pos x="45" y="113"/>
              </a:cxn>
              <a:cxn ang="0">
                <a:pos x="12" y="105"/>
              </a:cxn>
              <a:cxn ang="0">
                <a:pos x="0" y="82"/>
              </a:cxn>
              <a:cxn ang="0">
                <a:pos x="5" y="65"/>
              </a:cxn>
              <a:cxn ang="0">
                <a:pos x="22" y="55"/>
              </a:cxn>
              <a:cxn ang="0">
                <a:pos x="45" y="95"/>
              </a:cxn>
              <a:cxn ang="0">
                <a:pos x="61" y="91"/>
              </a:cxn>
              <a:cxn ang="0">
                <a:pos x="67" y="79"/>
              </a:cxn>
              <a:cxn ang="0">
                <a:pos x="61" y="67"/>
              </a:cxn>
              <a:cxn ang="0">
                <a:pos x="45" y="63"/>
              </a:cxn>
              <a:cxn ang="0">
                <a:pos x="30" y="67"/>
              </a:cxn>
              <a:cxn ang="0">
                <a:pos x="24" y="79"/>
              </a:cxn>
              <a:cxn ang="0">
                <a:pos x="30" y="91"/>
              </a:cxn>
              <a:cxn ang="0">
                <a:pos x="45" y="95"/>
              </a:cxn>
              <a:cxn ang="0">
                <a:pos x="45" y="48"/>
              </a:cxn>
              <a:cxn ang="0">
                <a:pos x="59" y="44"/>
              </a:cxn>
              <a:cxn ang="0">
                <a:pos x="64" y="33"/>
              </a:cxn>
              <a:cxn ang="0">
                <a:pos x="59" y="22"/>
              </a:cxn>
              <a:cxn ang="0">
                <a:pos x="45" y="18"/>
              </a:cxn>
              <a:cxn ang="0">
                <a:pos x="31" y="22"/>
              </a:cxn>
              <a:cxn ang="0">
                <a:pos x="26" y="33"/>
              </a:cxn>
              <a:cxn ang="0">
                <a:pos x="32" y="43"/>
              </a:cxn>
              <a:cxn ang="0">
                <a:pos x="45" y="48"/>
              </a:cxn>
            </a:cxnLst>
            <a:rect l="0" t="0" r="r" b="b"/>
            <a:pathLst>
              <a:path w="91" h="113">
                <a:moveTo>
                  <a:pt x="22" y="55"/>
                </a:moveTo>
                <a:cubicBezTo>
                  <a:pt x="15" y="53"/>
                  <a:pt x="11" y="50"/>
                  <a:pt x="8" y="46"/>
                </a:cubicBezTo>
                <a:cubicBezTo>
                  <a:pt x="5" y="42"/>
                  <a:pt x="3" y="37"/>
                  <a:pt x="3" y="31"/>
                </a:cubicBezTo>
                <a:cubicBezTo>
                  <a:pt x="3" y="26"/>
                  <a:pt x="4" y="22"/>
                  <a:pt x="6" y="18"/>
                </a:cubicBezTo>
                <a:cubicBezTo>
                  <a:pt x="8" y="14"/>
                  <a:pt x="11" y="11"/>
                  <a:pt x="15" y="8"/>
                </a:cubicBezTo>
                <a:cubicBezTo>
                  <a:pt x="18" y="6"/>
                  <a:pt x="23" y="3"/>
                  <a:pt x="28" y="2"/>
                </a:cubicBezTo>
                <a:cubicBezTo>
                  <a:pt x="33" y="0"/>
                  <a:pt x="39" y="0"/>
                  <a:pt x="46" y="0"/>
                </a:cubicBezTo>
                <a:cubicBezTo>
                  <a:pt x="52" y="0"/>
                  <a:pt x="58" y="0"/>
                  <a:pt x="63" y="2"/>
                </a:cubicBezTo>
                <a:cubicBezTo>
                  <a:pt x="68" y="3"/>
                  <a:pt x="72" y="5"/>
                  <a:pt x="76" y="8"/>
                </a:cubicBezTo>
                <a:cubicBezTo>
                  <a:pt x="80" y="11"/>
                  <a:pt x="82" y="14"/>
                  <a:pt x="84" y="18"/>
                </a:cubicBezTo>
                <a:cubicBezTo>
                  <a:pt x="86" y="21"/>
                  <a:pt x="87" y="26"/>
                  <a:pt x="87" y="30"/>
                </a:cubicBezTo>
                <a:cubicBezTo>
                  <a:pt x="87" y="36"/>
                  <a:pt x="86" y="41"/>
                  <a:pt x="83" y="45"/>
                </a:cubicBezTo>
                <a:cubicBezTo>
                  <a:pt x="80" y="49"/>
                  <a:pt x="75" y="53"/>
                  <a:pt x="69" y="55"/>
                </a:cubicBezTo>
                <a:cubicBezTo>
                  <a:pt x="76" y="57"/>
                  <a:pt x="82" y="60"/>
                  <a:pt x="85" y="65"/>
                </a:cubicBezTo>
                <a:cubicBezTo>
                  <a:pt x="89" y="70"/>
                  <a:pt x="91" y="75"/>
                  <a:pt x="91" y="82"/>
                </a:cubicBezTo>
                <a:cubicBezTo>
                  <a:pt x="91" y="86"/>
                  <a:pt x="90" y="91"/>
                  <a:pt x="88" y="94"/>
                </a:cubicBezTo>
                <a:cubicBezTo>
                  <a:pt x="85" y="98"/>
                  <a:pt x="82" y="102"/>
                  <a:pt x="78" y="104"/>
                </a:cubicBezTo>
                <a:cubicBezTo>
                  <a:pt x="74" y="107"/>
                  <a:pt x="70" y="109"/>
                  <a:pt x="64" y="111"/>
                </a:cubicBezTo>
                <a:cubicBezTo>
                  <a:pt x="58" y="112"/>
                  <a:pt x="52" y="113"/>
                  <a:pt x="45" y="113"/>
                </a:cubicBezTo>
                <a:cubicBezTo>
                  <a:pt x="31" y="113"/>
                  <a:pt x="20" y="110"/>
                  <a:pt x="12" y="105"/>
                </a:cubicBezTo>
                <a:cubicBezTo>
                  <a:pt x="4" y="99"/>
                  <a:pt x="0" y="91"/>
                  <a:pt x="0" y="82"/>
                </a:cubicBezTo>
                <a:cubicBezTo>
                  <a:pt x="0" y="75"/>
                  <a:pt x="2" y="70"/>
                  <a:pt x="5" y="65"/>
                </a:cubicBezTo>
                <a:cubicBezTo>
                  <a:pt x="9" y="61"/>
                  <a:pt x="14" y="57"/>
                  <a:pt x="22" y="55"/>
                </a:cubicBezTo>
                <a:close/>
                <a:moveTo>
                  <a:pt x="45" y="95"/>
                </a:moveTo>
                <a:cubicBezTo>
                  <a:pt x="52" y="95"/>
                  <a:pt x="58" y="94"/>
                  <a:pt x="61" y="91"/>
                </a:cubicBezTo>
                <a:cubicBezTo>
                  <a:pt x="65" y="88"/>
                  <a:pt x="67" y="84"/>
                  <a:pt x="67" y="79"/>
                </a:cubicBezTo>
                <a:cubicBezTo>
                  <a:pt x="67" y="74"/>
                  <a:pt x="65" y="70"/>
                  <a:pt x="61" y="67"/>
                </a:cubicBezTo>
                <a:cubicBezTo>
                  <a:pt x="57" y="65"/>
                  <a:pt x="52" y="63"/>
                  <a:pt x="45" y="63"/>
                </a:cubicBezTo>
                <a:cubicBezTo>
                  <a:pt x="39" y="63"/>
                  <a:pt x="33" y="65"/>
                  <a:pt x="30" y="67"/>
                </a:cubicBezTo>
                <a:cubicBezTo>
                  <a:pt x="26" y="70"/>
                  <a:pt x="24" y="74"/>
                  <a:pt x="24" y="79"/>
                </a:cubicBezTo>
                <a:cubicBezTo>
                  <a:pt x="24" y="84"/>
                  <a:pt x="26" y="88"/>
                  <a:pt x="30" y="91"/>
                </a:cubicBezTo>
                <a:cubicBezTo>
                  <a:pt x="33" y="94"/>
                  <a:pt x="39" y="95"/>
                  <a:pt x="45" y="95"/>
                </a:cubicBezTo>
                <a:close/>
                <a:moveTo>
                  <a:pt x="45" y="48"/>
                </a:moveTo>
                <a:cubicBezTo>
                  <a:pt x="51" y="48"/>
                  <a:pt x="56" y="46"/>
                  <a:pt x="59" y="44"/>
                </a:cubicBezTo>
                <a:cubicBezTo>
                  <a:pt x="63" y="41"/>
                  <a:pt x="64" y="37"/>
                  <a:pt x="64" y="33"/>
                </a:cubicBezTo>
                <a:cubicBezTo>
                  <a:pt x="64" y="28"/>
                  <a:pt x="63" y="25"/>
                  <a:pt x="59" y="22"/>
                </a:cubicBezTo>
                <a:cubicBezTo>
                  <a:pt x="56" y="19"/>
                  <a:pt x="51" y="18"/>
                  <a:pt x="45" y="18"/>
                </a:cubicBezTo>
                <a:cubicBezTo>
                  <a:pt x="39" y="18"/>
                  <a:pt x="35" y="19"/>
                  <a:pt x="31" y="22"/>
                </a:cubicBezTo>
                <a:cubicBezTo>
                  <a:pt x="28" y="25"/>
                  <a:pt x="26" y="28"/>
                  <a:pt x="26" y="33"/>
                </a:cubicBezTo>
                <a:cubicBezTo>
                  <a:pt x="26" y="37"/>
                  <a:pt x="28" y="41"/>
                  <a:pt x="32" y="43"/>
                </a:cubicBezTo>
                <a:cubicBezTo>
                  <a:pt x="35" y="46"/>
                  <a:pt x="40" y="48"/>
                  <a:pt x="45" y="4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09" name="Freeform 85"/>
          <p:cNvSpPr>
            <a:spLocks noEditPoints="1"/>
          </p:cNvSpPr>
          <p:nvPr userDrawn="1"/>
        </p:nvSpPr>
        <p:spPr bwMode="auto">
          <a:xfrm>
            <a:off x="5962650" y="6000761"/>
            <a:ext cx="103188" cy="130175"/>
          </a:xfrm>
          <a:custGeom>
            <a:avLst/>
            <a:gdLst/>
            <a:ahLst/>
            <a:cxnLst>
              <a:cxn ang="0">
                <a:pos x="54" y="69"/>
              </a:cxn>
              <a:cxn ang="0">
                <a:pos x="37" y="72"/>
              </a:cxn>
              <a:cxn ang="0">
                <a:pos x="22" y="70"/>
              </a:cxn>
              <a:cxn ang="0">
                <a:pos x="10" y="63"/>
              </a:cxn>
              <a:cxn ang="0">
                <a:pos x="3" y="53"/>
              </a:cxn>
              <a:cxn ang="0">
                <a:pos x="0" y="39"/>
              </a:cxn>
              <a:cxn ang="0">
                <a:pos x="0" y="38"/>
              </a:cxn>
              <a:cxn ang="0">
                <a:pos x="3" y="23"/>
              </a:cxn>
              <a:cxn ang="0">
                <a:pos x="12" y="11"/>
              </a:cxn>
              <a:cxn ang="0">
                <a:pos x="26" y="3"/>
              </a:cxn>
              <a:cxn ang="0">
                <a:pos x="43" y="0"/>
              </a:cxn>
              <a:cxn ang="0">
                <a:pos x="63" y="3"/>
              </a:cxn>
              <a:cxn ang="0">
                <a:pos x="78" y="13"/>
              </a:cxn>
              <a:cxn ang="0">
                <a:pos x="87" y="29"/>
              </a:cxn>
              <a:cxn ang="0">
                <a:pos x="90" y="51"/>
              </a:cxn>
              <a:cxn ang="0">
                <a:pos x="90" y="61"/>
              </a:cxn>
              <a:cxn ang="0">
                <a:pos x="78" y="100"/>
              </a:cxn>
              <a:cxn ang="0">
                <a:pos x="41" y="113"/>
              </a:cxn>
              <a:cxn ang="0">
                <a:pos x="25" y="111"/>
              </a:cxn>
              <a:cxn ang="0">
                <a:pos x="13" y="107"/>
              </a:cxn>
              <a:cxn ang="0">
                <a:pos x="6" y="101"/>
              </a:cxn>
              <a:cxn ang="0">
                <a:pos x="4" y="94"/>
              </a:cxn>
              <a:cxn ang="0">
                <a:pos x="5" y="88"/>
              </a:cxn>
              <a:cxn ang="0">
                <a:pos x="8" y="84"/>
              </a:cxn>
              <a:cxn ang="0">
                <a:pos x="11" y="82"/>
              </a:cxn>
              <a:cxn ang="0">
                <a:pos x="13" y="82"/>
              </a:cxn>
              <a:cxn ang="0">
                <a:pos x="24" y="90"/>
              </a:cxn>
              <a:cxn ang="0">
                <a:pos x="39" y="93"/>
              </a:cxn>
              <a:cxn ang="0">
                <a:pos x="60" y="86"/>
              </a:cxn>
              <a:cxn ang="0">
                <a:pos x="66" y="62"/>
              </a:cxn>
              <a:cxn ang="0">
                <a:pos x="66" y="61"/>
              </a:cxn>
              <a:cxn ang="0">
                <a:pos x="54" y="69"/>
              </a:cxn>
              <a:cxn ang="0">
                <a:pos x="66" y="45"/>
              </a:cxn>
              <a:cxn ang="0">
                <a:pos x="60" y="25"/>
              </a:cxn>
              <a:cxn ang="0">
                <a:pos x="44" y="18"/>
              </a:cxn>
              <a:cxn ang="0">
                <a:pos x="30" y="24"/>
              </a:cxn>
              <a:cxn ang="0">
                <a:pos x="24" y="37"/>
              </a:cxn>
              <a:cxn ang="0">
                <a:pos x="24" y="37"/>
              </a:cxn>
              <a:cxn ang="0">
                <a:pos x="29" y="50"/>
              </a:cxn>
              <a:cxn ang="0">
                <a:pos x="44" y="54"/>
              </a:cxn>
              <a:cxn ang="0">
                <a:pos x="56" y="52"/>
              </a:cxn>
              <a:cxn ang="0">
                <a:pos x="66" y="45"/>
              </a:cxn>
            </a:cxnLst>
            <a:rect l="0" t="0" r="r" b="b"/>
            <a:pathLst>
              <a:path w="90" h="113">
                <a:moveTo>
                  <a:pt x="54" y="69"/>
                </a:moveTo>
                <a:cubicBezTo>
                  <a:pt x="49" y="71"/>
                  <a:pt x="43" y="72"/>
                  <a:pt x="37" y="72"/>
                </a:cubicBezTo>
                <a:cubicBezTo>
                  <a:pt x="31" y="72"/>
                  <a:pt x="26" y="71"/>
                  <a:pt x="22" y="70"/>
                </a:cubicBezTo>
                <a:cubicBezTo>
                  <a:pt x="17" y="68"/>
                  <a:pt x="13" y="66"/>
                  <a:pt x="10" y="63"/>
                </a:cubicBezTo>
                <a:cubicBezTo>
                  <a:pt x="7" y="61"/>
                  <a:pt x="5" y="57"/>
                  <a:pt x="3" y="53"/>
                </a:cubicBezTo>
                <a:cubicBezTo>
                  <a:pt x="1" y="49"/>
                  <a:pt x="0" y="44"/>
                  <a:pt x="0" y="39"/>
                </a:cubicBezTo>
                <a:cubicBezTo>
                  <a:pt x="0" y="38"/>
                  <a:pt x="0" y="38"/>
                  <a:pt x="0" y="38"/>
                </a:cubicBezTo>
                <a:cubicBezTo>
                  <a:pt x="0" y="33"/>
                  <a:pt x="1" y="28"/>
                  <a:pt x="3" y="23"/>
                </a:cubicBezTo>
                <a:cubicBezTo>
                  <a:pt x="6" y="18"/>
                  <a:pt x="8" y="14"/>
                  <a:pt x="12" y="11"/>
                </a:cubicBezTo>
                <a:cubicBezTo>
                  <a:pt x="16" y="7"/>
                  <a:pt x="21" y="5"/>
                  <a:pt x="26" y="3"/>
                </a:cubicBezTo>
                <a:cubicBezTo>
                  <a:pt x="31" y="1"/>
                  <a:pt x="37" y="0"/>
                  <a:pt x="43" y="0"/>
                </a:cubicBezTo>
                <a:cubicBezTo>
                  <a:pt x="51" y="0"/>
                  <a:pt x="57" y="1"/>
                  <a:pt x="63" y="3"/>
                </a:cubicBezTo>
                <a:cubicBezTo>
                  <a:pt x="69" y="6"/>
                  <a:pt x="74" y="9"/>
                  <a:pt x="78" y="13"/>
                </a:cubicBezTo>
                <a:cubicBezTo>
                  <a:pt x="82" y="18"/>
                  <a:pt x="85" y="23"/>
                  <a:pt x="87" y="29"/>
                </a:cubicBezTo>
                <a:cubicBezTo>
                  <a:pt x="89" y="36"/>
                  <a:pt x="90" y="43"/>
                  <a:pt x="90" y="51"/>
                </a:cubicBezTo>
                <a:cubicBezTo>
                  <a:pt x="90" y="61"/>
                  <a:pt x="90" y="61"/>
                  <a:pt x="90" y="61"/>
                </a:cubicBezTo>
                <a:cubicBezTo>
                  <a:pt x="90" y="78"/>
                  <a:pt x="86" y="91"/>
                  <a:pt x="78" y="100"/>
                </a:cubicBezTo>
                <a:cubicBezTo>
                  <a:pt x="69" y="109"/>
                  <a:pt x="57" y="113"/>
                  <a:pt x="41" y="113"/>
                </a:cubicBezTo>
                <a:cubicBezTo>
                  <a:pt x="35" y="113"/>
                  <a:pt x="29" y="113"/>
                  <a:pt x="25" y="111"/>
                </a:cubicBezTo>
                <a:cubicBezTo>
                  <a:pt x="20" y="110"/>
                  <a:pt x="16" y="109"/>
                  <a:pt x="13" y="107"/>
                </a:cubicBezTo>
                <a:cubicBezTo>
                  <a:pt x="10" y="105"/>
                  <a:pt x="8" y="103"/>
                  <a:pt x="6" y="101"/>
                </a:cubicBezTo>
                <a:cubicBezTo>
                  <a:pt x="5" y="99"/>
                  <a:pt x="4" y="96"/>
                  <a:pt x="4" y="94"/>
                </a:cubicBezTo>
                <a:cubicBezTo>
                  <a:pt x="4" y="92"/>
                  <a:pt x="5" y="90"/>
                  <a:pt x="5" y="88"/>
                </a:cubicBezTo>
                <a:cubicBezTo>
                  <a:pt x="6" y="86"/>
                  <a:pt x="7" y="85"/>
                  <a:pt x="8" y="84"/>
                </a:cubicBezTo>
                <a:cubicBezTo>
                  <a:pt x="9" y="83"/>
                  <a:pt x="10" y="83"/>
                  <a:pt x="11" y="82"/>
                </a:cubicBezTo>
                <a:cubicBezTo>
                  <a:pt x="12" y="82"/>
                  <a:pt x="13" y="82"/>
                  <a:pt x="13" y="82"/>
                </a:cubicBezTo>
                <a:cubicBezTo>
                  <a:pt x="16" y="85"/>
                  <a:pt x="19" y="88"/>
                  <a:pt x="24" y="90"/>
                </a:cubicBezTo>
                <a:cubicBezTo>
                  <a:pt x="28" y="92"/>
                  <a:pt x="33" y="93"/>
                  <a:pt x="39" y="93"/>
                </a:cubicBezTo>
                <a:cubicBezTo>
                  <a:pt x="48" y="93"/>
                  <a:pt x="55" y="91"/>
                  <a:pt x="60" y="86"/>
                </a:cubicBezTo>
                <a:cubicBezTo>
                  <a:pt x="64" y="81"/>
                  <a:pt x="66" y="73"/>
                  <a:pt x="66" y="62"/>
                </a:cubicBezTo>
                <a:cubicBezTo>
                  <a:pt x="66" y="61"/>
                  <a:pt x="66" y="61"/>
                  <a:pt x="66" y="61"/>
                </a:cubicBezTo>
                <a:cubicBezTo>
                  <a:pt x="63" y="64"/>
                  <a:pt x="59" y="66"/>
                  <a:pt x="54" y="69"/>
                </a:cubicBezTo>
                <a:close/>
                <a:moveTo>
                  <a:pt x="66" y="45"/>
                </a:moveTo>
                <a:cubicBezTo>
                  <a:pt x="65" y="37"/>
                  <a:pt x="63" y="30"/>
                  <a:pt x="60" y="25"/>
                </a:cubicBezTo>
                <a:cubicBezTo>
                  <a:pt x="56" y="21"/>
                  <a:pt x="51" y="18"/>
                  <a:pt x="44" y="18"/>
                </a:cubicBezTo>
                <a:cubicBezTo>
                  <a:pt x="38" y="18"/>
                  <a:pt x="33" y="20"/>
                  <a:pt x="30" y="24"/>
                </a:cubicBezTo>
                <a:cubicBezTo>
                  <a:pt x="26" y="27"/>
                  <a:pt x="24" y="32"/>
                  <a:pt x="24" y="37"/>
                </a:cubicBezTo>
                <a:cubicBezTo>
                  <a:pt x="24" y="37"/>
                  <a:pt x="24" y="37"/>
                  <a:pt x="24" y="37"/>
                </a:cubicBezTo>
                <a:cubicBezTo>
                  <a:pt x="24" y="43"/>
                  <a:pt x="26" y="47"/>
                  <a:pt x="29" y="50"/>
                </a:cubicBezTo>
                <a:cubicBezTo>
                  <a:pt x="32" y="53"/>
                  <a:pt x="37" y="54"/>
                  <a:pt x="44" y="54"/>
                </a:cubicBezTo>
                <a:cubicBezTo>
                  <a:pt x="48" y="54"/>
                  <a:pt x="52" y="54"/>
                  <a:pt x="56" y="52"/>
                </a:cubicBezTo>
                <a:cubicBezTo>
                  <a:pt x="59" y="50"/>
                  <a:pt x="63" y="48"/>
                  <a:pt x="66" y="4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13" name="Freeform 89"/>
          <p:cNvSpPr>
            <a:spLocks noEditPoints="1"/>
          </p:cNvSpPr>
          <p:nvPr userDrawn="1"/>
        </p:nvSpPr>
        <p:spPr bwMode="auto">
          <a:xfrm>
            <a:off x="6257933" y="5976937"/>
            <a:ext cx="117475" cy="160339"/>
          </a:xfrm>
          <a:custGeom>
            <a:avLst/>
            <a:gdLst/>
            <a:ahLst/>
            <a:cxnLst>
              <a:cxn ang="0">
                <a:pos x="67" y="132"/>
              </a:cxn>
              <a:cxn ang="0">
                <a:pos x="90" y="107"/>
              </a:cxn>
              <a:cxn ang="0">
                <a:pos x="95" y="102"/>
              </a:cxn>
              <a:cxn ang="0">
                <a:pos x="92" y="86"/>
              </a:cxn>
              <a:cxn ang="0">
                <a:pos x="74" y="90"/>
              </a:cxn>
              <a:cxn ang="0">
                <a:pos x="64" y="100"/>
              </a:cxn>
              <a:cxn ang="0">
                <a:pos x="64" y="14"/>
              </a:cxn>
              <a:cxn ang="0">
                <a:pos x="52" y="0"/>
              </a:cxn>
              <a:cxn ang="0">
                <a:pos x="50" y="0"/>
              </a:cxn>
              <a:cxn ang="0">
                <a:pos x="38" y="14"/>
              </a:cxn>
              <a:cxn ang="0">
                <a:pos x="38" y="100"/>
              </a:cxn>
              <a:cxn ang="0">
                <a:pos x="29" y="90"/>
              </a:cxn>
              <a:cxn ang="0">
                <a:pos x="11" y="86"/>
              </a:cxn>
              <a:cxn ang="0">
                <a:pos x="8" y="102"/>
              </a:cxn>
              <a:cxn ang="0">
                <a:pos x="12" y="108"/>
              </a:cxn>
              <a:cxn ang="0">
                <a:pos x="34" y="132"/>
              </a:cxn>
              <a:cxn ang="0">
                <a:pos x="41" y="138"/>
              </a:cxn>
              <a:cxn ang="0">
                <a:pos x="51" y="141"/>
              </a:cxn>
              <a:cxn ang="0">
                <a:pos x="61" y="138"/>
              </a:cxn>
              <a:cxn ang="0">
                <a:pos x="67" y="132"/>
              </a:cxn>
              <a:cxn ang="0">
                <a:pos x="51" y="141"/>
              </a:cxn>
              <a:cxn ang="0">
                <a:pos x="51" y="141"/>
              </a:cxn>
              <a:cxn ang="0">
                <a:pos x="51" y="141"/>
              </a:cxn>
              <a:cxn ang="0">
                <a:pos x="51" y="141"/>
              </a:cxn>
            </a:cxnLst>
            <a:rect l="0" t="0" r="r" b="b"/>
            <a:pathLst>
              <a:path w="103" h="141">
                <a:moveTo>
                  <a:pt x="67" y="132"/>
                </a:moveTo>
                <a:cubicBezTo>
                  <a:pt x="90" y="107"/>
                  <a:pt x="90" y="107"/>
                  <a:pt x="90" y="107"/>
                </a:cubicBezTo>
                <a:cubicBezTo>
                  <a:pt x="95" y="102"/>
                  <a:pt x="95" y="102"/>
                  <a:pt x="95" y="102"/>
                </a:cubicBezTo>
                <a:cubicBezTo>
                  <a:pt x="95" y="102"/>
                  <a:pt x="103" y="94"/>
                  <a:pt x="92" y="86"/>
                </a:cubicBezTo>
                <a:cubicBezTo>
                  <a:pt x="85" y="80"/>
                  <a:pt x="80" y="83"/>
                  <a:pt x="74" y="90"/>
                </a:cubicBezTo>
                <a:cubicBezTo>
                  <a:pt x="71" y="92"/>
                  <a:pt x="68" y="96"/>
                  <a:pt x="64" y="100"/>
                </a:cubicBezTo>
                <a:cubicBezTo>
                  <a:pt x="64" y="14"/>
                  <a:pt x="64" y="14"/>
                  <a:pt x="64" y="14"/>
                </a:cubicBezTo>
                <a:cubicBezTo>
                  <a:pt x="64" y="4"/>
                  <a:pt x="59" y="0"/>
                  <a:pt x="52" y="0"/>
                </a:cubicBezTo>
                <a:cubicBezTo>
                  <a:pt x="50" y="0"/>
                  <a:pt x="50" y="0"/>
                  <a:pt x="50" y="0"/>
                </a:cubicBezTo>
                <a:cubicBezTo>
                  <a:pt x="43" y="0"/>
                  <a:pt x="38" y="4"/>
                  <a:pt x="38" y="14"/>
                </a:cubicBezTo>
                <a:cubicBezTo>
                  <a:pt x="38" y="100"/>
                  <a:pt x="38" y="100"/>
                  <a:pt x="38" y="100"/>
                </a:cubicBezTo>
                <a:cubicBezTo>
                  <a:pt x="34" y="96"/>
                  <a:pt x="31" y="93"/>
                  <a:pt x="29" y="90"/>
                </a:cubicBezTo>
                <a:cubicBezTo>
                  <a:pt x="23" y="83"/>
                  <a:pt x="18" y="81"/>
                  <a:pt x="11" y="86"/>
                </a:cubicBezTo>
                <a:cubicBezTo>
                  <a:pt x="0" y="94"/>
                  <a:pt x="8" y="102"/>
                  <a:pt x="8" y="102"/>
                </a:cubicBezTo>
                <a:cubicBezTo>
                  <a:pt x="12" y="108"/>
                  <a:pt x="12" y="108"/>
                  <a:pt x="12" y="108"/>
                </a:cubicBezTo>
                <a:cubicBezTo>
                  <a:pt x="34" y="132"/>
                  <a:pt x="34" y="132"/>
                  <a:pt x="34" y="132"/>
                </a:cubicBezTo>
                <a:cubicBezTo>
                  <a:pt x="37" y="135"/>
                  <a:pt x="39" y="137"/>
                  <a:pt x="41" y="138"/>
                </a:cubicBezTo>
                <a:cubicBezTo>
                  <a:pt x="43" y="140"/>
                  <a:pt x="47" y="141"/>
                  <a:pt x="51" y="141"/>
                </a:cubicBezTo>
                <a:cubicBezTo>
                  <a:pt x="55" y="141"/>
                  <a:pt x="59" y="140"/>
                  <a:pt x="61" y="138"/>
                </a:cubicBezTo>
                <a:cubicBezTo>
                  <a:pt x="63" y="137"/>
                  <a:pt x="65" y="135"/>
                  <a:pt x="67" y="132"/>
                </a:cubicBezTo>
                <a:close/>
                <a:moveTo>
                  <a:pt x="51" y="141"/>
                </a:moveTo>
                <a:cubicBezTo>
                  <a:pt x="51" y="141"/>
                  <a:pt x="51" y="141"/>
                  <a:pt x="51" y="141"/>
                </a:cubicBezTo>
                <a:cubicBezTo>
                  <a:pt x="51" y="141"/>
                  <a:pt x="51" y="141"/>
                  <a:pt x="51" y="141"/>
                </a:cubicBezTo>
                <a:cubicBezTo>
                  <a:pt x="51" y="141"/>
                  <a:pt x="51" y="141"/>
                  <a:pt x="51" y="14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17" name="Freeform 93"/>
          <p:cNvSpPr>
            <a:spLocks/>
          </p:cNvSpPr>
          <p:nvPr userDrawn="1"/>
        </p:nvSpPr>
        <p:spPr bwMode="auto">
          <a:xfrm>
            <a:off x="6559559" y="6000761"/>
            <a:ext cx="112713" cy="130175"/>
          </a:xfrm>
          <a:custGeom>
            <a:avLst/>
            <a:gdLst/>
            <a:ahLst/>
            <a:cxnLst>
              <a:cxn ang="0">
                <a:pos x="8" y="52"/>
              </a:cxn>
              <a:cxn ang="0">
                <a:pos x="2" y="50"/>
              </a:cxn>
              <a:cxn ang="0">
                <a:pos x="0" y="46"/>
              </a:cxn>
              <a:cxn ang="0">
                <a:pos x="0" y="44"/>
              </a:cxn>
              <a:cxn ang="0">
                <a:pos x="2" y="39"/>
              </a:cxn>
              <a:cxn ang="0">
                <a:pos x="8" y="37"/>
              </a:cxn>
              <a:cxn ang="0">
                <a:pos x="16" y="37"/>
              </a:cxn>
              <a:cxn ang="0">
                <a:pos x="32" y="10"/>
              </a:cxn>
              <a:cxn ang="0">
                <a:pos x="62" y="0"/>
              </a:cxn>
              <a:cxn ang="0">
                <a:pos x="77" y="2"/>
              </a:cxn>
              <a:cxn ang="0">
                <a:pos x="89" y="7"/>
              </a:cxn>
              <a:cxn ang="0">
                <a:pos x="96" y="14"/>
              </a:cxn>
              <a:cxn ang="0">
                <a:pos x="98" y="22"/>
              </a:cxn>
              <a:cxn ang="0">
                <a:pos x="97" y="28"/>
              </a:cxn>
              <a:cxn ang="0">
                <a:pos x="93" y="32"/>
              </a:cxn>
              <a:cxn ang="0">
                <a:pos x="89" y="34"/>
              </a:cxn>
              <a:cxn ang="0">
                <a:pos x="87" y="34"/>
              </a:cxn>
              <a:cxn ang="0">
                <a:pos x="77" y="24"/>
              </a:cxn>
              <a:cxn ang="0">
                <a:pos x="62" y="21"/>
              </a:cxn>
              <a:cxn ang="0">
                <a:pos x="48" y="25"/>
              </a:cxn>
              <a:cxn ang="0">
                <a:pos x="40" y="37"/>
              </a:cxn>
              <a:cxn ang="0">
                <a:pos x="67" y="37"/>
              </a:cxn>
              <a:cxn ang="0">
                <a:pos x="73" y="39"/>
              </a:cxn>
              <a:cxn ang="0">
                <a:pos x="75" y="44"/>
              </a:cxn>
              <a:cxn ang="0">
                <a:pos x="75" y="46"/>
              </a:cxn>
              <a:cxn ang="0">
                <a:pos x="73" y="50"/>
              </a:cxn>
              <a:cxn ang="0">
                <a:pos x="67" y="52"/>
              </a:cxn>
              <a:cxn ang="0">
                <a:pos x="38" y="52"/>
              </a:cxn>
              <a:cxn ang="0">
                <a:pos x="38" y="62"/>
              </a:cxn>
              <a:cxn ang="0">
                <a:pos x="67" y="62"/>
              </a:cxn>
              <a:cxn ang="0">
                <a:pos x="73" y="64"/>
              </a:cxn>
              <a:cxn ang="0">
                <a:pos x="75" y="69"/>
              </a:cxn>
              <a:cxn ang="0">
                <a:pos x="75" y="71"/>
              </a:cxn>
              <a:cxn ang="0">
                <a:pos x="73" y="75"/>
              </a:cxn>
              <a:cxn ang="0">
                <a:pos x="67" y="77"/>
              </a:cxn>
              <a:cxn ang="0">
                <a:pos x="40" y="77"/>
              </a:cxn>
              <a:cxn ang="0">
                <a:pos x="48" y="90"/>
              </a:cxn>
              <a:cxn ang="0">
                <a:pos x="63" y="94"/>
              </a:cxn>
              <a:cxn ang="0">
                <a:pos x="77" y="90"/>
              </a:cxn>
              <a:cxn ang="0">
                <a:pos x="87" y="80"/>
              </a:cxn>
              <a:cxn ang="0">
                <a:pos x="89" y="80"/>
              </a:cxn>
              <a:cxn ang="0">
                <a:pos x="93" y="82"/>
              </a:cxn>
              <a:cxn ang="0">
                <a:pos x="97" y="86"/>
              </a:cxn>
              <a:cxn ang="0">
                <a:pos x="99" y="92"/>
              </a:cxn>
              <a:cxn ang="0">
                <a:pos x="97" y="99"/>
              </a:cxn>
              <a:cxn ang="0">
                <a:pos x="90" y="107"/>
              </a:cxn>
              <a:cxn ang="0">
                <a:pos x="79" y="112"/>
              </a:cxn>
              <a:cxn ang="0">
                <a:pos x="62" y="115"/>
              </a:cxn>
              <a:cxn ang="0">
                <a:pos x="32" y="105"/>
              </a:cxn>
              <a:cxn ang="0">
                <a:pos x="16" y="77"/>
              </a:cxn>
              <a:cxn ang="0">
                <a:pos x="8" y="77"/>
              </a:cxn>
              <a:cxn ang="0">
                <a:pos x="2" y="75"/>
              </a:cxn>
              <a:cxn ang="0">
                <a:pos x="0" y="71"/>
              </a:cxn>
              <a:cxn ang="0">
                <a:pos x="0" y="69"/>
              </a:cxn>
              <a:cxn ang="0">
                <a:pos x="2" y="64"/>
              </a:cxn>
              <a:cxn ang="0">
                <a:pos x="8" y="62"/>
              </a:cxn>
              <a:cxn ang="0">
                <a:pos x="14" y="62"/>
              </a:cxn>
              <a:cxn ang="0">
                <a:pos x="14" y="52"/>
              </a:cxn>
              <a:cxn ang="0">
                <a:pos x="8" y="52"/>
              </a:cxn>
            </a:cxnLst>
            <a:rect l="0" t="0" r="r" b="b"/>
            <a:pathLst>
              <a:path w="99" h="115">
                <a:moveTo>
                  <a:pt x="8" y="52"/>
                </a:moveTo>
                <a:cubicBezTo>
                  <a:pt x="5" y="52"/>
                  <a:pt x="3" y="52"/>
                  <a:pt x="2" y="50"/>
                </a:cubicBezTo>
                <a:cubicBezTo>
                  <a:pt x="0" y="49"/>
                  <a:pt x="0" y="47"/>
                  <a:pt x="0" y="46"/>
                </a:cubicBezTo>
                <a:cubicBezTo>
                  <a:pt x="0" y="44"/>
                  <a:pt x="0" y="44"/>
                  <a:pt x="0" y="44"/>
                </a:cubicBezTo>
                <a:cubicBezTo>
                  <a:pt x="0" y="42"/>
                  <a:pt x="0" y="40"/>
                  <a:pt x="2" y="39"/>
                </a:cubicBezTo>
                <a:cubicBezTo>
                  <a:pt x="3" y="38"/>
                  <a:pt x="5" y="37"/>
                  <a:pt x="8" y="37"/>
                </a:cubicBezTo>
                <a:cubicBezTo>
                  <a:pt x="16" y="37"/>
                  <a:pt x="16" y="37"/>
                  <a:pt x="16" y="37"/>
                </a:cubicBezTo>
                <a:cubicBezTo>
                  <a:pt x="18" y="26"/>
                  <a:pt x="24" y="16"/>
                  <a:pt x="32" y="10"/>
                </a:cubicBezTo>
                <a:cubicBezTo>
                  <a:pt x="40" y="3"/>
                  <a:pt x="50" y="0"/>
                  <a:pt x="62" y="0"/>
                </a:cubicBezTo>
                <a:cubicBezTo>
                  <a:pt x="68" y="0"/>
                  <a:pt x="73" y="1"/>
                  <a:pt x="77" y="2"/>
                </a:cubicBezTo>
                <a:cubicBezTo>
                  <a:pt x="82" y="3"/>
                  <a:pt x="86" y="5"/>
                  <a:pt x="89" y="7"/>
                </a:cubicBezTo>
                <a:cubicBezTo>
                  <a:pt x="92" y="9"/>
                  <a:pt x="94" y="12"/>
                  <a:pt x="96" y="14"/>
                </a:cubicBezTo>
                <a:cubicBezTo>
                  <a:pt x="98" y="17"/>
                  <a:pt x="98" y="20"/>
                  <a:pt x="98" y="22"/>
                </a:cubicBezTo>
                <a:cubicBezTo>
                  <a:pt x="98" y="24"/>
                  <a:pt x="98" y="26"/>
                  <a:pt x="97" y="28"/>
                </a:cubicBezTo>
                <a:cubicBezTo>
                  <a:pt x="96" y="30"/>
                  <a:pt x="94" y="31"/>
                  <a:pt x="93" y="32"/>
                </a:cubicBezTo>
                <a:cubicBezTo>
                  <a:pt x="91" y="33"/>
                  <a:pt x="90" y="34"/>
                  <a:pt x="89" y="34"/>
                </a:cubicBezTo>
                <a:cubicBezTo>
                  <a:pt x="88" y="34"/>
                  <a:pt x="87" y="34"/>
                  <a:pt x="87" y="34"/>
                </a:cubicBezTo>
                <a:cubicBezTo>
                  <a:pt x="84" y="30"/>
                  <a:pt x="80" y="26"/>
                  <a:pt x="77" y="24"/>
                </a:cubicBezTo>
                <a:cubicBezTo>
                  <a:pt x="73" y="22"/>
                  <a:pt x="68" y="21"/>
                  <a:pt x="62" y="21"/>
                </a:cubicBezTo>
                <a:cubicBezTo>
                  <a:pt x="57" y="21"/>
                  <a:pt x="52" y="22"/>
                  <a:pt x="48" y="25"/>
                </a:cubicBezTo>
                <a:cubicBezTo>
                  <a:pt x="44" y="28"/>
                  <a:pt x="42" y="32"/>
                  <a:pt x="40" y="37"/>
                </a:cubicBezTo>
                <a:cubicBezTo>
                  <a:pt x="67" y="37"/>
                  <a:pt x="67" y="37"/>
                  <a:pt x="67" y="37"/>
                </a:cubicBezTo>
                <a:cubicBezTo>
                  <a:pt x="70" y="37"/>
                  <a:pt x="72" y="38"/>
                  <a:pt x="73" y="39"/>
                </a:cubicBezTo>
                <a:cubicBezTo>
                  <a:pt x="75" y="40"/>
                  <a:pt x="75" y="42"/>
                  <a:pt x="75" y="44"/>
                </a:cubicBezTo>
                <a:cubicBezTo>
                  <a:pt x="75" y="46"/>
                  <a:pt x="75" y="46"/>
                  <a:pt x="75" y="46"/>
                </a:cubicBezTo>
                <a:cubicBezTo>
                  <a:pt x="75" y="47"/>
                  <a:pt x="75" y="49"/>
                  <a:pt x="73" y="50"/>
                </a:cubicBezTo>
                <a:cubicBezTo>
                  <a:pt x="72" y="52"/>
                  <a:pt x="70" y="52"/>
                  <a:pt x="67" y="52"/>
                </a:cubicBezTo>
                <a:cubicBezTo>
                  <a:pt x="38" y="52"/>
                  <a:pt x="38" y="52"/>
                  <a:pt x="38" y="52"/>
                </a:cubicBezTo>
                <a:cubicBezTo>
                  <a:pt x="38" y="62"/>
                  <a:pt x="38" y="62"/>
                  <a:pt x="38" y="62"/>
                </a:cubicBezTo>
                <a:cubicBezTo>
                  <a:pt x="67" y="62"/>
                  <a:pt x="67" y="62"/>
                  <a:pt x="67" y="62"/>
                </a:cubicBezTo>
                <a:cubicBezTo>
                  <a:pt x="70" y="62"/>
                  <a:pt x="72" y="63"/>
                  <a:pt x="73" y="64"/>
                </a:cubicBezTo>
                <a:cubicBezTo>
                  <a:pt x="75" y="65"/>
                  <a:pt x="75" y="67"/>
                  <a:pt x="75" y="69"/>
                </a:cubicBezTo>
                <a:cubicBezTo>
                  <a:pt x="75" y="71"/>
                  <a:pt x="75" y="71"/>
                  <a:pt x="75" y="71"/>
                </a:cubicBezTo>
                <a:cubicBezTo>
                  <a:pt x="75" y="72"/>
                  <a:pt x="75" y="74"/>
                  <a:pt x="73" y="75"/>
                </a:cubicBezTo>
                <a:cubicBezTo>
                  <a:pt x="72" y="77"/>
                  <a:pt x="70" y="77"/>
                  <a:pt x="67" y="77"/>
                </a:cubicBezTo>
                <a:cubicBezTo>
                  <a:pt x="40" y="77"/>
                  <a:pt x="40" y="77"/>
                  <a:pt x="40" y="77"/>
                </a:cubicBezTo>
                <a:cubicBezTo>
                  <a:pt x="42" y="83"/>
                  <a:pt x="44" y="87"/>
                  <a:pt x="48" y="90"/>
                </a:cubicBezTo>
                <a:cubicBezTo>
                  <a:pt x="52" y="93"/>
                  <a:pt x="57" y="94"/>
                  <a:pt x="63" y="94"/>
                </a:cubicBezTo>
                <a:cubicBezTo>
                  <a:pt x="69" y="94"/>
                  <a:pt x="73" y="93"/>
                  <a:pt x="77" y="90"/>
                </a:cubicBezTo>
                <a:cubicBezTo>
                  <a:pt x="81" y="88"/>
                  <a:pt x="84" y="84"/>
                  <a:pt x="87" y="80"/>
                </a:cubicBezTo>
                <a:cubicBezTo>
                  <a:pt x="87" y="79"/>
                  <a:pt x="88" y="80"/>
                  <a:pt x="89" y="80"/>
                </a:cubicBezTo>
                <a:cubicBezTo>
                  <a:pt x="90" y="80"/>
                  <a:pt x="92" y="81"/>
                  <a:pt x="93" y="82"/>
                </a:cubicBezTo>
                <a:cubicBezTo>
                  <a:pt x="95" y="83"/>
                  <a:pt x="96" y="84"/>
                  <a:pt x="97" y="86"/>
                </a:cubicBezTo>
                <a:cubicBezTo>
                  <a:pt x="98" y="87"/>
                  <a:pt x="99" y="89"/>
                  <a:pt x="99" y="92"/>
                </a:cubicBezTo>
                <a:cubicBezTo>
                  <a:pt x="99" y="94"/>
                  <a:pt x="98" y="96"/>
                  <a:pt x="97" y="99"/>
                </a:cubicBezTo>
                <a:cubicBezTo>
                  <a:pt x="95" y="102"/>
                  <a:pt x="93" y="104"/>
                  <a:pt x="90" y="107"/>
                </a:cubicBezTo>
                <a:cubicBezTo>
                  <a:pt x="87" y="109"/>
                  <a:pt x="83" y="111"/>
                  <a:pt x="79" y="112"/>
                </a:cubicBezTo>
                <a:cubicBezTo>
                  <a:pt x="74" y="114"/>
                  <a:pt x="69" y="115"/>
                  <a:pt x="62" y="115"/>
                </a:cubicBezTo>
                <a:cubicBezTo>
                  <a:pt x="50" y="115"/>
                  <a:pt x="40" y="111"/>
                  <a:pt x="32" y="105"/>
                </a:cubicBezTo>
                <a:cubicBezTo>
                  <a:pt x="23" y="98"/>
                  <a:pt x="18" y="89"/>
                  <a:pt x="16" y="77"/>
                </a:cubicBezTo>
                <a:cubicBezTo>
                  <a:pt x="8" y="77"/>
                  <a:pt x="8" y="77"/>
                  <a:pt x="8" y="77"/>
                </a:cubicBezTo>
                <a:cubicBezTo>
                  <a:pt x="5" y="77"/>
                  <a:pt x="3" y="77"/>
                  <a:pt x="2" y="75"/>
                </a:cubicBezTo>
                <a:cubicBezTo>
                  <a:pt x="0" y="74"/>
                  <a:pt x="0" y="72"/>
                  <a:pt x="0" y="71"/>
                </a:cubicBezTo>
                <a:cubicBezTo>
                  <a:pt x="0" y="69"/>
                  <a:pt x="0" y="69"/>
                  <a:pt x="0" y="69"/>
                </a:cubicBezTo>
                <a:cubicBezTo>
                  <a:pt x="0" y="67"/>
                  <a:pt x="0" y="65"/>
                  <a:pt x="2" y="64"/>
                </a:cubicBezTo>
                <a:cubicBezTo>
                  <a:pt x="3" y="63"/>
                  <a:pt x="5" y="62"/>
                  <a:pt x="8" y="62"/>
                </a:cubicBezTo>
                <a:cubicBezTo>
                  <a:pt x="14" y="62"/>
                  <a:pt x="14" y="62"/>
                  <a:pt x="14" y="62"/>
                </a:cubicBezTo>
                <a:cubicBezTo>
                  <a:pt x="14" y="52"/>
                  <a:pt x="14" y="52"/>
                  <a:pt x="14" y="52"/>
                </a:cubicBezTo>
                <a:lnTo>
                  <a:pt x="8" y="52"/>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21" name="Freeform 97"/>
          <p:cNvSpPr>
            <a:spLocks noEditPoints="1"/>
          </p:cNvSpPr>
          <p:nvPr userDrawn="1"/>
        </p:nvSpPr>
        <p:spPr bwMode="auto">
          <a:xfrm>
            <a:off x="6850069" y="5997576"/>
            <a:ext cx="131763" cy="134939"/>
          </a:xfrm>
          <a:custGeom>
            <a:avLst/>
            <a:gdLst/>
            <a:ahLst/>
            <a:cxnLst>
              <a:cxn ang="0">
                <a:pos x="80" y="74"/>
              </a:cxn>
              <a:cxn ang="0">
                <a:pos x="83" y="65"/>
              </a:cxn>
              <a:cxn ang="0">
                <a:pos x="87" y="55"/>
              </a:cxn>
              <a:cxn ang="0">
                <a:pos x="92" y="46"/>
              </a:cxn>
              <a:cxn ang="0">
                <a:pos x="100" y="43"/>
              </a:cxn>
              <a:cxn ang="0">
                <a:pos x="105" y="44"/>
              </a:cxn>
              <a:cxn ang="0">
                <a:pos x="108" y="47"/>
              </a:cxn>
              <a:cxn ang="0">
                <a:pos x="110" y="49"/>
              </a:cxn>
              <a:cxn ang="0">
                <a:pos x="111" y="50"/>
              </a:cxn>
              <a:cxn ang="0">
                <a:pos x="104" y="70"/>
              </a:cxn>
              <a:cxn ang="0">
                <a:pos x="94" y="87"/>
              </a:cxn>
              <a:cxn ang="0">
                <a:pos x="117" y="107"/>
              </a:cxn>
              <a:cxn ang="0">
                <a:pos x="117" y="108"/>
              </a:cxn>
              <a:cxn ang="0">
                <a:pos x="114" y="112"/>
              </a:cxn>
              <a:cxn ang="0">
                <a:pos x="110" y="116"/>
              </a:cxn>
              <a:cxn ang="0">
                <a:pos x="104" y="117"/>
              </a:cxn>
              <a:cxn ang="0">
                <a:pos x="97" y="116"/>
              </a:cxn>
              <a:cxn ang="0">
                <a:pos x="89" y="110"/>
              </a:cxn>
              <a:cxn ang="0">
                <a:pos x="81" y="102"/>
              </a:cxn>
              <a:cxn ang="0">
                <a:pos x="64" y="114"/>
              </a:cxn>
              <a:cxn ang="0">
                <a:pos x="42" y="118"/>
              </a:cxn>
              <a:cxn ang="0">
                <a:pos x="11" y="110"/>
              </a:cxn>
              <a:cxn ang="0">
                <a:pos x="0" y="84"/>
              </a:cxn>
              <a:cxn ang="0">
                <a:pos x="7" y="64"/>
              </a:cxn>
              <a:cxn ang="0">
                <a:pos x="26" y="52"/>
              </a:cxn>
              <a:cxn ang="0">
                <a:pos x="19" y="42"/>
              </a:cxn>
              <a:cxn ang="0">
                <a:pos x="16" y="30"/>
              </a:cxn>
              <a:cxn ang="0">
                <a:pos x="18" y="18"/>
              </a:cxn>
              <a:cxn ang="0">
                <a:pos x="25" y="9"/>
              </a:cxn>
              <a:cxn ang="0">
                <a:pos x="36" y="3"/>
              </a:cxn>
              <a:cxn ang="0">
                <a:pos x="51" y="0"/>
              </a:cxn>
              <a:cxn ang="0">
                <a:pos x="64" y="2"/>
              </a:cxn>
              <a:cxn ang="0">
                <a:pos x="74" y="8"/>
              </a:cxn>
              <a:cxn ang="0">
                <a:pos x="81" y="17"/>
              </a:cxn>
              <a:cxn ang="0">
                <a:pos x="83" y="28"/>
              </a:cxn>
              <a:cxn ang="0">
                <a:pos x="76" y="44"/>
              </a:cxn>
              <a:cxn ang="0">
                <a:pos x="58" y="55"/>
              </a:cxn>
              <a:cxn ang="0">
                <a:pos x="80" y="74"/>
              </a:cxn>
              <a:cxn ang="0">
                <a:pos x="37" y="63"/>
              </a:cxn>
              <a:cxn ang="0">
                <a:pos x="26" y="70"/>
              </a:cxn>
              <a:cxn ang="0">
                <a:pos x="22" y="82"/>
              </a:cxn>
              <a:cxn ang="0">
                <a:pos x="28" y="96"/>
              </a:cxn>
              <a:cxn ang="0">
                <a:pos x="44" y="101"/>
              </a:cxn>
              <a:cxn ang="0">
                <a:pos x="57" y="98"/>
              </a:cxn>
              <a:cxn ang="0">
                <a:pos x="68" y="90"/>
              </a:cxn>
              <a:cxn ang="0">
                <a:pos x="37" y="63"/>
              </a:cxn>
              <a:cxn ang="0">
                <a:pos x="46" y="46"/>
              </a:cxn>
              <a:cxn ang="0">
                <a:pos x="59" y="39"/>
              </a:cxn>
              <a:cxn ang="0">
                <a:pos x="63" y="30"/>
              </a:cxn>
              <a:cxn ang="0">
                <a:pos x="60" y="21"/>
              </a:cxn>
              <a:cxn ang="0">
                <a:pos x="51" y="17"/>
              </a:cxn>
              <a:cxn ang="0">
                <a:pos x="41" y="21"/>
              </a:cxn>
              <a:cxn ang="0">
                <a:pos x="38" y="30"/>
              </a:cxn>
              <a:cxn ang="0">
                <a:pos x="40" y="39"/>
              </a:cxn>
              <a:cxn ang="0">
                <a:pos x="46" y="46"/>
              </a:cxn>
            </a:cxnLst>
            <a:rect l="0" t="0" r="r" b="b"/>
            <a:pathLst>
              <a:path w="117" h="118">
                <a:moveTo>
                  <a:pt x="80" y="74"/>
                </a:moveTo>
                <a:cubicBezTo>
                  <a:pt x="81" y="71"/>
                  <a:pt x="82" y="68"/>
                  <a:pt x="83" y="65"/>
                </a:cubicBezTo>
                <a:cubicBezTo>
                  <a:pt x="85" y="62"/>
                  <a:pt x="86" y="59"/>
                  <a:pt x="87" y="55"/>
                </a:cubicBezTo>
                <a:cubicBezTo>
                  <a:pt x="89" y="51"/>
                  <a:pt x="90" y="48"/>
                  <a:pt x="92" y="46"/>
                </a:cubicBezTo>
                <a:cubicBezTo>
                  <a:pt x="94" y="44"/>
                  <a:pt x="97" y="43"/>
                  <a:pt x="100" y="43"/>
                </a:cubicBezTo>
                <a:cubicBezTo>
                  <a:pt x="102" y="43"/>
                  <a:pt x="103" y="44"/>
                  <a:pt x="105" y="44"/>
                </a:cubicBezTo>
                <a:cubicBezTo>
                  <a:pt x="106" y="45"/>
                  <a:pt x="107" y="46"/>
                  <a:pt x="108" y="47"/>
                </a:cubicBezTo>
                <a:cubicBezTo>
                  <a:pt x="109" y="47"/>
                  <a:pt x="110" y="48"/>
                  <a:pt x="110" y="49"/>
                </a:cubicBezTo>
                <a:cubicBezTo>
                  <a:pt x="111" y="49"/>
                  <a:pt x="111" y="50"/>
                  <a:pt x="111" y="50"/>
                </a:cubicBezTo>
                <a:cubicBezTo>
                  <a:pt x="109" y="57"/>
                  <a:pt x="107" y="64"/>
                  <a:pt x="104" y="70"/>
                </a:cubicBezTo>
                <a:cubicBezTo>
                  <a:pt x="101" y="76"/>
                  <a:pt x="98" y="81"/>
                  <a:pt x="94" y="87"/>
                </a:cubicBezTo>
                <a:cubicBezTo>
                  <a:pt x="117" y="107"/>
                  <a:pt x="117" y="107"/>
                  <a:pt x="117" y="107"/>
                </a:cubicBezTo>
                <a:cubicBezTo>
                  <a:pt x="117" y="107"/>
                  <a:pt x="117" y="107"/>
                  <a:pt x="117" y="108"/>
                </a:cubicBezTo>
                <a:cubicBezTo>
                  <a:pt x="116" y="110"/>
                  <a:pt x="115" y="111"/>
                  <a:pt x="114" y="112"/>
                </a:cubicBezTo>
                <a:cubicBezTo>
                  <a:pt x="113" y="113"/>
                  <a:pt x="112" y="114"/>
                  <a:pt x="110" y="116"/>
                </a:cubicBezTo>
                <a:cubicBezTo>
                  <a:pt x="108" y="117"/>
                  <a:pt x="106" y="117"/>
                  <a:pt x="104" y="117"/>
                </a:cubicBezTo>
                <a:cubicBezTo>
                  <a:pt x="102" y="117"/>
                  <a:pt x="99" y="117"/>
                  <a:pt x="97" y="116"/>
                </a:cubicBezTo>
                <a:cubicBezTo>
                  <a:pt x="94" y="115"/>
                  <a:pt x="92" y="113"/>
                  <a:pt x="89" y="110"/>
                </a:cubicBezTo>
                <a:cubicBezTo>
                  <a:pt x="81" y="102"/>
                  <a:pt x="81" y="102"/>
                  <a:pt x="81" y="102"/>
                </a:cubicBezTo>
                <a:cubicBezTo>
                  <a:pt x="76" y="107"/>
                  <a:pt x="70" y="111"/>
                  <a:pt x="64" y="114"/>
                </a:cubicBezTo>
                <a:cubicBezTo>
                  <a:pt x="57" y="117"/>
                  <a:pt x="50" y="118"/>
                  <a:pt x="42" y="118"/>
                </a:cubicBezTo>
                <a:cubicBezTo>
                  <a:pt x="29" y="118"/>
                  <a:pt x="19" y="115"/>
                  <a:pt x="11" y="110"/>
                </a:cubicBezTo>
                <a:cubicBezTo>
                  <a:pt x="3" y="104"/>
                  <a:pt x="0" y="95"/>
                  <a:pt x="0" y="84"/>
                </a:cubicBezTo>
                <a:cubicBezTo>
                  <a:pt x="0" y="76"/>
                  <a:pt x="2" y="70"/>
                  <a:pt x="7" y="64"/>
                </a:cubicBezTo>
                <a:cubicBezTo>
                  <a:pt x="11" y="59"/>
                  <a:pt x="18" y="55"/>
                  <a:pt x="26" y="52"/>
                </a:cubicBezTo>
                <a:cubicBezTo>
                  <a:pt x="23" y="49"/>
                  <a:pt x="20" y="46"/>
                  <a:pt x="19" y="42"/>
                </a:cubicBezTo>
                <a:cubicBezTo>
                  <a:pt x="17" y="38"/>
                  <a:pt x="16" y="34"/>
                  <a:pt x="16" y="30"/>
                </a:cubicBezTo>
                <a:cubicBezTo>
                  <a:pt x="16" y="25"/>
                  <a:pt x="16" y="22"/>
                  <a:pt x="18" y="18"/>
                </a:cubicBezTo>
                <a:cubicBezTo>
                  <a:pt x="20" y="14"/>
                  <a:pt x="22" y="11"/>
                  <a:pt x="25" y="9"/>
                </a:cubicBezTo>
                <a:cubicBezTo>
                  <a:pt x="28" y="6"/>
                  <a:pt x="32" y="4"/>
                  <a:pt x="36" y="3"/>
                </a:cubicBezTo>
                <a:cubicBezTo>
                  <a:pt x="41" y="1"/>
                  <a:pt x="46" y="0"/>
                  <a:pt x="51" y="0"/>
                </a:cubicBezTo>
                <a:cubicBezTo>
                  <a:pt x="56" y="0"/>
                  <a:pt x="60" y="1"/>
                  <a:pt x="64" y="2"/>
                </a:cubicBezTo>
                <a:cubicBezTo>
                  <a:pt x="68" y="4"/>
                  <a:pt x="71" y="6"/>
                  <a:pt x="74" y="8"/>
                </a:cubicBezTo>
                <a:cubicBezTo>
                  <a:pt x="77" y="10"/>
                  <a:pt x="79" y="13"/>
                  <a:pt x="81" y="17"/>
                </a:cubicBezTo>
                <a:cubicBezTo>
                  <a:pt x="82" y="20"/>
                  <a:pt x="83" y="24"/>
                  <a:pt x="83" y="28"/>
                </a:cubicBezTo>
                <a:cubicBezTo>
                  <a:pt x="83" y="34"/>
                  <a:pt x="81" y="40"/>
                  <a:pt x="76" y="44"/>
                </a:cubicBezTo>
                <a:cubicBezTo>
                  <a:pt x="72" y="49"/>
                  <a:pt x="66" y="52"/>
                  <a:pt x="58" y="55"/>
                </a:cubicBezTo>
                <a:lnTo>
                  <a:pt x="80" y="74"/>
                </a:lnTo>
                <a:close/>
                <a:moveTo>
                  <a:pt x="37" y="63"/>
                </a:moveTo>
                <a:cubicBezTo>
                  <a:pt x="32" y="64"/>
                  <a:pt x="29" y="67"/>
                  <a:pt x="26" y="70"/>
                </a:cubicBezTo>
                <a:cubicBezTo>
                  <a:pt x="23" y="73"/>
                  <a:pt x="22" y="77"/>
                  <a:pt x="22" y="82"/>
                </a:cubicBezTo>
                <a:cubicBezTo>
                  <a:pt x="22" y="88"/>
                  <a:pt x="24" y="92"/>
                  <a:pt x="28" y="96"/>
                </a:cubicBezTo>
                <a:cubicBezTo>
                  <a:pt x="32" y="99"/>
                  <a:pt x="37" y="101"/>
                  <a:pt x="44" y="101"/>
                </a:cubicBezTo>
                <a:cubicBezTo>
                  <a:pt x="48" y="101"/>
                  <a:pt x="53" y="100"/>
                  <a:pt x="57" y="98"/>
                </a:cubicBezTo>
                <a:cubicBezTo>
                  <a:pt x="61" y="96"/>
                  <a:pt x="64" y="93"/>
                  <a:pt x="68" y="90"/>
                </a:cubicBezTo>
                <a:lnTo>
                  <a:pt x="37" y="63"/>
                </a:lnTo>
                <a:close/>
                <a:moveTo>
                  <a:pt x="46" y="46"/>
                </a:moveTo>
                <a:cubicBezTo>
                  <a:pt x="52" y="44"/>
                  <a:pt x="57" y="42"/>
                  <a:pt x="59" y="39"/>
                </a:cubicBezTo>
                <a:cubicBezTo>
                  <a:pt x="62" y="37"/>
                  <a:pt x="63" y="33"/>
                  <a:pt x="63" y="30"/>
                </a:cubicBezTo>
                <a:cubicBezTo>
                  <a:pt x="63" y="26"/>
                  <a:pt x="62" y="23"/>
                  <a:pt x="60" y="21"/>
                </a:cubicBezTo>
                <a:cubicBezTo>
                  <a:pt x="57" y="18"/>
                  <a:pt x="54" y="17"/>
                  <a:pt x="51" y="17"/>
                </a:cubicBezTo>
                <a:cubicBezTo>
                  <a:pt x="47" y="17"/>
                  <a:pt x="43" y="18"/>
                  <a:pt x="41" y="21"/>
                </a:cubicBezTo>
                <a:cubicBezTo>
                  <a:pt x="39" y="23"/>
                  <a:pt x="38" y="26"/>
                  <a:pt x="38" y="30"/>
                </a:cubicBezTo>
                <a:cubicBezTo>
                  <a:pt x="38" y="33"/>
                  <a:pt x="39" y="36"/>
                  <a:pt x="40" y="39"/>
                </a:cubicBezTo>
                <a:cubicBezTo>
                  <a:pt x="42" y="41"/>
                  <a:pt x="44" y="43"/>
                  <a:pt x="46" y="46"/>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25" name="Freeform 101"/>
          <p:cNvSpPr>
            <a:spLocks noEditPoints="1"/>
          </p:cNvSpPr>
          <p:nvPr userDrawn="1"/>
        </p:nvSpPr>
        <p:spPr bwMode="auto">
          <a:xfrm>
            <a:off x="7158038" y="6000751"/>
            <a:ext cx="106362" cy="127000"/>
          </a:xfrm>
          <a:custGeom>
            <a:avLst/>
            <a:gdLst/>
            <a:ahLst/>
            <a:cxnLst>
              <a:cxn ang="0">
                <a:pos x="47" y="113"/>
              </a:cxn>
              <a:cxn ang="0">
                <a:pos x="27" y="109"/>
              </a:cxn>
              <a:cxn ang="0">
                <a:pos x="12" y="99"/>
              </a:cxn>
              <a:cxn ang="0">
                <a:pos x="3" y="83"/>
              </a:cxn>
              <a:cxn ang="0">
                <a:pos x="0" y="62"/>
              </a:cxn>
              <a:cxn ang="0">
                <a:pos x="0" y="51"/>
              </a:cxn>
              <a:cxn ang="0">
                <a:pos x="3" y="30"/>
              </a:cxn>
              <a:cxn ang="0">
                <a:pos x="12" y="14"/>
              </a:cxn>
              <a:cxn ang="0">
                <a:pos x="27" y="3"/>
              </a:cxn>
              <a:cxn ang="0">
                <a:pos x="47" y="0"/>
              </a:cxn>
              <a:cxn ang="0">
                <a:pos x="67" y="3"/>
              </a:cxn>
              <a:cxn ang="0">
                <a:pos x="82" y="13"/>
              </a:cxn>
              <a:cxn ang="0">
                <a:pos x="92" y="30"/>
              </a:cxn>
              <a:cxn ang="0">
                <a:pos x="95" y="51"/>
              </a:cxn>
              <a:cxn ang="0">
                <a:pos x="95" y="62"/>
              </a:cxn>
              <a:cxn ang="0">
                <a:pos x="92" y="83"/>
              </a:cxn>
              <a:cxn ang="0">
                <a:pos x="82" y="99"/>
              </a:cxn>
              <a:cxn ang="0">
                <a:pos x="67" y="109"/>
              </a:cxn>
              <a:cxn ang="0">
                <a:pos x="47" y="113"/>
              </a:cxn>
              <a:cxn ang="0">
                <a:pos x="47" y="93"/>
              </a:cxn>
              <a:cxn ang="0">
                <a:pos x="64" y="85"/>
              </a:cxn>
              <a:cxn ang="0">
                <a:pos x="70" y="63"/>
              </a:cxn>
              <a:cxn ang="0">
                <a:pos x="70" y="49"/>
              </a:cxn>
              <a:cxn ang="0">
                <a:pos x="64" y="27"/>
              </a:cxn>
              <a:cxn ang="0">
                <a:pos x="47" y="20"/>
              </a:cxn>
              <a:cxn ang="0">
                <a:pos x="30" y="27"/>
              </a:cxn>
              <a:cxn ang="0">
                <a:pos x="25" y="49"/>
              </a:cxn>
              <a:cxn ang="0">
                <a:pos x="25" y="63"/>
              </a:cxn>
              <a:cxn ang="0">
                <a:pos x="30" y="85"/>
              </a:cxn>
              <a:cxn ang="0">
                <a:pos x="47" y="93"/>
              </a:cxn>
            </a:cxnLst>
            <a:rect l="0" t="0" r="r" b="b"/>
            <a:pathLst>
              <a:path w="95" h="113">
                <a:moveTo>
                  <a:pt x="47" y="113"/>
                </a:moveTo>
                <a:cubicBezTo>
                  <a:pt x="40" y="113"/>
                  <a:pt x="33" y="112"/>
                  <a:pt x="27" y="109"/>
                </a:cubicBezTo>
                <a:cubicBezTo>
                  <a:pt x="21" y="107"/>
                  <a:pt x="16" y="104"/>
                  <a:pt x="12" y="99"/>
                </a:cubicBezTo>
                <a:cubicBezTo>
                  <a:pt x="8" y="95"/>
                  <a:pt x="5" y="89"/>
                  <a:pt x="3" y="83"/>
                </a:cubicBezTo>
                <a:cubicBezTo>
                  <a:pt x="1" y="77"/>
                  <a:pt x="0" y="70"/>
                  <a:pt x="0" y="62"/>
                </a:cubicBezTo>
                <a:cubicBezTo>
                  <a:pt x="0" y="51"/>
                  <a:pt x="0" y="51"/>
                  <a:pt x="0" y="51"/>
                </a:cubicBezTo>
                <a:cubicBezTo>
                  <a:pt x="0" y="43"/>
                  <a:pt x="1" y="36"/>
                  <a:pt x="3" y="30"/>
                </a:cubicBezTo>
                <a:cubicBezTo>
                  <a:pt x="5" y="23"/>
                  <a:pt x="8" y="18"/>
                  <a:pt x="12" y="14"/>
                </a:cubicBezTo>
                <a:cubicBezTo>
                  <a:pt x="17" y="9"/>
                  <a:pt x="22" y="6"/>
                  <a:pt x="27" y="3"/>
                </a:cubicBezTo>
                <a:cubicBezTo>
                  <a:pt x="33" y="1"/>
                  <a:pt x="40" y="0"/>
                  <a:pt x="47" y="0"/>
                </a:cubicBezTo>
                <a:cubicBezTo>
                  <a:pt x="55" y="0"/>
                  <a:pt x="61" y="1"/>
                  <a:pt x="67" y="3"/>
                </a:cubicBezTo>
                <a:cubicBezTo>
                  <a:pt x="73" y="6"/>
                  <a:pt x="78" y="9"/>
                  <a:pt x="82" y="13"/>
                </a:cubicBezTo>
                <a:cubicBezTo>
                  <a:pt x="86" y="18"/>
                  <a:pt x="90" y="23"/>
                  <a:pt x="92" y="30"/>
                </a:cubicBezTo>
                <a:cubicBezTo>
                  <a:pt x="94" y="36"/>
                  <a:pt x="95" y="43"/>
                  <a:pt x="95" y="51"/>
                </a:cubicBezTo>
                <a:cubicBezTo>
                  <a:pt x="95" y="62"/>
                  <a:pt x="95" y="62"/>
                  <a:pt x="95" y="62"/>
                </a:cubicBezTo>
                <a:cubicBezTo>
                  <a:pt x="95" y="69"/>
                  <a:pt x="94" y="77"/>
                  <a:pt x="92" y="83"/>
                </a:cubicBezTo>
                <a:cubicBezTo>
                  <a:pt x="90" y="89"/>
                  <a:pt x="86" y="95"/>
                  <a:pt x="82" y="99"/>
                </a:cubicBezTo>
                <a:cubicBezTo>
                  <a:pt x="78" y="104"/>
                  <a:pt x="73" y="107"/>
                  <a:pt x="67" y="109"/>
                </a:cubicBezTo>
                <a:cubicBezTo>
                  <a:pt x="61" y="112"/>
                  <a:pt x="55" y="113"/>
                  <a:pt x="47" y="113"/>
                </a:cubicBezTo>
                <a:close/>
                <a:moveTo>
                  <a:pt x="47" y="93"/>
                </a:moveTo>
                <a:cubicBezTo>
                  <a:pt x="55" y="93"/>
                  <a:pt x="60" y="90"/>
                  <a:pt x="64" y="85"/>
                </a:cubicBezTo>
                <a:cubicBezTo>
                  <a:pt x="68" y="80"/>
                  <a:pt x="70" y="73"/>
                  <a:pt x="70" y="63"/>
                </a:cubicBezTo>
                <a:cubicBezTo>
                  <a:pt x="70" y="49"/>
                  <a:pt x="70" y="49"/>
                  <a:pt x="70" y="49"/>
                </a:cubicBezTo>
                <a:cubicBezTo>
                  <a:pt x="70" y="40"/>
                  <a:pt x="68" y="32"/>
                  <a:pt x="64" y="27"/>
                </a:cubicBezTo>
                <a:cubicBezTo>
                  <a:pt x="60" y="22"/>
                  <a:pt x="55" y="20"/>
                  <a:pt x="47" y="20"/>
                </a:cubicBezTo>
                <a:cubicBezTo>
                  <a:pt x="40" y="20"/>
                  <a:pt x="34" y="22"/>
                  <a:pt x="30" y="27"/>
                </a:cubicBezTo>
                <a:cubicBezTo>
                  <a:pt x="27" y="32"/>
                  <a:pt x="25" y="39"/>
                  <a:pt x="25" y="49"/>
                </a:cubicBezTo>
                <a:cubicBezTo>
                  <a:pt x="25" y="63"/>
                  <a:pt x="25" y="63"/>
                  <a:pt x="25" y="63"/>
                </a:cubicBezTo>
                <a:cubicBezTo>
                  <a:pt x="25" y="73"/>
                  <a:pt x="27" y="80"/>
                  <a:pt x="30" y="85"/>
                </a:cubicBezTo>
                <a:cubicBezTo>
                  <a:pt x="34" y="90"/>
                  <a:pt x="40" y="93"/>
                  <a:pt x="47" y="9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29" name="Freeform 105"/>
          <p:cNvSpPr>
            <a:spLocks/>
          </p:cNvSpPr>
          <p:nvPr userDrawn="1"/>
        </p:nvSpPr>
        <p:spPr bwMode="auto">
          <a:xfrm>
            <a:off x="7453313" y="6000751"/>
            <a:ext cx="95250" cy="125412"/>
          </a:xfrm>
          <a:custGeom>
            <a:avLst/>
            <a:gdLst/>
            <a:ahLst/>
            <a:cxnLst>
              <a:cxn ang="0">
                <a:pos x="23" y="91"/>
              </a:cxn>
              <a:cxn ang="0">
                <a:pos x="37" y="91"/>
              </a:cxn>
              <a:cxn ang="0">
                <a:pos x="51" y="91"/>
              </a:cxn>
              <a:cxn ang="0">
                <a:pos x="64" y="91"/>
              </a:cxn>
              <a:cxn ang="0">
                <a:pos x="73" y="91"/>
              </a:cxn>
              <a:cxn ang="0">
                <a:pos x="82" y="93"/>
              </a:cxn>
              <a:cxn ang="0">
                <a:pos x="84" y="100"/>
              </a:cxn>
              <a:cxn ang="0">
                <a:pos x="84" y="101"/>
              </a:cxn>
              <a:cxn ang="0">
                <a:pos x="82" y="108"/>
              </a:cxn>
              <a:cxn ang="0">
                <a:pos x="73" y="111"/>
              </a:cxn>
              <a:cxn ang="0">
                <a:pos x="15" y="111"/>
              </a:cxn>
              <a:cxn ang="0">
                <a:pos x="4" y="108"/>
              </a:cxn>
              <a:cxn ang="0">
                <a:pos x="0" y="98"/>
              </a:cxn>
              <a:cxn ang="0">
                <a:pos x="0" y="93"/>
              </a:cxn>
              <a:cxn ang="0">
                <a:pos x="3" y="79"/>
              </a:cxn>
              <a:cxn ang="0">
                <a:pos x="11" y="69"/>
              </a:cxn>
              <a:cxn ang="0">
                <a:pos x="22" y="61"/>
              </a:cxn>
              <a:cxn ang="0">
                <a:pos x="34" y="55"/>
              </a:cxn>
              <a:cxn ang="0">
                <a:pos x="43" y="50"/>
              </a:cxn>
              <a:cxn ang="0">
                <a:pos x="51" y="46"/>
              </a:cxn>
              <a:cxn ang="0">
                <a:pos x="57" y="41"/>
              </a:cxn>
              <a:cxn ang="0">
                <a:pos x="59" y="34"/>
              </a:cxn>
              <a:cxn ang="0">
                <a:pos x="54" y="24"/>
              </a:cxn>
              <a:cxn ang="0">
                <a:pos x="40" y="20"/>
              </a:cxn>
              <a:cxn ang="0">
                <a:pos x="31" y="21"/>
              </a:cxn>
              <a:cxn ang="0">
                <a:pos x="24" y="26"/>
              </a:cxn>
              <a:cxn ang="0">
                <a:pos x="20" y="32"/>
              </a:cxn>
              <a:cxn ang="0">
                <a:pos x="17" y="39"/>
              </a:cxn>
              <a:cxn ang="0">
                <a:pos x="14" y="39"/>
              </a:cxn>
              <a:cxn ang="0">
                <a:pos x="9" y="38"/>
              </a:cxn>
              <a:cxn ang="0">
                <a:pos x="3" y="35"/>
              </a:cxn>
              <a:cxn ang="0">
                <a:pos x="1" y="27"/>
              </a:cxn>
              <a:cxn ang="0">
                <a:pos x="3" y="17"/>
              </a:cxn>
              <a:cxn ang="0">
                <a:pos x="11" y="9"/>
              </a:cxn>
              <a:cxn ang="0">
                <a:pos x="24" y="2"/>
              </a:cxn>
              <a:cxn ang="0">
                <a:pos x="42" y="0"/>
              </a:cxn>
              <a:cxn ang="0">
                <a:pos x="72" y="9"/>
              </a:cxn>
              <a:cxn ang="0">
                <a:pos x="83" y="34"/>
              </a:cxn>
              <a:cxn ang="0">
                <a:pos x="80" y="46"/>
              </a:cxn>
              <a:cxn ang="0">
                <a:pos x="73" y="56"/>
              </a:cxn>
              <a:cxn ang="0">
                <a:pos x="63" y="62"/>
              </a:cxn>
              <a:cxn ang="0">
                <a:pos x="52" y="68"/>
              </a:cxn>
              <a:cxn ang="0">
                <a:pos x="41" y="72"/>
              </a:cxn>
              <a:cxn ang="0">
                <a:pos x="33" y="77"/>
              </a:cxn>
              <a:cxn ang="0">
                <a:pos x="26" y="83"/>
              </a:cxn>
              <a:cxn ang="0">
                <a:pos x="23" y="91"/>
              </a:cxn>
            </a:cxnLst>
            <a:rect l="0" t="0" r="r" b="b"/>
            <a:pathLst>
              <a:path w="84" h="111">
                <a:moveTo>
                  <a:pt x="23" y="91"/>
                </a:moveTo>
                <a:cubicBezTo>
                  <a:pt x="27" y="91"/>
                  <a:pt x="32" y="91"/>
                  <a:pt x="37" y="91"/>
                </a:cubicBezTo>
                <a:cubicBezTo>
                  <a:pt x="42" y="91"/>
                  <a:pt x="47" y="91"/>
                  <a:pt x="51" y="91"/>
                </a:cubicBezTo>
                <a:cubicBezTo>
                  <a:pt x="56" y="91"/>
                  <a:pt x="60" y="91"/>
                  <a:pt x="64" y="91"/>
                </a:cubicBezTo>
                <a:cubicBezTo>
                  <a:pt x="68" y="91"/>
                  <a:pt x="71" y="91"/>
                  <a:pt x="73" y="91"/>
                </a:cubicBezTo>
                <a:cubicBezTo>
                  <a:pt x="77" y="91"/>
                  <a:pt x="80" y="91"/>
                  <a:pt x="82" y="93"/>
                </a:cubicBezTo>
                <a:cubicBezTo>
                  <a:pt x="83" y="95"/>
                  <a:pt x="84" y="97"/>
                  <a:pt x="84" y="100"/>
                </a:cubicBezTo>
                <a:cubicBezTo>
                  <a:pt x="84" y="101"/>
                  <a:pt x="84" y="101"/>
                  <a:pt x="84" y="101"/>
                </a:cubicBezTo>
                <a:cubicBezTo>
                  <a:pt x="84" y="104"/>
                  <a:pt x="83" y="107"/>
                  <a:pt x="82" y="108"/>
                </a:cubicBezTo>
                <a:cubicBezTo>
                  <a:pt x="80" y="110"/>
                  <a:pt x="77" y="111"/>
                  <a:pt x="73" y="111"/>
                </a:cubicBezTo>
                <a:cubicBezTo>
                  <a:pt x="15" y="111"/>
                  <a:pt x="15" y="111"/>
                  <a:pt x="15" y="111"/>
                </a:cubicBezTo>
                <a:cubicBezTo>
                  <a:pt x="10" y="111"/>
                  <a:pt x="6" y="110"/>
                  <a:pt x="4" y="108"/>
                </a:cubicBezTo>
                <a:cubicBezTo>
                  <a:pt x="1" y="107"/>
                  <a:pt x="0" y="103"/>
                  <a:pt x="0" y="98"/>
                </a:cubicBezTo>
                <a:cubicBezTo>
                  <a:pt x="0" y="93"/>
                  <a:pt x="0" y="93"/>
                  <a:pt x="0" y="93"/>
                </a:cubicBezTo>
                <a:cubicBezTo>
                  <a:pt x="0" y="88"/>
                  <a:pt x="1" y="83"/>
                  <a:pt x="3" y="79"/>
                </a:cubicBezTo>
                <a:cubicBezTo>
                  <a:pt x="5" y="75"/>
                  <a:pt x="8" y="72"/>
                  <a:pt x="11" y="69"/>
                </a:cubicBezTo>
                <a:cubicBezTo>
                  <a:pt x="15" y="66"/>
                  <a:pt x="18" y="63"/>
                  <a:pt x="22" y="61"/>
                </a:cubicBezTo>
                <a:cubicBezTo>
                  <a:pt x="26" y="59"/>
                  <a:pt x="30" y="56"/>
                  <a:pt x="34" y="55"/>
                </a:cubicBezTo>
                <a:cubicBezTo>
                  <a:pt x="37" y="53"/>
                  <a:pt x="40" y="52"/>
                  <a:pt x="43" y="50"/>
                </a:cubicBezTo>
                <a:cubicBezTo>
                  <a:pt x="46" y="49"/>
                  <a:pt x="49" y="47"/>
                  <a:pt x="51" y="46"/>
                </a:cubicBezTo>
                <a:cubicBezTo>
                  <a:pt x="54" y="44"/>
                  <a:pt x="55" y="43"/>
                  <a:pt x="57" y="41"/>
                </a:cubicBezTo>
                <a:cubicBezTo>
                  <a:pt x="58" y="39"/>
                  <a:pt x="59" y="37"/>
                  <a:pt x="59" y="34"/>
                </a:cubicBezTo>
                <a:cubicBezTo>
                  <a:pt x="59" y="30"/>
                  <a:pt x="57" y="26"/>
                  <a:pt x="54" y="24"/>
                </a:cubicBezTo>
                <a:cubicBezTo>
                  <a:pt x="51" y="21"/>
                  <a:pt x="46" y="20"/>
                  <a:pt x="40" y="20"/>
                </a:cubicBezTo>
                <a:cubicBezTo>
                  <a:pt x="37" y="20"/>
                  <a:pt x="34" y="20"/>
                  <a:pt x="31" y="21"/>
                </a:cubicBezTo>
                <a:cubicBezTo>
                  <a:pt x="29" y="22"/>
                  <a:pt x="26" y="24"/>
                  <a:pt x="24" y="26"/>
                </a:cubicBezTo>
                <a:cubicBezTo>
                  <a:pt x="22" y="27"/>
                  <a:pt x="21" y="29"/>
                  <a:pt x="20" y="32"/>
                </a:cubicBezTo>
                <a:cubicBezTo>
                  <a:pt x="18" y="34"/>
                  <a:pt x="18" y="36"/>
                  <a:pt x="17" y="39"/>
                </a:cubicBezTo>
                <a:cubicBezTo>
                  <a:pt x="17" y="39"/>
                  <a:pt x="16" y="39"/>
                  <a:pt x="14" y="39"/>
                </a:cubicBezTo>
                <a:cubicBezTo>
                  <a:pt x="13" y="39"/>
                  <a:pt x="11" y="39"/>
                  <a:pt x="9" y="38"/>
                </a:cubicBezTo>
                <a:cubicBezTo>
                  <a:pt x="7" y="37"/>
                  <a:pt x="5" y="36"/>
                  <a:pt x="3" y="35"/>
                </a:cubicBezTo>
                <a:cubicBezTo>
                  <a:pt x="2" y="33"/>
                  <a:pt x="1" y="31"/>
                  <a:pt x="1" y="27"/>
                </a:cubicBezTo>
                <a:cubicBezTo>
                  <a:pt x="1" y="24"/>
                  <a:pt x="2" y="21"/>
                  <a:pt x="3" y="17"/>
                </a:cubicBezTo>
                <a:cubicBezTo>
                  <a:pt x="5" y="14"/>
                  <a:pt x="8" y="11"/>
                  <a:pt x="11" y="9"/>
                </a:cubicBezTo>
                <a:cubicBezTo>
                  <a:pt x="15" y="6"/>
                  <a:pt x="19" y="4"/>
                  <a:pt x="24" y="2"/>
                </a:cubicBezTo>
                <a:cubicBezTo>
                  <a:pt x="29" y="1"/>
                  <a:pt x="35" y="0"/>
                  <a:pt x="42" y="0"/>
                </a:cubicBezTo>
                <a:cubicBezTo>
                  <a:pt x="55" y="0"/>
                  <a:pt x="65" y="3"/>
                  <a:pt x="72" y="9"/>
                </a:cubicBezTo>
                <a:cubicBezTo>
                  <a:pt x="79" y="15"/>
                  <a:pt x="83" y="23"/>
                  <a:pt x="83" y="34"/>
                </a:cubicBezTo>
                <a:cubicBezTo>
                  <a:pt x="83" y="39"/>
                  <a:pt x="82" y="43"/>
                  <a:pt x="80" y="46"/>
                </a:cubicBezTo>
                <a:cubicBezTo>
                  <a:pt x="78" y="50"/>
                  <a:pt x="76" y="53"/>
                  <a:pt x="73" y="56"/>
                </a:cubicBezTo>
                <a:cubicBezTo>
                  <a:pt x="70" y="58"/>
                  <a:pt x="67" y="60"/>
                  <a:pt x="63" y="62"/>
                </a:cubicBezTo>
                <a:cubicBezTo>
                  <a:pt x="60" y="64"/>
                  <a:pt x="56" y="66"/>
                  <a:pt x="52" y="68"/>
                </a:cubicBezTo>
                <a:cubicBezTo>
                  <a:pt x="48" y="69"/>
                  <a:pt x="44" y="71"/>
                  <a:pt x="41" y="72"/>
                </a:cubicBezTo>
                <a:cubicBezTo>
                  <a:pt x="38" y="74"/>
                  <a:pt x="35" y="75"/>
                  <a:pt x="33" y="77"/>
                </a:cubicBezTo>
                <a:cubicBezTo>
                  <a:pt x="30" y="79"/>
                  <a:pt x="28" y="81"/>
                  <a:pt x="26" y="83"/>
                </a:cubicBezTo>
                <a:cubicBezTo>
                  <a:pt x="25" y="85"/>
                  <a:pt x="24" y="88"/>
                  <a:pt x="23" y="9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33" name="Freeform 109"/>
          <p:cNvSpPr>
            <a:spLocks/>
          </p:cNvSpPr>
          <p:nvPr userDrawn="1"/>
        </p:nvSpPr>
        <p:spPr bwMode="auto">
          <a:xfrm>
            <a:off x="7732720" y="6010275"/>
            <a:ext cx="112713" cy="112712"/>
          </a:xfrm>
          <a:custGeom>
            <a:avLst/>
            <a:gdLst/>
            <a:ahLst/>
            <a:cxnLst>
              <a:cxn ang="0">
                <a:pos x="72" y="7"/>
              </a:cxn>
              <a:cxn ang="0">
                <a:pos x="49" y="30"/>
              </a:cxn>
              <a:cxn ang="0">
                <a:pos x="26" y="7"/>
              </a:cxn>
              <a:cxn ang="0">
                <a:pos x="7" y="6"/>
              </a:cxn>
              <a:cxn ang="0">
                <a:pos x="6" y="7"/>
              </a:cxn>
              <a:cxn ang="0">
                <a:pos x="7" y="26"/>
              </a:cxn>
              <a:cxn ang="0">
                <a:pos x="30" y="49"/>
              </a:cxn>
              <a:cxn ang="0">
                <a:pos x="7" y="72"/>
              </a:cxn>
              <a:cxn ang="0">
                <a:pos x="6" y="92"/>
              </a:cxn>
              <a:cxn ang="0">
                <a:pos x="7" y="93"/>
              </a:cxn>
              <a:cxn ang="0">
                <a:pos x="26" y="92"/>
              </a:cxn>
              <a:cxn ang="0">
                <a:pos x="49" y="68"/>
              </a:cxn>
              <a:cxn ang="0">
                <a:pos x="72" y="92"/>
              </a:cxn>
              <a:cxn ang="0">
                <a:pos x="92" y="93"/>
              </a:cxn>
              <a:cxn ang="0">
                <a:pos x="93" y="92"/>
              </a:cxn>
              <a:cxn ang="0">
                <a:pos x="91" y="73"/>
              </a:cxn>
              <a:cxn ang="0">
                <a:pos x="68" y="49"/>
              </a:cxn>
              <a:cxn ang="0">
                <a:pos x="91" y="26"/>
              </a:cxn>
              <a:cxn ang="0">
                <a:pos x="93" y="7"/>
              </a:cxn>
              <a:cxn ang="0">
                <a:pos x="92" y="6"/>
              </a:cxn>
              <a:cxn ang="0">
                <a:pos x="72" y="7"/>
              </a:cxn>
            </a:cxnLst>
            <a:rect l="0" t="0" r="r" b="b"/>
            <a:pathLst>
              <a:path w="99" h="99">
                <a:moveTo>
                  <a:pt x="72" y="7"/>
                </a:moveTo>
                <a:cubicBezTo>
                  <a:pt x="49" y="30"/>
                  <a:pt x="49" y="30"/>
                  <a:pt x="49" y="30"/>
                </a:cubicBezTo>
                <a:cubicBezTo>
                  <a:pt x="26" y="7"/>
                  <a:pt x="26" y="7"/>
                  <a:pt x="26" y="7"/>
                </a:cubicBezTo>
                <a:cubicBezTo>
                  <a:pt x="19" y="0"/>
                  <a:pt x="12" y="0"/>
                  <a:pt x="7" y="6"/>
                </a:cubicBezTo>
                <a:cubicBezTo>
                  <a:pt x="6" y="7"/>
                  <a:pt x="6" y="7"/>
                  <a:pt x="6" y="7"/>
                </a:cubicBezTo>
                <a:cubicBezTo>
                  <a:pt x="0" y="12"/>
                  <a:pt x="0" y="19"/>
                  <a:pt x="7" y="26"/>
                </a:cubicBezTo>
                <a:cubicBezTo>
                  <a:pt x="30" y="49"/>
                  <a:pt x="30" y="49"/>
                  <a:pt x="30" y="49"/>
                </a:cubicBezTo>
                <a:cubicBezTo>
                  <a:pt x="7" y="72"/>
                  <a:pt x="7" y="72"/>
                  <a:pt x="7" y="72"/>
                </a:cubicBezTo>
                <a:cubicBezTo>
                  <a:pt x="0" y="80"/>
                  <a:pt x="0" y="86"/>
                  <a:pt x="6" y="92"/>
                </a:cubicBezTo>
                <a:cubicBezTo>
                  <a:pt x="7" y="93"/>
                  <a:pt x="7" y="93"/>
                  <a:pt x="7" y="93"/>
                </a:cubicBezTo>
                <a:cubicBezTo>
                  <a:pt x="12" y="98"/>
                  <a:pt x="19" y="99"/>
                  <a:pt x="26" y="92"/>
                </a:cubicBezTo>
                <a:cubicBezTo>
                  <a:pt x="49" y="68"/>
                  <a:pt x="49" y="68"/>
                  <a:pt x="49" y="68"/>
                </a:cubicBezTo>
                <a:cubicBezTo>
                  <a:pt x="72" y="92"/>
                  <a:pt x="72" y="92"/>
                  <a:pt x="72" y="92"/>
                </a:cubicBezTo>
                <a:cubicBezTo>
                  <a:pt x="80" y="99"/>
                  <a:pt x="86" y="98"/>
                  <a:pt x="92" y="93"/>
                </a:cubicBezTo>
                <a:cubicBezTo>
                  <a:pt x="93" y="92"/>
                  <a:pt x="93" y="92"/>
                  <a:pt x="93" y="92"/>
                </a:cubicBezTo>
                <a:cubicBezTo>
                  <a:pt x="98" y="86"/>
                  <a:pt x="99" y="80"/>
                  <a:pt x="91" y="73"/>
                </a:cubicBezTo>
                <a:cubicBezTo>
                  <a:pt x="68" y="49"/>
                  <a:pt x="68" y="49"/>
                  <a:pt x="68" y="49"/>
                </a:cubicBezTo>
                <a:cubicBezTo>
                  <a:pt x="91" y="26"/>
                  <a:pt x="91" y="26"/>
                  <a:pt x="91" y="26"/>
                </a:cubicBezTo>
                <a:cubicBezTo>
                  <a:pt x="99" y="19"/>
                  <a:pt x="98" y="12"/>
                  <a:pt x="93" y="7"/>
                </a:cubicBezTo>
                <a:cubicBezTo>
                  <a:pt x="92" y="6"/>
                  <a:pt x="92" y="6"/>
                  <a:pt x="92" y="6"/>
                </a:cubicBezTo>
                <a:cubicBezTo>
                  <a:pt x="86" y="0"/>
                  <a:pt x="80" y="0"/>
                  <a:pt x="72" y="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37" name="Freeform 113"/>
          <p:cNvSpPr>
            <a:spLocks/>
          </p:cNvSpPr>
          <p:nvPr userDrawn="1"/>
        </p:nvSpPr>
        <p:spPr bwMode="auto">
          <a:xfrm>
            <a:off x="8024812" y="5999163"/>
            <a:ext cx="107951" cy="127000"/>
          </a:xfrm>
          <a:custGeom>
            <a:avLst/>
            <a:gdLst/>
            <a:ahLst/>
            <a:cxnLst>
              <a:cxn ang="0">
                <a:pos x="37" y="93"/>
              </a:cxn>
              <a:cxn ang="0">
                <a:pos x="83" y="93"/>
              </a:cxn>
              <a:cxn ang="0">
                <a:pos x="91" y="95"/>
              </a:cxn>
              <a:cxn ang="0">
                <a:pos x="94" y="102"/>
              </a:cxn>
              <a:cxn ang="0">
                <a:pos x="94" y="103"/>
              </a:cxn>
              <a:cxn ang="0">
                <a:pos x="91" y="110"/>
              </a:cxn>
              <a:cxn ang="0">
                <a:pos x="83" y="112"/>
              </a:cxn>
              <a:cxn ang="0">
                <a:pos x="11" y="112"/>
              </a:cxn>
              <a:cxn ang="0">
                <a:pos x="3" y="110"/>
              </a:cxn>
              <a:cxn ang="0">
                <a:pos x="0" y="103"/>
              </a:cxn>
              <a:cxn ang="0">
                <a:pos x="0" y="102"/>
              </a:cxn>
              <a:cxn ang="0">
                <a:pos x="11" y="93"/>
              </a:cxn>
              <a:cxn ang="0">
                <a:pos x="15" y="93"/>
              </a:cxn>
              <a:cxn ang="0">
                <a:pos x="19" y="70"/>
              </a:cxn>
              <a:cxn ang="0">
                <a:pos x="12" y="70"/>
              </a:cxn>
              <a:cxn ang="0">
                <a:pos x="6" y="68"/>
              </a:cxn>
              <a:cxn ang="0">
                <a:pos x="4" y="62"/>
              </a:cxn>
              <a:cxn ang="0">
                <a:pos x="4" y="60"/>
              </a:cxn>
              <a:cxn ang="0">
                <a:pos x="6" y="54"/>
              </a:cxn>
              <a:cxn ang="0">
                <a:pos x="12" y="52"/>
              </a:cxn>
              <a:cxn ang="0">
                <a:pos x="22" y="52"/>
              </a:cxn>
              <a:cxn ang="0">
                <a:pos x="26" y="34"/>
              </a:cxn>
              <a:cxn ang="0">
                <a:pos x="38" y="9"/>
              </a:cxn>
              <a:cxn ang="0">
                <a:pos x="63" y="0"/>
              </a:cxn>
              <a:cxn ang="0">
                <a:pos x="77" y="2"/>
              </a:cxn>
              <a:cxn ang="0">
                <a:pos x="86" y="7"/>
              </a:cxn>
              <a:cxn ang="0">
                <a:pos x="93" y="14"/>
              </a:cxn>
              <a:cxn ang="0">
                <a:pos x="95" y="23"/>
              </a:cxn>
              <a:cxn ang="0">
                <a:pos x="93" y="30"/>
              </a:cxn>
              <a:cxn ang="0">
                <a:pos x="88" y="34"/>
              </a:cxn>
              <a:cxn ang="0">
                <a:pos x="83" y="35"/>
              </a:cxn>
              <a:cxn ang="0">
                <a:pos x="81" y="35"/>
              </a:cxn>
              <a:cxn ang="0">
                <a:pos x="75" y="24"/>
              </a:cxn>
              <a:cxn ang="0">
                <a:pos x="64" y="20"/>
              </a:cxn>
              <a:cxn ang="0">
                <a:pos x="52" y="24"/>
              </a:cxn>
              <a:cxn ang="0">
                <a:pos x="47" y="37"/>
              </a:cxn>
              <a:cxn ang="0">
                <a:pos x="44" y="52"/>
              </a:cxn>
              <a:cxn ang="0">
                <a:pos x="66" y="52"/>
              </a:cxn>
              <a:cxn ang="0">
                <a:pos x="73" y="54"/>
              </a:cxn>
              <a:cxn ang="0">
                <a:pos x="75" y="60"/>
              </a:cxn>
              <a:cxn ang="0">
                <a:pos x="75" y="62"/>
              </a:cxn>
              <a:cxn ang="0">
                <a:pos x="73" y="68"/>
              </a:cxn>
              <a:cxn ang="0">
                <a:pos x="66" y="70"/>
              </a:cxn>
              <a:cxn ang="0">
                <a:pos x="41" y="70"/>
              </a:cxn>
              <a:cxn ang="0">
                <a:pos x="37" y="93"/>
              </a:cxn>
            </a:cxnLst>
            <a:rect l="0" t="0" r="r" b="b"/>
            <a:pathLst>
              <a:path w="95" h="112">
                <a:moveTo>
                  <a:pt x="37" y="93"/>
                </a:moveTo>
                <a:cubicBezTo>
                  <a:pt x="83" y="93"/>
                  <a:pt x="83" y="93"/>
                  <a:pt x="83" y="93"/>
                </a:cubicBezTo>
                <a:cubicBezTo>
                  <a:pt x="87" y="93"/>
                  <a:pt x="89" y="94"/>
                  <a:pt x="91" y="95"/>
                </a:cubicBezTo>
                <a:cubicBezTo>
                  <a:pt x="93" y="96"/>
                  <a:pt x="94" y="99"/>
                  <a:pt x="94" y="102"/>
                </a:cubicBezTo>
                <a:cubicBezTo>
                  <a:pt x="94" y="103"/>
                  <a:pt x="94" y="103"/>
                  <a:pt x="94" y="103"/>
                </a:cubicBezTo>
                <a:cubicBezTo>
                  <a:pt x="94" y="106"/>
                  <a:pt x="93" y="109"/>
                  <a:pt x="91" y="110"/>
                </a:cubicBezTo>
                <a:cubicBezTo>
                  <a:pt x="89" y="112"/>
                  <a:pt x="87" y="112"/>
                  <a:pt x="83" y="112"/>
                </a:cubicBezTo>
                <a:cubicBezTo>
                  <a:pt x="11" y="112"/>
                  <a:pt x="11" y="112"/>
                  <a:pt x="11" y="112"/>
                </a:cubicBezTo>
                <a:cubicBezTo>
                  <a:pt x="7" y="112"/>
                  <a:pt x="4" y="112"/>
                  <a:pt x="3" y="110"/>
                </a:cubicBezTo>
                <a:cubicBezTo>
                  <a:pt x="1" y="109"/>
                  <a:pt x="0" y="106"/>
                  <a:pt x="0" y="103"/>
                </a:cubicBezTo>
                <a:cubicBezTo>
                  <a:pt x="0" y="102"/>
                  <a:pt x="0" y="102"/>
                  <a:pt x="0" y="102"/>
                </a:cubicBezTo>
                <a:cubicBezTo>
                  <a:pt x="0" y="96"/>
                  <a:pt x="4" y="93"/>
                  <a:pt x="11" y="93"/>
                </a:cubicBezTo>
                <a:cubicBezTo>
                  <a:pt x="15" y="93"/>
                  <a:pt x="15" y="93"/>
                  <a:pt x="15" y="93"/>
                </a:cubicBezTo>
                <a:cubicBezTo>
                  <a:pt x="19" y="70"/>
                  <a:pt x="19" y="70"/>
                  <a:pt x="19" y="70"/>
                </a:cubicBezTo>
                <a:cubicBezTo>
                  <a:pt x="12" y="70"/>
                  <a:pt x="12" y="70"/>
                  <a:pt x="12" y="70"/>
                </a:cubicBezTo>
                <a:cubicBezTo>
                  <a:pt x="10" y="70"/>
                  <a:pt x="7" y="69"/>
                  <a:pt x="6" y="68"/>
                </a:cubicBezTo>
                <a:cubicBezTo>
                  <a:pt x="4" y="67"/>
                  <a:pt x="4" y="65"/>
                  <a:pt x="4" y="62"/>
                </a:cubicBezTo>
                <a:cubicBezTo>
                  <a:pt x="4" y="60"/>
                  <a:pt x="4" y="60"/>
                  <a:pt x="4" y="60"/>
                </a:cubicBezTo>
                <a:cubicBezTo>
                  <a:pt x="4" y="58"/>
                  <a:pt x="4" y="56"/>
                  <a:pt x="6" y="54"/>
                </a:cubicBezTo>
                <a:cubicBezTo>
                  <a:pt x="7" y="53"/>
                  <a:pt x="10" y="52"/>
                  <a:pt x="12" y="52"/>
                </a:cubicBezTo>
                <a:cubicBezTo>
                  <a:pt x="22" y="52"/>
                  <a:pt x="22" y="52"/>
                  <a:pt x="22" y="52"/>
                </a:cubicBezTo>
                <a:cubicBezTo>
                  <a:pt x="26" y="34"/>
                  <a:pt x="26" y="34"/>
                  <a:pt x="26" y="34"/>
                </a:cubicBezTo>
                <a:cubicBezTo>
                  <a:pt x="28" y="23"/>
                  <a:pt x="32" y="14"/>
                  <a:pt x="38" y="9"/>
                </a:cubicBezTo>
                <a:cubicBezTo>
                  <a:pt x="44" y="3"/>
                  <a:pt x="53" y="0"/>
                  <a:pt x="63" y="0"/>
                </a:cubicBezTo>
                <a:cubicBezTo>
                  <a:pt x="68" y="0"/>
                  <a:pt x="73" y="1"/>
                  <a:pt x="77" y="2"/>
                </a:cubicBezTo>
                <a:cubicBezTo>
                  <a:pt x="81" y="3"/>
                  <a:pt x="84" y="5"/>
                  <a:pt x="86" y="7"/>
                </a:cubicBezTo>
                <a:cubicBezTo>
                  <a:pt x="89" y="9"/>
                  <a:pt x="91" y="12"/>
                  <a:pt x="93" y="14"/>
                </a:cubicBezTo>
                <a:cubicBezTo>
                  <a:pt x="94" y="17"/>
                  <a:pt x="95" y="20"/>
                  <a:pt x="95" y="23"/>
                </a:cubicBezTo>
                <a:cubicBezTo>
                  <a:pt x="95" y="26"/>
                  <a:pt x="94" y="29"/>
                  <a:pt x="93" y="30"/>
                </a:cubicBezTo>
                <a:cubicBezTo>
                  <a:pt x="91" y="32"/>
                  <a:pt x="90" y="33"/>
                  <a:pt x="88" y="34"/>
                </a:cubicBezTo>
                <a:cubicBezTo>
                  <a:pt x="86" y="34"/>
                  <a:pt x="84" y="35"/>
                  <a:pt x="83" y="35"/>
                </a:cubicBezTo>
                <a:cubicBezTo>
                  <a:pt x="82" y="35"/>
                  <a:pt x="81" y="35"/>
                  <a:pt x="81" y="35"/>
                </a:cubicBezTo>
                <a:cubicBezTo>
                  <a:pt x="80" y="30"/>
                  <a:pt x="78" y="26"/>
                  <a:pt x="75" y="24"/>
                </a:cubicBezTo>
                <a:cubicBezTo>
                  <a:pt x="73" y="21"/>
                  <a:pt x="69" y="20"/>
                  <a:pt x="64" y="20"/>
                </a:cubicBezTo>
                <a:cubicBezTo>
                  <a:pt x="59" y="20"/>
                  <a:pt x="55" y="21"/>
                  <a:pt x="52" y="24"/>
                </a:cubicBezTo>
                <a:cubicBezTo>
                  <a:pt x="50" y="26"/>
                  <a:pt x="48" y="31"/>
                  <a:pt x="47" y="37"/>
                </a:cubicBezTo>
                <a:cubicBezTo>
                  <a:pt x="44" y="52"/>
                  <a:pt x="44" y="52"/>
                  <a:pt x="44" y="52"/>
                </a:cubicBezTo>
                <a:cubicBezTo>
                  <a:pt x="66" y="52"/>
                  <a:pt x="66" y="52"/>
                  <a:pt x="66" y="52"/>
                </a:cubicBezTo>
                <a:cubicBezTo>
                  <a:pt x="69" y="52"/>
                  <a:pt x="71" y="53"/>
                  <a:pt x="73" y="54"/>
                </a:cubicBezTo>
                <a:cubicBezTo>
                  <a:pt x="74" y="56"/>
                  <a:pt x="75" y="58"/>
                  <a:pt x="75" y="60"/>
                </a:cubicBezTo>
                <a:cubicBezTo>
                  <a:pt x="75" y="62"/>
                  <a:pt x="75" y="62"/>
                  <a:pt x="75" y="62"/>
                </a:cubicBezTo>
                <a:cubicBezTo>
                  <a:pt x="75" y="65"/>
                  <a:pt x="74" y="67"/>
                  <a:pt x="73" y="68"/>
                </a:cubicBezTo>
                <a:cubicBezTo>
                  <a:pt x="71" y="69"/>
                  <a:pt x="69" y="70"/>
                  <a:pt x="66" y="70"/>
                </a:cubicBezTo>
                <a:cubicBezTo>
                  <a:pt x="41" y="70"/>
                  <a:pt x="41" y="70"/>
                  <a:pt x="41" y="70"/>
                </a:cubicBezTo>
                <a:lnTo>
                  <a:pt x="37" y="93"/>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41" name="Freeform 117"/>
          <p:cNvSpPr>
            <a:spLocks/>
          </p:cNvSpPr>
          <p:nvPr userDrawn="1"/>
        </p:nvSpPr>
        <p:spPr bwMode="auto">
          <a:xfrm>
            <a:off x="8310563" y="6000761"/>
            <a:ext cx="107951" cy="130175"/>
          </a:xfrm>
          <a:custGeom>
            <a:avLst/>
            <a:gdLst/>
            <a:ahLst/>
            <a:cxnLst>
              <a:cxn ang="0">
                <a:pos x="3" y="47"/>
              </a:cxn>
              <a:cxn ang="0">
                <a:pos x="10" y="41"/>
              </a:cxn>
              <a:cxn ang="0">
                <a:pos x="65" y="11"/>
              </a:cxn>
              <a:cxn ang="0">
                <a:pos x="73" y="7"/>
              </a:cxn>
              <a:cxn ang="0">
                <a:pos x="90" y="12"/>
              </a:cxn>
              <a:cxn ang="0">
                <a:pos x="84" y="30"/>
              </a:cxn>
              <a:cxn ang="0">
                <a:pos x="74" y="36"/>
              </a:cxn>
              <a:cxn ang="0">
                <a:pos x="32" y="57"/>
              </a:cxn>
              <a:cxn ang="0">
                <a:pos x="32" y="57"/>
              </a:cxn>
              <a:cxn ang="0">
                <a:pos x="33" y="58"/>
              </a:cxn>
              <a:cxn ang="0">
                <a:pos x="74" y="79"/>
              </a:cxn>
              <a:cxn ang="0">
                <a:pos x="85" y="84"/>
              </a:cxn>
              <a:cxn ang="0">
                <a:pos x="90" y="103"/>
              </a:cxn>
              <a:cxn ang="0">
                <a:pos x="73" y="108"/>
              </a:cxn>
              <a:cxn ang="0">
                <a:pos x="65" y="103"/>
              </a:cxn>
              <a:cxn ang="0">
                <a:pos x="10" y="73"/>
              </a:cxn>
              <a:cxn ang="0">
                <a:pos x="3" y="68"/>
              </a:cxn>
              <a:cxn ang="0">
                <a:pos x="3" y="67"/>
              </a:cxn>
              <a:cxn ang="0">
                <a:pos x="0" y="57"/>
              </a:cxn>
              <a:cxn ang="0">
                <a:pos x="3" y="47"/>
              </a:cxn>
            </a:cxnLst>
            <a:rect l="0" t="0" r="r" b="b"/>
            <a:pathLst>
              <a:path w="95" h="114">
                <a:moveTo>
                  <a:pt x="3" y="47"/>
                </a:moveTo>
                <a:cubicBezTo>
                  <a:pt x="5" y="45"/>
                  <a:pt x="7" y="43"/>
                  <a:pt x="10" y="41"/>
                </a:cubicBezTo>
                <a:cubicBezTo>
                  <a:pt x="65" y="11"/>
                  <a:pt x="65" y="11"/>
                  <a:pt x="65" y="11"/>
                </a:cubicBezTo>
                <a:cubicBezTo>
                  <a:pt x="73" y="7"/>
                  <a:pt x="73" y="7"/>
                  <a:pt x="73" y="7"/>
                </a:cubicBezTo>
                <a:cubicBezTo>
                  <a:pt x="73" y="7"/>
                  <a:pt x="84" y="0"/>
                  <a:pt x="90" y="12"/>
                </a:cubicBezTo>
                <a:cubicBezTo>
                  <a:pt x="95" y="20"/>
                  <a:pt x="92" y="26"/>
                  <a:pt x="84" y="30"/>
                </a:cubicBezTo>
                <a:cubicBezTo>
                  <a:pt x="76" y="35"/>
                  <a:pt x="74" y="36"/>
                  <a:pt x="74" y="36"/>
                </a:cubicBezTo>
                <a:cubicBezTo>
                  <a:pt x="32" y="57"/>
                  <a:pt x="32" y="57"/>
                  <a:pt x="32" y="57"/>
                </a:cubicBezTo>
                <a:cubicBezTo>
                  <a:pt x="32" y="57"/>
                  <a:pt x="32" y="57"/>
                  <a:pt x="32" y="57"/>
                </a:cubicBezTo>
                <a:cubicBezTo>
                  <a:pt x="33" y="58"/>
                  <a:pt x="33" y="58"/>
                  <a:pt x="33" y="58"/>
                </a:cubicBezTo>
                <a:cubicBezTo>
                  <a:pt x="74" y="79"/>
                  <a:pt x="74" y="79"/>
                  <a:pt x="74" y="79"/>
                </a:cubicBezTo>
                <a:cubicBezTo>
                  <a:pt x="74" y="79"/>
                  <a:pt x="76" y="80"/>
                  <a:pt x="85" y="84"/>
                </a:cubicBezTo>
                <a:cubicBezTo>
                  <a:pt x="92" y="89"/>
                  <a:pt x="95" y="94"/>
                  <a:pt x="90" y="103"/>
                </a:cubicBezTo>
                <a:cubicBezTo>
                  <a:pt x="84" y="114"/>
                  <a:pt x="73" y="108"/>
                  <a:pt x="73" y="108"/>
                </a:cubicBezTo>
                <a:cubicBezTo>
                  <a:pt x="65" y="103"/>
                  <a:pt x="65" y="103"/>
                  <a:pt x="65" y="103"/>
                </a:cubicBezTo>
                <a:cubicBezTo>
                  <a:pt x="10" y="73"/>
                  <a:pt x="10" y="73"/>
                  <a:pt x="10" y="73"/>
                </a:cubicBezTo>
                <a:cubicBezTo>
                  <a:pt x="7" y="72"/>
                  <a:pt x="5" y="70"/>
                  <a:pt x="3" y="68"/>
                </a:cubicBezTo>
                <a:cubicBezTo>
                  <a:pt x="3" y="67"/>
                  <a:pt x="3" y="67"/>
                  <a:pt x="3" y="67"/>
                </a:cubicBezTo>
                <a:cubicBezTo>
                  <a:pt x="1" y="65"/>
                  <a:pt x="0" y="62"/>
                  <a:pt x="0" y="57"/>
                </a:cubicBezTo>
                <a:cubicBezTo>
                  <a:pt x="0" y="53"/>
                  <a:pt x="1" y="49"/>
                  <a:pt x="3" y="4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45" name="Freeform 121"/>
          <p:cNvSpPr>
            <a:spLocks/>
          </p:cNvSpPr>
          <p:nvPr userDrawn="1"/>
        </p:nvSpPr>
        <p:spPr bwMode="auto">
          <a:xfrm>
            <a:off x="8596318" y="5983298"/>
            <a:ext cx="96837" cy="163513"/>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49" name="Freeform 125"/>
          <p:cNvSpPr>
            <a:spLocks/>
          </p:cNvSpPr>
          <p:nvPr userDrawn="1"/>
        </p:nvSpPr>
        <p:spPr bwMode="auto">
          <a:xfrm>
            <a:off x="8861386" y="6003927"/>
            <a:ext cx="107948" cy="130175"/>
          </a:xfrm>
          <a:custGeom>
            <a:avLst/>
            <a:gdLst/>
            <a:ahLst/>
            <a:cxnLst>
              <a:cxn ang="0">
                <a:pos x="92" y="47"/>
              </a:cxn>
              <a:cxn ang="0">
                <a:pos x="85" y="41"/>
              </a:cxn>
              <a:cxn ang="0">
                <a:pos x="30" y="11"/>
              </a:cxn>
              <a:cxn ang="0">
                <a:pos x="22" y="7"/>
              </a:cxn>
              <a:cxn ang="0">
                <a:pos x="5" y="12"/>
              </a:cxn>
              <a:cxn ang="0">
                <a:pos x="10" y="30"/>
              </a:cxn>
              <a:cxn ang="0">
                <a:pos x="20" y="36"/>
              </a:cxn>
              <a:cxn ang="0">
                <a:pos x="62" y="57"/>
              </a:cxn>
              <a:cxn ang="0">
                <a:pos x="63" y="57"/>
              </a:cxn>
              <a:cxn ang="0">
                <a:pos x="62" y="58"/>
              </a:cxn>
              <a:cxn ang="0">
                <a:pos x="20" y="79"/>
              </a:cxn>
              <a:cxn ang="0">
                <a:pos x="10" y="84"/>
              </a:cxn>
              <a:cxn ang="0">
                <a:pos x="4" y="103"/>
              </a:cxn>
              <a:cxn ang="0">
                <a:pos x="22" y="108"/>
              </a:cxn>
              <a:cxn ang="0">
                <a:pos x="30" y="103"/>
              </a:cxn>
              <a:cxn ang="0">
                <a:pos x="85" y="73"/>
              </a:cxn>
              <a:cxn ang="0">
                <a:pos x="92" y="68"/>
              </a:cxn>
              <a:cxn ang="0">
                <a:pos x="92" y="67"/>
              </a:cxn>
              <a:cxn ang="0">
                <a:pos x="95" y="57"/>
              </a:cxn>
              <a:cxn ang="0">
                <a:pos x="92" y="47"/>
              </a:cxn>
            </a:cxnLst>
            <a:rect l="0" t="0" r="r" b="b"/>
            <a:pathLst>
              <a:path w="95" h="114">
                <a:moveTo>
                  <a:pt x="92" y="47"/>
                </a:moveTo>
                <a:cubicBezTo>
                  <a:pt x="90" y="45"/>
                  <a:pt x="88" y="43"/>
                  <a:pt x="85" y="41"/>
                </a:cubicBezTo>
                <a:cubicBezTo>
                  <a:pt x="30" y="11"/>
                  <a:pt x="30" y="11"/>
                  <a:pt x="30" y="11"/>
                </a:cubicBezTo>
                <a:cubicBezTo>
                  <a:pt x="22" y="7"/>
                  <a:pt x="22" y="7"/>
                  <a:pt x="22" y="7"/>
                </a:cubicBezTo>
                <a:cubicBezTo>
                  <a:pt x="22" y="7"/>
                  <a:pt x="11" y="0"/>
                  <a:pt x="5" y="12"/>
                </a:cubicBezTo>
                <a:cubicBezTo>
                  <a:pt x="0" y="20"/>
                  <a:pt x="3" y="26"/>
                  <a:pt x="10" y="30"/>
                </a:cubicBezTo>
                <a:cubicBezTo>
                  <a:pt x="19" y="35"/>
                  <a:pt x="20" y="36"/>
                  <a:pt x="20" y="36"/>
                </a:cubicBezTo>
                <a:cubicBezTo>
                  <a:pt x="62" y="57"/>
                  <a:pt x="62" y="57"/>
                  <a:pt x="62" y="57"/>
                </a:cubicBezTo>
                <a:cubicBezTo>
                  <a:pt x="63" y="57"/>
                  <a:pt x="63" y="57"/>
                  <a:pt x="63" y="57"/>
                </a:cubicBezTo>
                <a:cubicBezTo>
                  <a:pt x="62" y="58"/>
                  <a:pt x="62" y="58"/>
                  <a:pt x="62" y="58"/>
                </a:cubicBezTo>
                <a:cubicBezTo>
                  <a:pt x="20" y="79"/>
                  <a:pt x="20" y="79"/>
                  <a:pt x="20" y="79"/>
                </a:cubicBezTo>
                <a:cubicBezTo>
                  <a:pt x="20" y="79"/>
                  <a:pt x="19" y="80"/>
                  <a:pt x="10" y="84"/>
                </a:cubicBezTo>
                <a:cubicBezTo>
                  <a:pt x="2" y="89"/>
                  <a:pt x="0" y="94"/>
                  <a:pt x="4" y="103"/>
                </a:cubicBezTo>
                <a:cubicBezTo>
                  <a:pt x="11" y="114"/>
                  <a:pt x="22" y="108"/>
                  <a:pt x="22" y="108"/>
                </a:cubicBezTo>
                <a:cubicBezTo>
                  <a:pt x="30" y="103"/>
                  <a:pt x="30" y="103"/>
                  <a:pt x="30" y="103"/>
                </a:cubicBezTo>
                <a:cubicBezTo>
                  <a:pt x="85" y="73"/>
                  <a:pt x="85" y="73"/>
                  <a:pt x="85" y="73"/>
                </a:cubicBezTo>
                <a:cubicBezTo>
                  <a:pt x="88" y="72"/>
                  <a:pt x="90" y="70"/>
                  <a:pt x="92" y="68"/>
                </a:cubicBezTo>
                <a:cubicBezTo>
                  <a:pt x="92" y="67"/>
                  <a:pt x="92" y="67"/>
                  <a:pt x="92" y="67"/>
                </a:cubicBezTo>
                <a:cubicBezTo>
                  <a:pt x="94" y="65"/>
                  <a:pt x="95" y="62"/>
                  <a:pt x="95" y="57"/>
                </a:cubicBezTo>
                <a:cubicBezTo>
                  <a:pt x="95" y="53"/>
                  <a:pt x="94" y="49"/>
                  <a:pt x="92" y="4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53" name="Freeform 129"/>
          <p:cNvSpPr>
            <a:spLocks noEditPoints="1"/>
          </p:cNvSpPr>
          <p:nvPr userDrawn="1"/>
        </p:nvSpPr>
        <p:spPr bwMode="auto">
          <a:xfrm>
            <a:off x="9142416" y="6002348"/>
            <a:ext cx="85724" cy="128587"/>
          </a:xfrm>
          <a:custGeom>
            <a:avLst/>
            <a:gdLst/>
            <a:ahLst/>
            <a:cxnLst>
              <a:cxn ang="0">
                <a:pos x="34" y="79"/>
              </a:cxn>
              <a:cxn ang="0">
                <a:pos x="27" y="77"/>
              </a:cxn>
              <a:cxn ang="0">
                <a:pos x="24" y="70"/>
              </a:cxn>
              <a:cxn ang="0">
                <a:pos x="27" y="59"/>
              </a:cxn>
              <a:cxn ang="0">
                <a:pos x="32" y="51"/>
              </a:cxn>
              <a:cxn ang="0">
                <a:pos x="39" y="46"/>
              </a:cxn>
              <a:cxn ang="0">
                <a:pos x="46" y="42"/>
              </a:cxn>
              <a:cxn ang="0">
                <a:pos x="52" y="38"/>
              </a:cxn>
              <a:cxn ang="0">
                <a:pos x="54" y="32"/>
              </a:cxn>
              <a:cxn ang="0">
                <a:pos x="50" y="23"/>
              </a:cxn>
              <a:cxn ang="0">
                <a:pos x="38" y="19"/>
              </a:cxn>
              <a:cxn ang="0">
                <a:pos x="29" y="21"/>
              </a:cxn>
              <a:cxn ang="0">
                <a:pos x="22" y="26"/>
              </a:cxn>
              <a:cxn ang="0">
                <a:pos x="18" y="32"/>
              </a:cxn>
              <a:cxn ang="0">
                <a:pos x="16" y="39"/>
              </a:cxn>
              <a:cxn ang="0">
                <a:pos x="14" y="39"/>
              </a:cxn>
              <a:cxn ang="0">
                <a:pos x="8" y="38"/>
              </a:cxn>
              <a:cxn ang="0">
                <a:pos x="2" y="34"/>
              </a:cxn>
              <a:cxn ang="0">
                <a:pos x="0" y="27"/>
              </a:cxn>
              <a:cxn ang="0">
                <a:pos x="2" y="18"/>
              </a:cxn>
              <a:cxn ang="0">
                <a:pos x="10" y="9"/>
              </a:cxn>
              <a:cxn ang="0">
                <a:pos x="22" y="2"/>
              </a:cxn>
              <a:cxn ang="0">
                <a:pos x="39" y="0"/>
              </a:cxn>
              <a:cxn ang="0">
                <a:pos x="55" y="2"/>
              </a:cxn>
              <a:cxn ang="0">
                <a:pos x="67" y="8"/>
              </a:cxn>
              <a:cxn ang="0">
                <a:pos x="74" y="18"/>
              </a:cxn>
              <a:cxn ang="0">
                <a:pos x="77" y="30"/>
              </a:cxn>
              <a:cxn ang="0">
                <a:pos x="75" y="42"/>
              </a:cxn>
              <a:cxn ang="0">
                <a:pos x="69" y="50"/>
              </a:cxn>
              <a:cxn ang="0">
                <a:pos x="61" y="55"/>
              </a:cxn>
              <a:cxn ang="0">
                <a:pos x="53" y="60"/>
              </a:cxn>
              <a:cxn ang="0">
                <a:pos x="47" y="66"/>
              </a:cxn>
              <a:cxn ang="0">
                <a:pos x="44" y="74"/>
              </a:cxn>
              <a:cxn ang="0">
                <a:pos x="34" y="79"/>
              </a:cxn>
              <a:cxn ang="0">
                <a:pos x="22" y="102"/>
              </a:cxn>
              <a:cxn ang="0">
                <a:pos x="22" y="99"/>
              </a:cxn>
              <a:cxn ang="0">
                <a:pos x="33" y="88"/>
              </a:cxn>
              <a:cxn ang="0">
                <a:pos x="36" y="88"/>
              </a:cxn>
              <a:cxn ang="0">
                <a:pos x="48" y="99"/>
              </a:cxn>
              <a:cxn ang="0">
                <a:pos x="48" y="102"/>
              </a:cxn>
              <a:cxn ang="0">
                <a:pos x="36" y="113"/>
              </a:cxn>
              <a:cxn ang="0">
                <a:pos x="33" y="113"/>
              </a:cxn>
              <a:cxn ang="0">
                <a:pos x="22" y="102"/>
              </a:cxn>
            </a:cxnLst>
            <a:rect l="0" t="0" r="r" b="b"/>
            <a:pathLst>
              <a:path w="77" h="113">
                <a:moveTo>
                  <a:pt x="34" y="79"/>
                </a:moveTo>
                <a:cubicBezTo>
                  <a:pt x="31" y="79"/>
                  <a:pt x="29" y="78"/>
                  <a:pt x="27" y="77"/>
                </a:cubicBezTo>
                <a:cubicBezTo>
                  <a:pt x="25" y="75"/>
                  <a:pt x="24" y="73"/>
                  <a:pt x="24" y="70"/>
                </a:cubicBezTo>
                <a:cubicBezTo>
                  <a:pt x="25" y="66"/>
                  <a:pt x="25" y="62"/>
                  <a:pt x="27" y="59"/>
                </a:cubicBezTo>
                <a:cubicBezTo>
                  <a:pt x="28" y="56"/>
                  <a:pt x="30" y="53"/>
                  <a:pt x="32" y="51"/>
                </a:cubicBezTo>
                <a:cubicBezTo>
                  <a:pt x="35" y="49"/>
                  <a:pt x="37" y="47"/>
                  <a:pt x="39" y="46"/>
                </a:cubicBezTo>
                <a:cubicBezTo>
                  <a:pt x="42" y="45"/>
                  <a:pt x="44" y="43"/>
                  <a:pt x="46" y="42"/>
                </a:cubicBezTo>
                <a:cubicBezTo>
                  <a:pt x="49" y="41"/>
                  <a:pt x="50" y="39"/>
                  <a:pt x="52" y="38"/>
                </a:cubicBezTo>
                <a:cubicBezTo>
                  <a:pt x="53" y="36"/>
                  <a:pt x="54" y="34"/>
                  <a:pt x="54" y="32"/>
                </a:cubicBezTo>
                <a:cubicBezTo>
                  <a:pt x="54" y="28"/>
                  <a:pt x="53" y="25"/>
                  <a:pt x="50" y="23"/>
                </a:cubicBezTo>
                <a:cubicBezTo>
                  <a:pt x="47" y="20"/>
                  <a:pt x="43" y="19"/>
                  <a:pt x="38" y="19"/>
                </a:cubicBezTo>
                <a:cubicBezTo>
                  <a:pt x="35" y="19"/>
                  <a:pt x="32" y="20"/>
                  <a:pt x="29" y="21"/>
                </a:cubicBezTo>
                <a:cubicBezTo>
                  <a:pt x="26" y="22"/>
                  <a:pt x="24" y="24"/>
                  <a:pt x="22" y="26"/>
                </a:cubicBezTo>
                <a:cubicBezTo>
                  <a:pt x="21" y="27"/>
                  <a:pt x="19" y="29"/>
                  <a:pt x="18" y="32"/>
                </a:cubicBezTo>
                <a:cubicBezTo>
                  <a:pt x="17" y="34"/>
                  <a:pt x="16" y="37"/>
                  <a:pt x="16" y="39"/>
                </a:cubicBezTo>
                <a:cubicBezTo>
                  <a:pt x="16" y="39"/>
                  <a:pt x="15" y="39"/>
                  <a:pt x="14" y="39"/>
                </a:cubicBezTo>
                <a:cubicBezTo>
                  <a:pt x="12" y="39"/>
                  <a:pt x="10" y="39"/>
                  <a:pt x="8" y="38"/>
                </a:cubicBezTo>
                <a:cubicBezTo>
                  <a:pt x="6" y="37"/>
                  <a:pt x="4" y="36"/>
                  <a:pt x="2" y="34"/>
                </a:cubicBezTo>
                <a:cubicBezTo>
                  <a:pt x="1" y="33"/>
                  <a:pt x="0" y="30"/>
                  <a:pt x="0" y="27"/>
                </a:cubicBezTo>
                <a:cubicBezTo>
                  <a:pt x="0" y="24"/>
                  <a:pt x="1" y="21"/>
                  <a:pt x="2" y="18"/>
                </a:cubicBezTo>
                <a:cubicBezTo>
                  <a:pt x="4" y="14"/>
                  <a:pt x="6" y="11"/>
                  <a:pt x="10" y="9"/>
                </a:cubicBezTo>
                <a:cubicBezTo>
                  <a:pt x="13" y="6"/>
                  <a:pt x="17" y="4"/>
                  <a:pt x="22" y="2"/>
                </a:cubicBezTo>
                <a:cubicBezTo>
                  <a:pt x="26" y="1"/>
                  <a:pt x="32" y="0"/>
                  <a:pt x="39" y="0"/>
                </a:cubicBezTo>
                <a:cubicBezTo>
                  <a:pt x="45" y="0"/>
                  <a:pt x="50" y="0"/>
                  <a:pt x="55" y="2"/>
                </a:cubicBezTo>
                <a:cubicBezTo>
                  <a:pt x="59" y="3"/>
                  <a:pt x="63" y="5"/>
                  <a:pt x="67" y="8"/>
                </a:cubicBezTo>
                <a:cubicBezTo>
                  <a:pt x="70" y="11"/>
                  <a:pt x="73" y="14"/>
                  <a:pt x="74" y="18"/>
                </a:cubicBezTo>
                <a:cubicBezTo>
                  <a:pt x="76" y="21"/>
                  <a:pt x="77" y="26"/>
                  <a:pt x="77" y="30"/>
                </a:cubicBezTo>
                <a:cubicBezTo>
                  <a:pt x="77" y="35"/>
                  <a:pt x="76" y="39"/>
                  <a:pt x="75" y="42"/>
                </a:cubicBezTo>
                <a:cubicBezTo>
                  <a:pt x="73" y="45"/>
                  <a:pt x="71" y="47"/>
                  <a:pt x="69" y="50"/>
                </a:cubicBezTo>
                <a:cubicBezTo>
                  <a:pt x="67" y="52"/>
                  <a:pt x="64" y="54"/>
                  <a:pt x="61" y="55"/>
                </a:cubicBezTo>
                <a:cubicBezTo>
                  <a:pt x="58" y="57"/>
                  <a:pt x="56" y="58"/>
                  <a:pt x="53" y="60"/>
                </a:cubicBezTo>
                <a:cubicBezTo>
                  <a:pt x="51" y="62"/>
                  <a:pt x="49" y="64"/>
                  <a:pt x="47" y="66"/>
                </a:cubicBezTo>
                <a:cubicBezTo>
                  <a:pt x="45" y="68"/>
                  <a:pt x="45" y="71"/>
                  <a:pt x="44" y="74"/>
                </a:cubicBezTo>
                <a:cubicBezTo>
                  <a:pt x="43" y="77"/>
                  <a:pt x="40" y="79"/>
                  <a:pt x="34" y="79"/>
                </a:cubicBezTo>
                <a:close/>
                <a:moveTo>
                  <a:pt x="22" y="102"/>
                </a:moveTo>
                <a:cubicBezTo>
                  <a:pt x="22" y="99"/>
                  <a:pt x="22" y="99"/>
                  <a:pt x="22" y="99"/>
                </a:cubicBezTo>
                <a:cubicBezTo>
                  <a:pt x="22" y="92"/>
                  <a:pt x="26" y="88"/>
                  <a:pt x="33" y="88"/>
                </a:cubicBezTo>
                <a:cubicBezTo>
                  <a:pt x="36" y="88"/>
                  <a:pt x="36" y="88"/>
                  <a:pt x="36" y="88"/>
                </a:cubicBezTo>
                <a:cubicBezTo>
                  <a:pt x="44" y="88"/>
                  <a:pt x="48" y="92"/>
                  <a:pt x="48" y="99"/>
                </a:cubicBezTo>
                <a:cubicBezTo>
                  <a:pt x="48" y="102"/>
                  <a:pt x="48" y="102"/>
                  <a:pt x="48" y="102"/>
                </a:cubicBezTo>
                <a:cubicBezTo>
                  <a:pt x="48" y="109"/>
                  <a:pt x="44" y="113"/>
                  <a:pt x="36" y="113"/>
                </a:cubicBezTo>
                <a:cubicBezTo>
                  <a:pt x="33" y="113"/>
                  <a:pt x="33" y="113"/>
                  <a:pt x="33" y="113"/>
                </a:cubicBezTo>
                <a:cubicBezTo>
                  <a:pt x="26" y="113"/>
                  <a:pt x="22" y="109"/>
                  <a:pt x="22" y="102"/>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57" name="Freeform 133"/>
          <p:cNvSpPr>
            <a:spLocks noEditPoints="1"/>
          </p:cNvSpPr>
          <p:nvPr userDrawn="1"/>
        </p:nvSpPr>
        <p:spPr bwMode="auto">
          <a:xfrm>
            <a:off x="9405943" y="6034089"/>
            <a:ext cx="87311" cy="58739"/>
          </a:xfrm>
          <a:custGeom>
            <a:avLst/>
            <a:gdLst/>
            <a:ahLst/>
            <a:cxnLst>
              <a:cxn ang="0">
                <a:pos x="10" y="51"/>
              </a:cxn>
              <a:cxn ang="0">
                <a:pos x="5" y="50"/>
              </a:cxn>
              <a:cxn ang="0">
                <a:pos x="2" y="48"/>
              </a:cxn>
              <a:cxn ang="0">
                <a:pos x="1" y="43"/>
              </a:cxn>
              <a:cxn ang="0">
                <a:pos x="10" y="11"/>
              </a:cxn>
              <a:cxn ang="0">
                <a:pos x="14" y="2"/>
              </a:cxn>
              <a:cxn ang="0">
                <a:pos x="23" y="0"/>
              </a:cxn>
              <a:cxn ang="0">
                <a:pos x="26" y="0"/>
              </a:cxn>
              <a:cxn ang="0">
                <a:pos x="34" y="2"/>
              </a:cxn>
              <a:cxn ang="0">
                <a:pos x="37" y="11"/>
              </a:cxn>
              <a:cxn ang="0">
                <a:pos x="37" y="13"/>
              </a:cxn>
              <a:cxn ang="0">
                <a:pos x="30" y="27"/>
              </a:cxn>
              <a:cxn ang="0">
                <a:pos x="15" y="49"/>
              </a:cxn>
              <a:cxn ang="0">
                <a:pos x="10" y="51"/>
              </a:cxn>
              <a:cxn ang="0">
                <a:pos x="50" y="51"/>
              </a:cxn>
              <a:cxn ang="0">
                <a:pos x="45" y="50"/>
              </a:cxn>
              <a:cxn ang="0">
                <a:pos x="41" y="48"/>
              </a:cxn>
              <a:cxn ang="0">
                <a:pos x="40" y="43"/>
              </a:cxn>
              <a:cxn ang="0">
                <a:pos x="49" y="11"/>
              </a:cxn>
              <a:cxn ang="0">
                <a:pos x="53" y="2"/>
              </a:cxn>
              <a:cxn ang="0">
                <a:pos x="62" y="0"/>
              </a:cxn>
              <a:cxn ang="0">
                <a:pos x="65" y="0"/>
              </a:cxn>
              <a:cxn ang="0">
                <a:pos x="73" y="2"/>
              </a:cxn>
              <a:cxn ang="0">
                <a:pos x="76" y="11"/>
              </a:cxn>
              <a:cxn ang="0">
                <a:pos x="76" y="13"/>
              </a:cxn>
              <a:cxn ang="0">
                <a:pos x="70" y="27"/>
              </a:cxn>
              <a:cxn ang="0">
                <a:pos x="54" y="49"/>
              </a:cxn>
              <a:cxn ang="0">
                <a:pos x="50" y="51"/>
              </a:cxn>
            </a:cxnLst>
            <a:rect l="0" t="0" r="r" b="b"/>
            <a:pathLst>
              <a:path w="76" h="51">
                <a:moveTo>
                  <a:pt x="10" y="51"/>
                </a:moveTo>
                <a:cubicBezTo>
                  <a:pt x="9" y="51"/>
                  <a:pt x="7" y="51"/>
                  <a:pt x="5" y="50"/>
                </a:cubicBezTo>
                <a:cubicBezTo>
                  <a:pt x="4" y="50"/>
                  <a:pt x="3" y="49"/>
                  <a:pt x="2" y="48"/>
                </a:cubicBezTo>
                <a:cubicBezTo>
                  <a:pt x="1" y="46"/>
                  <a:pt x="0" y="44"/>
                  <a:pt x="1" y="43"/>
                </a:cubicBezTo>
                <a:cubicBezTo>
                  <a:pt x="10" y="11"/>
                  <a:pt x="10" y="11"/>
                  <a:pt x="10" y="11"/>
                </a:cubicBezTo>
                <a:cubicBezTo>
                  <a:pt x="11" y="7"/>
                  <a:pt x="12" y="4"/>
                  <a:pt x="14" y="2"/>
                </a:cubicBezTo>
                <a:cubicBezTo>
                  <a:pt x="15" y="1"/>
                  <a:pt x="18" y="0"/>
                  <a:pt x="23" y="0"/>
                </a:cubicBezTo>
                <a:cubicBezTo>
                  <a:pt x="26" y="0"/>
                  <a:pt x="26" y="0"/>
                  <a:pt x="26" y="0"/>
                </a:cubicBezTo>
                <a:cubicBezTo>
                  <a:pt x="29" y="0"/>
                  <a:pt x="32" y="1"/>
                  <a:pt x="34" y="2"/>
                </a:cubicBezTo>
                <a:cubicBezTo>
                  <a:pt x="36" y="4"/>
                  <a:pt x="37" y="7"/>
                  <a:pt x="37" y="11"/>
                </a:cubicBezTo>
                <a:cubicBezTo>
                  <a:pt x="37" y="13"/>
                  <a:pt x="37" y="13"/>
                  <a:pt x="37" y="13"/>
                </a:cubicBezTo>
                <a:cubicBezTo>
                  <a:pt x="37" y="18"/>
                  <a:pt x="34" y="22"/>
                  <a:pt x="30" y="27"/>
                </a:cubicBezTo>
                <a:cubicBezTo>
                  <a:pt x="15" y="49"/>
                  <a:pt x="15" y="49"/>
                  <a:pt x="15" y="49"/>
                </a:cubicBezTo>
                <a:cubicBezTo>
                  <a:pt x="14" y="50"/>
                  <a:pt x="12" y="51"/>
                  <a:pt x="10" y="51"/>
                </a:cubicBezTo>
                <a:close/>
                <a:moveTo>
                  <a:pt x="50" y="51"/>
                </a:moveTo>
                <a:cubicBezTo>
                  <a:pt x="48" y="51"/>
                  <a:pt x="46" y="51"/>
                  <a:pt x="45" y="50"/>
                </a:cubicBezTo>
                <a:cubicBezTo>
                  <a:pt x="43" y="50"/>
                  <a:pt x="42" y="49"/>
                  <a:pt x="41" y="48"/>
                </a:cubicBezTo>
                <a:cubicBezTo>
                  <a:pt x="40" y="46"/>
                  <a:pt x="40" y="44"/>
                  <a:pt x="40" y="43"/>
                </a:cubicBezTo>
                <a:cubicBezTo>
                  <a:pt x="49" y="11"/>
                  <a:pt x="49" y="11"/>
                  <a:pt x="49" y="11"/>
                </a:cubicBezTo>
                <a:cubicBezTo>
                  <a:pt x="50" y="7"/>
                  <a:pt x="51" y="4"/>
                  <a:pt x="53" y="2"/>
                </a:cubicBezTo>
                <a:cubicBezTo>
                  <a:pt x="55" y="1"/>
                  <a:pt x="58" y="0"/>
                  <a:pt x="62" y="0"/>
                </a:cubicBezTo>
                <a:cubicBezTo>
                  <a:pt x="65" y="0"/>
                  <a:pt x="65" y="0"/>
                  <a:pt x="65" y="0"/>
                </a:cubicBezTo>
                <a:cubicBezTo>
                  <a:pt x="68" y="0"/>
                  <a:pt x="71" y="1"/>
                  <a:pt x="73" y="2"/>
                </a:cubicBezTo>
                <a:cubicBezTo>
                  <a:pt x="75" y="4"/>
                  <a:pt x="76" y="7"/>
                  <a:pt x="76" y="11"/>
                </a:cubicBezTo>
                <a:cubicBezTo>
                  <a:pt x="76" y="13"/>
                  <a:pt x="76" y="13"/>
                  <a:pt x="76" y="13"/>
                </a:cubicBezTo>
                <a:cubicBezTo>
                  <a:pt x="76" y="17"/>
                  <a:pt x="74" y="22"/>
                  <a:pt x="70" y="27"/>
                </a:cubicBezTo>
                <a:cubicBezTo>
                  <a:pt x="54" y="49"/>
                  <a:pt x="54" y="49"/>
                  <a:pt x="54" y="49"/>
                </a:cubicBezTo>
                <a:cubicBezTo>
                  <a:pt x="53" y="50"/>
                  <a:pt x="52" y="51"/>
                  <a:pt x="50" y="5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61" name="Freeform 137"/>
          <p:cNvSpPr>
            <a:spLocks/>
          </p:cNvSpPr>
          <p:nvPr userDrawn="1"/>
        </p:nvSpPr>
        <p:spPr bwMode="auto">
          <a:xfrm>
            <a:off x="9667880" y="5981702"/>
            <a:ext cx="74613" cy="165100"/>
          </a:xfrm>
          <a:custGeom>
            <a:avLst/>
            <a:gdLst/>
            <a:ahLst/>
            <a:cxnLst>
              <a:cxn ang="0">
                <a:pos x="57" y="110"/>
              </a:cxn>
              <a:cxn ang="0">
                <a:pos x="64" y="130"/>
              </a:cxn>
              <a:cxn ang="0">
                <a:pos x="65" y="140"/>
              </a:cxn>
              <a:cxn ang="0">
                <a:pos x="58" y="145"/>
              </a:cxn>
              <a:cxn ang="0">
                <a:pos x="57" y="145"/>
              </a:cxn>
              <a:cxn ang="0">
                <a:pos x="48" y="145"/>
              </a:cxn>
              <a:cxn ang="0">
                <a:pos x="43" y="137"/>
              </a:cxn>
              <a:cxn ang="0">
                <a:pos x="39" y="125"/>
              </a:cxn>
              <a:cxn ang="0">
                <a:pos x="38" y="121"/>
              </a:cxn>
              <a:cxn ang="0">
                <a:pos x="11" y="42"/>
              </a:cxn>
              <a:cxn ang="0">
                <a:pos x="10" y="40"/>
              </a:cxn>
              <a:cxn ang="0">
                <a:pos x="2" y="16"/>
              </a:cxn>
              <a:cxn ang="0">
                <a:pos x="8" y="2"/>
              </a:cxn>
              <a:cxn ang="0">
                <a:pos x="10" y="1"/>
              </a:cxn>
              <a:cxn ang="0">
                <a:pos x="23" y="9"/>
              </a:cxn>
              <a:cxn ang="0">
                <a:pos x="32" y="34"/>
              </a:cxn>
              <a:cxn ang="0">
                <a:pos x="34" y="41"/>
              </a:cxn>
              <a:cxn ang="0">
                <a:pos x="57" y="110"/>
              </a:cxn>
            </a:cxnLst>
            <a:rect l="0" t="0" r="r" b="b"/>
            <a:pathLst>
              <a:path w="66" h="146">
                <a:moveTo>
                  <a:pt x="57" y="110"/>
                </a:moveTo>
                <a:cubicBezTo>
                  <a:pt x="64" y="130"/>
                  <a:pt x="64" y="130"/>
                  <a:pt x="64" y="130"/>
                </a:cubicBezTo>
                <a:cubicBezTo>
                  <a:pt x="66" y="134"/>
                  <a:pt x="66" y="138"/>
                  <a:pt x="65" y="140"/>
                </a:cubicBezTo>
                <a:cubicBezTo>
                  <a:pt x="64" y="142"/>
                  <a:pt x="62" y="144"/>
                  <a:pt x="58" y="145"/>
                </a:cubicBezTo>
                <a:cubicBezTo>
                  <a:pt x="57" y="145"/>
                  <a:pt x="57" y="145"/>
                  <a:pt x="57" y="145"/>
                </a:cubicBezTo>
                <a:cubicBezTo>
                  <a:pt x="54" y="146"/>
                  <a:pt x="51" y="146"/>
                  <a:pt x="48" y="145"/>
                </a:cubicBezTo>
                <a:cubicBezTo>
                  <a:pt x="46" y="143"/>
                  <a:pt x="44" y="141"/>
                  <a:pt x="43" y="137"/>
                </a:cubicBezTo>
                <a:cubicBezTo>
                  <a:pt x="39" y="125"/>
                  <a:pt x="39" y="125"/>
                  <a:pt x="39" y="125"/>
                </a:cubicBezTo>
                <a:cubicBezTo>
                  <a:pt x="39" y="125"/>
                  <a:pt x="39" y="125"/>
                  <a:pt x="38" y="121"/>
                </a:cubicBezTo>
                <a:cubicBezTo>
                  <a:pt x="11" y="42"/>
                  <a:pt x="11" y="42"/>
                  <a:pt x="11" y="42"/>
                </a:cubicBezTo>
                <a:cubicBezTo>
                  <a:pt x="10" y="38"/>
                  <a:pt x="10" y="40"/>
                  <a:pt x="10" y="40"/>
                </a:cubicBezTo>
                <a:cubicBezTo>
                  <a:pt x="2" y="16"/>
                  <a:pt x="2" y="16"/>
                  <a:pt x="2" y="16"/>
                </a:cubicBezTo>
                <a:cubicBezTo>
                  <a:pt x="0" y="8"/>
                  <a:pt x="2" y="4"/>
                  <a:pt x="8" y="2"/>
                </a:cubicBezTo>
                <a:cubicBezTo>
                  <a:pt x="10" y="1"/>
                  <a:pt x="10" y="1"/>
                  <a:pt x="10" y="1"/>
                </a:cubicBezTo>
                <a:cubicBezTo>
                  <a:pt x="16" y="0"/>
                  <a:pt x="21" y="2"/>
                  <a:pt x="23" y="9"/>
                </a:cubicBezTo>
                <a:cubicBezTo>
                  <a:pt x="32" y="34"/>
                  <a:pt x="32" y="34"/>
                  <a:pt x="32" y="34"/>
                </a:cubicBezTo>
                <a:cubicBezTo>
                  <a:pt x="34" y="41"/>
                  <a:pt x="34" y="41"/>
                  <a:pt x="34" y="41"/>
                </a:cubicBezTo>
                <a:cubicBezTo>
                  <a:pt x="57" y="110"/>
                  <a:pt x="57" y="110"/>
                  <a:pt x="57" y="110"/>
                </a:cubicBezTo>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65" name="Freeform 141"/>
          <p:cNvSpPr>
            <a:spLocks/>
          </p:cNvSpPr>
          <p:nvPr userDrawn="1"/>
        </p:nvSpPr>
        <p:spPr bwMode="auto">
          <a:xfrm>
            <a:off x="9923463" y="5980115"/>
            <a:ext cx="74613" cy="165100"/>
          </a:xfrm>
          <a:custGeom>
            <a:avLst/>
            <a:gdLst/>
            <a:ahLst/>
            <a:cxnLst>
              <a:cxn ang="0">
                <a:pos x="8" y="110"/>
              </a:cxn>
              <a:cxn ang="0">
                <a:pos x="32" y="41"/>
              </a:cxn>
              <a:cxn ang="0">
                <a:pos x="34" y="34"/>
              </a:cxn>
              <a:cxn ang="0">
                <a:pos x="42" y="9"/>
              </a:cxn>
              <a:cxn ang="0">
                <a:pos x="56" y="1"/>
              </a:cxn>
              <a:cxn ang="0">
                <a:pos x="57" y="2"/>
              </a:cxn>
              <a:cxn ang="0">
                <a:pos x="64" y="16"/>
              </a:cxn>
              <a:cxn ang="0">
                <a:pos x="55" y="40"/>
              </a:cxn>
              <a:cxn ang="0">
                <a:pos x="55" y="42"/>
              </a:cxn>
              <a:cxn ang="0">
                <a:pos x="28" y="121"/>
              </a:cxn>
              <a:cxn ang="0">
                <a:pos x="26" y="125"/>
              </a:cxn>
              <a:cxn ang="0">
                <a:pos x="23" y="137"/>
              </a:cxn>
              <a:cxn ang="0">
                <a:pos x="17" y="145"/>
              </a:cxn>
              <a:cxn ang="0">
                <a:pos x="8" y="145"/>
              </a:cxn>
              <a:cxn ang="0">
                <a:pos x="7" y="145"/>
              </a:cxn>
              <a:cxn ang="0">
                <a:pos x="1" y="140"/>
              </a:cxn>
              <a:cxn ang="0">
                <a:pos x="1" y="130"/>
              </a:cxn>
              <a:cxn ang="0">
                <a:pos x="8" y="110"/>
              </a:cxn>
            </a:cxnLst>
            <a:rect l="0" t="0" r="r" b="b"/>
            <a:pathLst>
              <a:path w="66" h="146">
                <a:moveTo>
                  <a:pt x="8" y="110"/>
                </a:moveTo>
                <a:cubicBezTo>
                  <a:pt x="32" y="41"/>
                  <a:pt x="32" y="41"/>
                  <a:pt x="32" y="41"/>
                </a:cubicBezTo>
                <a:cubicBezTo>
                  <a:pt x="34" y="34"/>
                  <a:pt x="34" y="34"/>
                  <a:pt x="34" y="34"/>
                </a:cubicBezTo>
                <a:cubicBezTo>
                  <a:pt x="42" y="9"/>
                  <a:pt x="42" y="9"/>
                  <a:pt x="42" y="9"/>
                </a:cubicBezTo>
                <a:cubicBezTo>
                  <a:pt x="45" y="2"/>
                  <a:pt x="50" y="0"/>
                  <a:pt x="56" y="1"/>
                </a:cubicBezTo>
                <a:cubicBezTo>
                  <a:pt x="57" y="2"/>
                  <a:pt x="57" y="2"/>
                  <a:pt x="57" y="2"/>
                </a:cubicBezTo>
                <a:cubicBezTo>
                  <a:pt x="63" y="4"/>
                  <a:pt x="66" y="8"/>
                  <a:pt x="64" y="16"/>
                </a:cubicBezTo>
                <a:cubicBezTo>
                  <a:pt x="55" y="40"/>
                  <a:pt x="55" y="40"/>
                  <a:pt x="55" y="40"/>
                </a:cubicBezTo>
                <a:cubicBezTo>
                  <a:pt x="55" y="40"/>
                  <a:pt x="56" y="38"/>
                  <a:pt x="55" y="42"/>
                </a:cubicBezTo>
                <a:cubicBezTo>
                  <a:pt x="28" y="121"/>
                  <a:pt x="28" y="121"/>
                  <a:pt x="28" y="121"/>
                </a:cubicBezTo>
                <a:cubicBezTo>
                  <a:pt x="26" y="125"/>
                  <a:pt x="26" y="125"/>
                  <a:pt x="26" y="125"/>
                </a:cubicBezTo>
                <a:cubicBezTo>
                  <a:pt x="23" y="137"/>
                  <a:pt x="23" y="137"/>
                  <a:pt x="23" y="137"/>
                </a:cubicBezTo>
                <a:cubicBezTo>
                  <a:pt x="21" y="141"/>
                  <a:pt x="19" y="143"/>
                  <a:pt x="17" y="145"/>
                </a:cubicBezTo>
                <a:cubicBezTo>
                  <a:pt x="15" y="146"/>
                  <a:pt x="12" y="146"/>
                  <a:pt x="8" y="145"/>
                </a:cubicBezTo>
                <a:cubicBezTo>
                  <a:pt x="7" y="145"/>
                  <a:pt x="7" y="145"/>
                  <a:pt x="7" y="145"/>
                </a:cubicBezTo>
                <a:cubicBezTo>
                  <a:pt x="4" y="144"/>
                  <a:pt x="2" y="142"/>
                  <a:pt x="1" y="140"/>
                </a:cubicBezTo>
                <a:cubicBezTo>
                  <a:pt x="0" y="138"/>
                  <a:pt x="0" y="134"/>
                  <a:pt x="1" y="130"/>
                </a:cubicBezTo>
                <a:cubicBezTo>
                  <a:pt x="8" y="110"/>
                  <a:pt x="8" y="110"/>
                  <a:pt x="8" y="110"/>
                </a:cubicBezTo>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69" name="Freeform 145"/>
          <p:cNvSpPr>
            <a:spLocks/>
          </p:cNvSpPr>
          <p:nvPr userDrawn="1"/>
        </p:nvSpPr>
        <p:spPr bwMode="auto">
          <a:xfrm>
            <a:off x="10174296" y="6002339"/>
            <a:ext cx="55563" cy="125412"/>
          </a:xfrm>
          <a:custGeom>
            <a:avLst/>
            <a:gdLst/>
            <a:ahLst/>
            <a:cxnLst>
              <a:cxn ang="0">
                <a:pos x="20" y="34"/>
              </a:cxn>
              <a:cxn ang="0">
                <a:pos x="15" y="34"/>
              </a:cxn>
              <a:cxn ang="0">
                <a:pos x="4" y="31"/>
              </a:cxn>
              <a:cxn ang="0">
                <a:pos x="0" y="20"/>
              </a:cxn>
              <a:cxn ang="0">
                <a:pos x="1" y="15"/>
              </a:cxn>
              <a:cxn ang="0">
                <a:pos x="3" y="11"/>
              </a:cxn>
              <a:cxn ang="0">
                <a:pos x="5" y="9"/>
              </a:cxn>
              <a:cxn ang="0">
                <a:pos x="6" y="9"/>
              </a:cxn>
              <a:cxn ang="0">
                <a:pos x="11" y="11"/>
              </a:cxn>
              <a:cxn ang="0">
                <a:pos x="17" y="12"/>
              </a:cxn>
              <a:cxn ang="0">
                <a:pos x="26" y="9"/>
              </a:cxn>
              <a:cxn ang="0">
                <a:pos x="31" y="0"/>
              </a:cxn>
              <a:cxn ang="0">
                <a:pos x="38" y="0"/>
              </a:cxn>
              <a:cxn ang="0">
                <a:pos x="49" y="11"/>
              </a:cxn>
              <a:cxn ang="0">
                <a:pos x="49" y="100"/>
              </a:cxn>
              <a:cxn ang="0">
                <a:pos x="38" y="111"/>
              </a:cxn>
              <a:cxn ang="0">
                <a:pos x="35" y="111"/>
              </a:cxn>
              <a:cxn ang="0">
                <a:pos x="24" y="100"/>
              </a:cxn>
              <a:cxn ang="0">
                <a:pos x="24" y="31"/>
              </a:cxn>
              <a:cxn ang="0">
                <a:pos x="20" y="34"/>
              </a:cxn>
            </a:cxnLst>
            <a:rect l="0" t="0" r="r" b="b"/>
            <a:pathLst>
              <a:path w="49" h="111">
                <a:moveTo>
                  <a:pt x="20" y="34"/>
                </a:moveTo>
                <a:cubicBezTo>
                  <a:pt x="18" y="34"/>
                  <a:pt x="17" y="34"/>
                  <a:pt x="15" y="34"/>
                </a:cubicBezTo>
                <a:cubicBezTo>
                  <a:pt x="10" y="34"/>
                  <a:pt x="7" y="33"/>
                  <a:pt x="4" y="31"/>
                </a:cubicBezTo>
                <a:cubicBezTo>
                  <a:pt x="1" y="28"/>
                  <a:pt x="0" y="25"/>
                  <a:pt x="0" y="20"/>
                </a:cubicBezTo>
                <a:cubicBezTo>
                  <a:pt x="0" y="18"/>
                  <a:pt x="0" y="17"/>
                  <a:pt x="1" y="15"/>
                </a:cubicBezTo>
                <a:cubicBezTo>
                  <a:pt x="1" y="14"/>
                  <a:pt x="2" y="12"/>
                  <a:pt x="3" y="11"/>
                </a:cubicBezTo>
                <a:cubicBezTo>
                  <a:pt x="3" y="10"/>
                  <a:pt x="4" y="10"/>
                  <a:pt x="5" y="9"/>
                </a:cubicBezTo>
                <a:cubicBezTo>
                  <a:pt x="6" y="9"/>
                  <a:pt x="6" y="9"/>
                  <a:pt x="6" y="9"/>
                </a:cubicBezTo>
                <a:cubicBezTo>
                  <a:pt x="8" y="10"/>
                  <a:pt x="9" y="11"/>
                  <a:pt x="11" y="11"/>
                </a:cubicBezTo>
                <a:cubicBezTo>
                  <a:pt x="13" y="12"/>
                  <a:pt x="14" y="12"/>
                  <a:pt x="17" y="12"/>
                </a:cubicBezTo>
                <a:cubicBezTo>
                  <a:pt x="20" y="12"/>
                  <a:pt x="23" y="11"/>
                  <a:pt x="26" y="9"/>
                </a:cubicBezTo>
                <a:cubicBezTo>
                  <a:pt x="29" y="7"/>
                  <a:pt x="30" y="4"/>
                  <a:pt x="31" y="0"/>
                </a:cubicBezTo>
                <a:cubicBezTo>
                  <a:pt x="38" y="0"/>
                  <a:pt x="38" y="0"/>
                  <a:pt x="38" y="0"/>
                </a:cubicBezTo>
                <a:cubicBezTo>
                  <a:pt x="45" y="0"/>
                  <a:pt x="49" y="4"/>
                  <a:pt x="49" y="11"/>
                </a:cubicBezTo>
                <a:cubicBezTo>
                  <a:pt x="49" y="100"/>
                  <a:pt x="49" y="100"/>
                  <a:pt x="49" y="100"/>
                </a:cubicBezTo>
                <a:cubicBezTo>
                  <a:pt x="49" y="107"/>
                  <a:pt x="45" y="111"/>
                  <a:pt x="38" y="111"/>
                </a:cubicBezTo>
                <a:cubicBezTo>
                  <a:pt x="35" y="111"/>
                  <a:pt x="35" y="111"/>
                  <a:pt x="35" y="111"/>
                </a:cubicBezTo>
                <a:cubicBezTo>
                  <a:pt x="28" y="111"/>
                  <a:pt x="24" y="107"/>
                  <a:pt x="24" y="100"/>
                </a:cubicBezTo>
                <a:cubicBezTo>
                  <a:pt x="24" y="31"/>
                  <a:pt x="24" y="31"/>
                  <a:pt x="24" y="31"/>
                </a:cubicBezTo>
                <a:cubicBezTo>
                  <a:pt x="23" y="32"/>
                  <a:pt x="21" y="33"/>
                  <a:pt x="20" y="3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73" name="Freeform 149"/>
          <p:cNvSpPr>
            <a:spLocks/>
          </p:cNvSpPr>
          <p:nvPr userDrawn="1"/>
        </p:nvSpPr>
        <p:spPr bwMode="auto">
          <a:xfrm>
            <a:off x="10418765" y="5983288"/>
            <a:ext cx="52388" cy="163512"/>
          </a:xfrm>
          <a:custGeom>
            <a:avLst/>
            <a:gdLst/>
            <a:ahLst/>
            <a:cxnLst>
              <a:cxn ang="0">
                <a:pos x="33" y="145"/>
              </a:cxn>
              <a:cxn ang="0">
                <a:pos x="13" y="145"/>
              </a:cxn>
              <a:cxn ang="0">
                <a:pos x="3" y="141"/>
              </a:cxn>
              <a:cxn ang="0">
                <a:pos x="0" y="131"/>
              </a:cxn>
              <a:cxn ang="0">
                <a:pos x="0" y="14"/>
              </a:cxn>
              <a:cxn ang="0">
                <a:pos x="3" y="4"/>
              </a:cxn>
              <a:cxn ang="0">
                <a:pos x="13" y="0"/>
              </a:cxn>
              <a:cxn ang="0">
                <a:pos x="33" y="0"/>
              </a:cxn>
              <a:cxn ang="0">
                <a:pos x="42" y="2"/>
              </a:cxn>
              <a:cxn ang="0">
                <a:pos x="45" y="9"/>
              </a:cxn>
              <a:cxn ang="0">
                <a:pos x="45" y="10"/>
              </a:cxn>
              <a:cxn ang="0">
                <a:pos x="42" y="17"/>
              </a:cxn>
              <a:cxn ang="0">
                <a:pos x="33" y="20"/>
              </a:cxn>
              <a:cxn ang="0">
                <a:pos x="22" y="20"/>
              </a:cxn>
              <a:cxn ang="0">
                <a:pos x="22" y="125"/>
              </a:cxn>
              <a:cxn ang="0">
                <a:pos x="33" y="125"/>
              </a:cxn>
              <a:cxn ang="0">
                <a:pos x="42" y="127"/>
              </a:cxn>
              <a:cxn ang="0">
                <a:pos x="45" y="134"/>
              </a:cxn>
              <a:cxn ang="0">
                <a:pos x="45" y="135"/>
              </a:cxn>
              <a:cxn ang="0">
                <a:pos x="42" y="143"/>
              </a:cxn>
              <a:cxn ang="0">
                <a:pos x="33" y="145"/>
              </a:cxn>
            </a:cxnLst>
            <a:rect l="0" t="0" r="r" b="b"/>
            <a:pathLst>
              <a:path w="45" h="145">
                <a:moveTo>
                  <a:pt x="33" y="145"/>
                </a:moveTo>
                <a:cubicBezTo>
                  <a:pt x="13" y="145"/>
                  <a:pt x="13" y="145"/>
                  <a:pt x="13" y="145"/>
                </a:cubicBezTo>
                <a:cubicBezTo>
                  <a:pt x="9" y="145"/>
                  <a:pt x="6" y="144"/>
                  <a:pt x="3" y="141"/>
                </a:cubicBezTo>
                <a:cubicBezTo>
                  <a:pt x="1" y="139"/>
                  <a:pt x="0" y="135"/>
                  <a:pt x="0" y="131"/>
                </a:cubicBezTo>
                <a:cubicBezTo>
                  <a:pt x="0" y="14"/>
                  <a:pt x="0" y="14"/>
                  <a:pt x="0" y="14"/>
                </a:cubicBezTo>
                <a:cubicBezTo>
                  <a:pt x="0" y="9"/>
                  <a:pt x="1" y="6"/>
                  <a:pt x="3" y="4"/>
                </a:cubicBezTo>
                <a:cubicBezTo>
                  <a:pt x="6" y="1"/>
                  <a:pt x="9" y="0"/>
                  <a:pt x="13" y="0"/>
                </a:cubicBezTo>
                <a:cubicBezTo>
                  <a:pt x="33" y="0"/>
                  <a:pt x="33" y="0"/>
                  <a:pt x="33" y="0"/>
                </a:cubicBezTo>
                <a:cubicBezTo>
                  <a:pt x="37" y="0"/>
                  <a:pt x="40" y="1"/>
                  <a:pt x="42" y="2"/>
                </a:cubicBezTo>
                <a:cubicBezTo>
                  <a:pt x="44" y="4"/>
                  <a:pt x="45" y="6"/>
                  <a:pt x="45" y="9"/>
                </a:cubicBezTo>
                <a:cubicBezTo>
                  <a:pt x="45" y="10"/>
                  <a:pt x="45" y="10"/>
                  <a:pt x="45" y="10"/>
                </a:cubicBezTo>
                <a:cubicBezTo>
                  <a:pt x="45" y="14"/>
                  <a:pt x="44" y="16"/>
                  <a:pt x="42" y="17"/>
                </a:cubicBezTo>
                <a:cubicBezTo>
                  <a:pt x="40" y="19"/>
                  <a:pt x="37" y="20"/>
                  <a:pt x="33" y="20"/>
                </a:cubicBezTo>
                <a:cubicBezTo>
                  <a:pt x="22" y="20"/>
                  <a:pt x="22" y="20"/>
                  <a:pt x="22" y="20"/>
                </a:cubicBezTo>
                <a:cubicBezTo>
                  <a:pt x="22" y="125"/>
                  <a:pt x="22" y="125"/>
                  <a:pt x="22" y="125"/>
                </a:cubicBezTo>
                <a:cubicBezTo>
                  <a:pt x="33" y="125"/>
                  <a:pt x="33" y="125"/>
                  <a:pt x="33" y="125"/>
                </a:cubicBezTo>
                <a:cubicBezTo>
                  <a:pt x="37" y="125"/>
                  <a:pt x="40" y="126"/>
                  <a:pt x="42" y="127"/>
                </a:cubicBezTo>
                <a:cubicBezTo>
                  <a:pt x="44" y="129"/>
                  <a:pt x="45" y="131"/>
                  <a:pt x="45" y="134"/>
                </a:cubicBezTo>
                <a:cubicBezTo>
                  <a:pt x="45" y="135"/>
                  <a:pt x="45" y="135"/>
                  <a:pt x="45" y="135"/>
                </a:cubicBezTo>
                <a:cubicBezTo>
                  <a:pt x="45" y="139"/>
                  <a:pt x="44" y="141"/>
                  <a:pt x="42" y="143"/>
                </a:cubicBezTo>
                <a:cubicBezTo>
                  <a:pt x="40" y="144"/>
                  <a:pt x="37" y="145"/>
                  <a:pt x="33" y="145"/>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77" name="Freeform 153"/>
          <p:cNvSpPr>
            <a:spLocks/>
          </p:cNvSpPr>
          <p:nvPr userDrawn="1"/>
        </p:nvSpPr>
        <p:spPr bwMode="auto">
          <a:xfrm>
            <a:off x="10650538" y="5981702"/>
            <a:ext cx="52388" cy="165100"/>
          </a:xfrm>
          <a:custGeom>
            <a:avLst/>
            <a:gdLst/>
            <a:ahLst/>
            <a:cxnLst>
              <a:cxn ang="0">
                <a:pos x="2" y="143"/>
              </a:cxn>
              <a:cxn ang="0">
                <a:pos x="0" y="135"/>
              </a:cxn>
              <a:cxn ang="0">
                <a:pos x="0" y="134"/>
              </a:cxn>
              <a:cxn ang="0">
                <a:pos x="2" y="127"/>
              </a:cxn>
              <a:cxn ang="0">
                <a:pos x="11" y="125"/>
              </a:cxn>
              <a:cxn ang="0">
                <a:pos x="23" y="125"/>
              </a:cxn>
              <a:cxn ang="0">
                <a:pos x="23" y="20"/>
              </a:cxn>
              <a:cxn ang="0">
                <a:pos x="12" y="20"/>
              </a:cxn>
              <a:cxn ang="0">
                <a:pos x="3" y="17"/>
              </a:cxn>
              <a:cxn ang="0">
                <a:pos x="0" y="10"/>
              </a:cxn>
              <a:cxn ang="0">
                <a:pos x="0" y="9"/>
              </a:cxn>
              <a:cxn ang="0">
                <a:pos x="3" y="2"/>
              </a:cxn>
              <a:cxn ang="0">
                <a:pos x="12" y="0"/>
              </a:cxn>
              <a:cxn ang="0">
                <a:pos x="32" y="0"/>
              </a:cxn>
              <a:cxn ang="0">
                <a:pos x="41" y="4"/>
              </a:cxn>
              <a:cxn ang="0">
                <a:pos x="45" y="14"/>
              </a:cxn>
              <a:cxn ang="0">
                <a:pos x="45" y="131"/>
              </a:cxn>
              <a:cxn ang="0">
                <a:pos x="41" y="141"/>
              </a:cxn>
              <a:cxn ang="0">
                <a:pos x="32" y="145"/>
              </a:cxn>
              <a:cxn ang="0">
                <a:pos x="11" y="145"/>
              </a:cxn>
              <a:cxn ang="0">
                <a:pos x="2" y="143"/>
              </a:cxn>
            </a:cxnLst>
            <a:rect l="0" t="0" r="r" b="b"/>
            <a:pathLst>
              <a:path w="45" h="145">
                <a:moveTo>
                  <a:pt x="2" y="143"/>
                </a:moveTo>
                <a:cubicBezTo>
                  <a:pt x="1" y="141"/>
                  <a:pt x="0" y="139"/>
                  <a:pt x="0" y="135"/>
                </a:cubicBezTo>
                <a:cubicBezTo>
                  <a:pt x="0" y="134"/>
                  <a:pt x="0" y="134"/>
                  <a:pt x="0" y="134"/>
                </a:cubicBezTo>
                <a:cubicBezTo>
                  <a:pt x="0" y="131"/>
                  <a:pt x="1" y="129"/>
                  <a:pt x="2" y="127"/>
                </a:cubicBezTo>
                <a:cubicBezTo>
                  <a:pt x="4" y="126"/>
                  <a:pt x="7" y="125"/>
                  <a:pt x="11" y="125"/>
                </a:cubicBezTo>
                <a:cubicBezTo>
                  <a:pt x="23" y="125"/>
                  <a:pt x="23" y="125"/>
                  <a:pt x="23" y="125"/>
                </a:cubicBezTo>
                <a:cubicBezTo>
                  <a:pt x="23" y="20"/>
                  <a:pt x="23" y="20"/>
                  <a:pt x="23" y="20"/>
                </a:cubicBezTo>
                <a:cubicBezTo>
                  <a:pt x="12" y="20"/>
                  <a:pt x="12" y="20"/>
                  <a:pt x="12" y="20"/>
                </a:cubicBezTo>
                <a:cubicBezTo>
                  <a:pt x="8" y="20"/>
                  <a:pt x="5" y="19"/>
                  <a:pt x="3" y="17"/>
                </a:cubicBezTo>
                <a:cubicBezTo>
                  <a:pt x="1" y="16"/>
                  <a:pt x="0" y="14"/>
                  <a:pt x="0" y="10"/>
                </a:cubicBezTo>
                <a:cubicBezTo>
                  <a:pt x="0" y="9"/>
                  <a:pt x="0" y="9"/>
                  <a:pt x="0" y="9"/>
                </a:cubicBezTo>
                <a:cubicBezTo>
                  <a:pt x="0" y="6"/>
                  <a:pt x="1" y="4"/>
                  <a:pt x="3" y="2"/>
                </a:cubicBezTo>
                <a:cubicBezTo>
                  <a:pt x="5" y="1"/>
                  <a:pt x="8" y="0"/>
                  <a:pt x="12" y="0"/>
                </a:cubicBezTo>
                <a:cubicBezTo>
                  <a:pt x="32" y="0"/>
                  <a:pt x="32" y="0"/>
                  <a:pt x="32" y="0"/>
                </a:cubicBezTo>
                <a:cubicBezTo>
                  <a:pt x="36" y="0"/>
                  <a:pt x="39" y="1"/>
                  <a:pt x="41" y="4"/>
                </a:cubicBezTo>
                <a:cubicBezTo>
                  <a:pt x="44" y="6"/>
                  <a:pt x="45" y="9"/>
                  <a:pt x="45" y="14"/>
                </a:cubicBezTo>
                <a:cubicBezTo>
                  <a:pt x="45" y="131"/>
                  <a:pt x="45" y="131"/>
                  <a:pt x="45" y="131"/>
                </a:cubicBezTo>
                <a:cubicBezTo>
                  <a:pt x="45" y="135"/>
                  <a:pt x="44" y="139"/>
                  <a:pt x="41" y="141"/>
                </a:cubicBezTo>
                <a:cubicBezTo>
                  <a:pt x="39" y="144"/>
                  <a:pt x="36" y="145"/>
                  <a:pt x="32" y="145"/>
                </a:cubicBezTo>
                <a:cubicBezTo>
                  <a:pt x="11" y="145"/>
                  <a:pt x="11" y="145"/>
                  <a:pt x="11" y="145"/>
                </a:cubicBezTo>
                <a:cubicBezTo>
                  <a:pt x="7" y="145"/>
                  <a:pt x="4" y="144"/>
                  <a:pt x="2" y="14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81" name="Freeform 157"/>
          <p:cNvSpPr>
            <a:spLocks/>
          </p:cNvSpPr>
          <p:nvPr userDrawn="1"/>
        </p:nvSpPr>
        <p:spPr bwMode="auto">
          <a:xfrm>
            <a:off x="10887075" y="5992813"/>
            <a:ext cx="34926" cy="146051"/>
          </a:xfrm>
          <a:custGeom>
            <a:avLst/>
            <a:gdLst/>
            <a:ahLst/>
            <a:cxnLst>
              <a:cxn ang="0">
                <a:pos x="25" y="8"/>
              </a:cxn>
              <a:cxn ang="0">
                <a:pos x="14" y="0"/>
              </a:cxn>
              <a:cxn ang="0">
                <a:pos x="0" y="14"/>
              </a:cxn>
              <a:cxn ang="0">
                <a:pos x="4" y="26"/>
              </a:cxn>
              <a:cxn ang="0">
                <a:pos x="9" y="63"/>
              </a:cxn>
              <a:cxn ang="0">
                <a:pos x="3" y="103"/>
              </a:cxn>
              <a:cxn ang="0">
                <a:pos x="0" y="114"/>
              </a:cxn>
              <a:cxn ang="0">
                <a:pos x="14" y="127"/>
              </a:cxn>
              <a:cxn ang="0">
                <a:pos x="22" y="123"/>
              </a:cxn>
              <a:cxn ang="0">
                <a:pos x="37" y="63"/>
              </a:cxn>
              <a:cxn ang="0">
                <a:pos x="25" y="8"/>
              </a:cxn>
            </a:cxnLst>
            <a:rect l="0" t="0" r="r" b="b"/>
            <a:pathLst>
              <a:path w="37" h="127">
                <a:moveTo>
                  <a:pt x="25" y="8"/>
                </a:moveTo>
                <a:cubicBezTo>
                  <a:pt x="22" y="2"/>
                  <a:pt x="18" y="0"/>
                  <a:pt x="14" y="0"/>
                </a:cubicBezTo>
                <a:cubicBezTo>
                  <a:pt x="6" y="0"/>
                  <a:pt x="0" y="6"/>
                  <a:pt x="0" y="14"/>
                </a:cubicBezTo>
                <a:cubicBezTo>
                  <a:pt x="0" y="16"/>
                  <a:pt x="4" y="26"/>
                  <a:pt x="4" y="26"/>
                </a:cubicBezTo>
                <a:cubicBezTo>
                  <a:pt x="7" y="37"/>
                  <a:pt x="9" y="50"/>
                  <a:pt x="9" y="63"/>
                </a:cubicBezTo>
                <a:cubicBezTo>
                  <a:pt x="9" y="76"/>
                  <a:pt x="7" y="90"/>
                  <a:pt x="3" y="103"/>
                </a:cubicBezTo>
                <a:cubicBezTo>
                  <a:pt x="2" y="104"/>
                  <a:pt x="0" y="111"/>
                  <a:pt x="0" y="114"/>
                </a:cubicBezTo>
                <a:cubicBezTo>
                  <a:pt x="0" y="121"/>
                  <a:pt x="6" y="127"/>
                  <a:pt x="14" y="127"/>
                </a:cubicBezTo>
                <a:cubicBezTo>
                  <a:pt x="17" y="127"/>
                  <a:pt x="20" y="125"/>
                  <a:pt x="22" y="123"/>
                </a:cubicBezTo>
                <a:cubicBezTo>
                  <a:pt x="33" y="112"/>
                  <a:pt x="37" y="73"/>
                  <a:pt x="37" y="63"/>
                </a:cubicBezTo>
                <a:cubicBezTo>
                  <a:pt x="37" y="48"/>
                  <a:pt x="33" y="21"/>
                  <a:pt x="25" y="8"/>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85" name="Freeform 161"/>
          <p:cNvSpPr>
            <a:spLocks/>
          </p:cNvSpPr>
          <p:nvPr userDrawn="1"/>
        </p:nvSpPr>
        <p:spPr bwMode="auto">
          <a:xfrm>
            <a:off x="11114094" y="5992813"/>
            <a:ext cx="41275" cy="146051"/>
          </a:xfrm>
          <a:custGeom>
            <a:avLst/>
            <a:gdLst/>
            <a:ahLst/>
            <a:cxnLst>
              <a:cxn ang="0">
                <a:pos x="27" y="63"/>
              </a:cxn>
              <a:cxn ang="0">
                <a:pos x="33" y="26"/>
              </a:cxn>
              <a:cxn ang="0">
                <a:pos x="37" y="14"/>
              </a:cxn>
              <a:cxn ang="0">
                <a:pos x="23" y="0"/>
              </a:cxn>
              <a:cxn ang="0">
                <a:pos x="11" y="8"/>
              </a:cxn>
              <a:cxn ang="0">
                <a:pos x="0" y="63"/>
              </a:cxn>
              <a:cxn ang="0">
                <a:pos x="15" y="123"/>
              </a:cxn>
              <a:cxn ang="0">
                <a:pos x="23" y="127"/>
              </a:cxn>
              <a:cxn ang="0">
                <a:pos x="37" y="114"/>
              </a:cxn>
              <a:cxn ang="0">
                <a:pos x="34" y="103"/>
              </a:cxn>
              <a:cxn ang="0">
                <a:pos x="27" y="63"/>
              </a:cxn>
            </a:cxnLst>
            <a:rect l="0" t="0" r="r" b="b"/>
            <a:pathLst>
              <a:path w="37" h="127">
                <a:moveTo>
                  <a:pt x="27" y="63"/>
                </a:moveTo>
                <a:cubicBezTo>
                  <a:pt x="27" y="50"/>
                  <a:pt x="29" y="37"/>
                  <a:pt x="33" y="26"/>
                </a:cubicBezTo>
                <a:cubicBezTo>
                  <a:pt x="34" y="23"/>
                  <a:pt x="37" y="16"/>
                  <a:pt x="37" y="14"/>
                </a:cubicBezTo>
                <a:cubicBezTo>
                  <a:pt x="37" y="6"/>
                  <a:pt x="31" y="0"/>
                  <a:pt x="23" y="0"/>
                </a:cubicBezTo>
                <a:cubicBezTo>
                  <a:pt x="18" y="0"/>
                  <a:pt x="14" y="3"/>
                  <a:pt x="11" y="8"/>
                </a:cubicBezTo>
                <a:cubicBezTo>
                  <a:pt x="4" y="21"/>
                  <a:pt x="0" y="48"/>
                  <a:pt x="0" y="63"/>
                </a:cubicBezTo>
                <a:cubicBezTo>
                  <a:pt x="0" y="73"/>
                  <a:pt x="4" y="112"/>
                  <a:pt x="15" y="123"/>
                </a:cubicBezTo>
                <a:cubicBezTo>
                  <a:pt x="17" y="125"/>
                  <a:pt x="20" y="127"/>
                  <a:pt x="23" y="127"/>
                </a:cubicBezTo>
                <a:cubicBezTo>
                  <a:pt x="31" y="127"/>
                  <a:pt x="37" y="121"/>
                  <a:pt x="37" y="114"/>
                </a:cubicBezTo>
                <a:cubicBezTo>
                  <a:pt x="37" y="111"/>
                  <a:pt x="34" y="104"/>
                  <a:pt x="34" y="103"/>
                </a:cubicBezTo>
                <a:cubicBezTo>
                  <a:pt x="29" y="90"/>
                  <a:pt x="27" y="76"/>
                  <a:pt x="27" y="63"/>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89" name="Freeform 165"/>
          <p:cNvSpPr>
            <a:spLocks noEditPoints="1"/>
          </p:cNvSpPr>
          <p:nvPr userDrawn="1"/>
        </p:nvSpPr>
        <p:spPr bwMode="auto">
          <a:xfrm>
            <a:off x="11333167" y="6000751"/>
            <a:ext cx="34926" cy="127000"/>
          </a:xfrm>
          <a:custGeom>
            <a:avLst/>
            <a:gdLst/>
            <a:ahLst/>
            <a:cxnLst>
              <a:cxn ang="0">
                <a:pos x="10" y="76"/>
              </a:cxn>
              <a:cxn ang="0">
                <a:pos x="8" y="70"/>
              </a:cxn>
              <a:cxn ang="0">
                <a:pos x="1" y="15"/>
              </a:cxn>
              <a:cxn ang="0">
                <a:pos x="3" y="4"/>
              </a:cxn>
              <a:cxn ang="0">
                <a:pos x="13" y="0"/>
              </a:cxn>
              <a:cxn ang="0">
                <a:pos x="17" y="0"/>
              </a:cxn>
              <a:cxn ang="0">
                <a:pos x="27" y="4"/>
              </a:cxn>
              <a:cxn ang="0">
                <a:pos x="29" y="15"/>
              </a:cxn>
              <a:cxn ang="0">
                <a:pos x="23" y="70"/>
              </a:cxn>
              <a:cxn ang="0">
                <a:pos x="21" y="76"/>
              </a:cxn>
              <a:cxn ang="0">
                <a:pos x="16" y="77"/>
              </a:cxn>
              <a:cxn ang="0">
                <a:pos x="14" y="77"/>
              </a:cxn>
              <a:cxn ang="0">
                <a:pos x="10" y="76"/>
              </a:cxn>
              <a:cxn ang="0">
                <a:pos x="2" y="101"/>
              </a:cxn>
              <a:cxn ang="0">
                <a:pos x="2" y="99"/>
              </a:cxn>
              <a:cxn ang="0">
                <a:pos x="14" y="88"/>
              </a:cxn>
              <a:cxn ang="0">
                <a:pos x="17" y="88"/>
              </a:cxn>
              <a:cxn ang="0">
                <a:pos x="28" y="99"/>
              </a:cxn>
              <a:cxn ang="0">
                <a:pos x="28" y="101"/>
              </a:cxn>
              <a:cxn ang="0">
                <a:pos x="17" y="113"/>
              </a:cxn>
              <a:cxn ang="0">
                <a:pos x="14" y="113"/>
              </a:cxn>
              <a:cxn ang="0">
                <a:pos x="2" y="101"/>
              </a:cxn>
            </a:cxnLst>
            <a:rect l="0" t="0" r="r" b="b"/>
            <a:pathLst>
              <a:path w="30" h="113">
                <a:moveTo>
                  <a:pt x="10" y="76"/>
                </a:moveTo>
                <a:cubicBezTo>
                  <a:pt x="9" y="74"/>
                  <a:pt x="9" y="72"/>
                  <a:pt x="8" y="70"/>
                </a:cubicBezTo>
                <a:cubicBezTo>
                  <a:pt x="1" y="15"/>
                  <a:pt x="1" y="15"/>
                  <a:pt x="1" y="15"/>
                </a:cubicBezTo>
                <a:cubicBezTo>
                  <a:pt x="0" y="10"/>
                  <a:pt x="1" y="7"/>
                  <a:pt x="3" y="4"/>
                </a:cubicBezTo>
                <a:cubicBezTo>
                  <a:pt x="5" y="1"/>
                  <a:pt x="9" y="0"/>
                  <a:pt x="13" y="0"/>
                </a:cubicBezTo>
                <a:cubicBezTo>
                  <a:pt x="17" y="0"/>
                  <a:pt x="17" y="0"/>
                  <a:pt x="17" y="0"/>
                </a:cubicBezTo>
                <a:cubicBezTo>
                  <a:pt x="22" y="0"/>
                  <a:pt x="25" y="1"/>
                  <a:pt x="27" y="4"/>
                </a:cubicBezTo>
                <a:cubicBezTo>
                  <a:pt x="30" y="7"/>
                  <a:pt x="30" y="10"/>
                  <a:pt x="29" y="15"/>
                </a:cubicBezTo>
                <a:cubicBezTo>
                  <a:pt x="23" y="70"/>
                  <a:pt x="23" y="70"/>
                  <a:pt x="23" y="70"/>
                </a:cubicBezTo>
                <a:cubicBezTo>
                  <a:pt x="22" y="72"/>
                  <a:pt x="21" y="74"/>
                  <a:pt x="21" y="76"/>
                </a:cubicBezTo>
                <a:cubicBezTo>
                  <a:pt x="20" y="77"/>
                  <a:pt x="18" y="77"/>
                  <a:pt x="16" y="77"/>
                </a:cubicBezTo>
                <a:cubicBezTo>
                  <a:pt x="14" y="77"/>
                  <a:pt x="14" y="77"/>
                  <a:pt x="14" y="77"/>
                </a:cubicBezTo>
                <a:cubicBezTo>
                  <a:pt x="12" y="77"/>
                  <a:pt x="11" y="77"/>
                  <a:pt x="10" y="76"/>
                </a:cubicBezTo>
                <a:close/>
                <a:moveTo>
                  <a:pt x="2" y="101"/>
                </a:moveTo>
                <a:cubicBezTo>
                  <a:pt x="2" y="99"/>
                  <a:pt x="2" y="99"/>
                  <a:pt x="2" y="99"/>
                </a:cubicBezTo>
                <a:cubicBezTo>
                  <a:pt x="2" y="92"/>
                  <a:pt x="6" y="88"/>
                  <a:pt x="14" y="88"/>
                </a:cubicBezTo>
                <a:cubicBezTo>
                  <a:pt x="17" y="88"/>
                  <a:pt x="17" y="88"/>
                  <a:pt x="17" y="88"/>
                </a:cubicBezTo>
                <a:cubicBezTo>
                  <a:pt x="24" y="88"/>
                  <a:pt x="28" y="92"/>
                  <a:pt x="28" y="99"/>
                </a:cubicBezTo>
                <a:cubicBezTo>
                  <a:pt x="28" y="101"/>
                  <a:pt x="28" y="101"/>
                  <a:pt x="28" y="101"/>
                </a:cubicBezTo>
                <a:cubicBezTo>
                  <a:pt x="28" y="109"/>
                  <a:pt x="24" y="113"/>
                  <a:pt x="17" y="113"/>
                </a:cubicBezTo>
                <a:cubicBezTo>
                  <a:pt x="14" y="113"/>
                  <a:pt x="14" y="113"/>
                  <a:pt x="14" y="113"/>
                </a:cubicBezTo>
                <a:cubicBezTo>
                  <a:pt x="6" y="113"/>
                  <a:pt x="2" y="109"/>
                  <a:pt x="2" y="101"/>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193" name="Freeform 169"/>
          <p:cNvSpPr>
            <a:spLocks/>
          </p:cNvSpPr>
          <p:nvPr userDrawn="1"/>
        </p:nvSpPr>
        <p:spPr bwMode="auto">
          <a:xfrm>
            <a:off x="11542713" y="6030915"/>
            <a:ext cx="74613" cy="68263"/>
          </a:xfrm>
          <a:custGeom>
            <a:avLst/>
            <a:gdLst/>
            <a:ahLst/>
            <a:cxnLst>
              <a:cxn ang="0">
                <a:pos x="26" y="6"/>
              </a:cxn>
              <a:cxn ang="0">
                <a:pos x="28" y="1"/>
              </a:cxn>
              <a:cxn ang="0">
                <a:pos x="32" y="0"/>
              </a:cxn>
              <a:cxn ang="0">
                <a:pos x="33" y="0"/>
              </a:cxn>
              <a:cxn ang="0">
                <a:pos x="37" y="1"/>
              </a:cxn>
              <a:cxn ang="0">
                <a:pos x="39" y="6"/>
              </a:cxn>
              <a:cxn ang="0">
                <a:pos x="41" y="20"/>
              </a:cxn>
              <a:cxn ang="0">
                <a:pos x="55" y="17"/>
              </a:cxn>
              <a:cxn ang="0">
                <a:pos x="61" y="18"/>
              </a:cxn>
              <a:cxn ang="0">
                <a:pos x="64" y="22"/>
              </a:cxn>
              <a:cxn ang="0">
                <a:pos x="64" y="22"/>
              </a:cxn>
              <a:cxn ang="0">
                <a:pos x="64" y="27"/>
              </a:cxn>
              <a:cxn ang="0">
                <a:pos x="60" y="31"/>
              </a:cxn>
              <a:cxn ang="0">
                <a:pos x="46" y="37"/>
              </a:cxn>
              <a:cxn ang="0">
                <a:pos x="54" y="50"/>
              </a:cxn>
              <a:cxn ang="0">
                <a:pos x="55" y="56"/>
              </a:cxn>
              <a:cxn ang="0">
                <a:pos x="52" y="59"/>
              </a:cxn>
              <a:cxn ang="0">
                <a:pos x="52" y="60"/>
              </a:cxn>
              <a:cxn ang="0">
                <a:pos x="48" y="61"/>
              </a:cxn>
              <a:cxn ang="0">
                <a:pos x="43" y="58"/>
              </a:cxn>
              <a:cxn ang="0">
                <a:pos x="32" y="47"/>
              </a:cxn>
              <a:cxn ang="0">
                <a:pos x="22" y="58"/>
              </a:cxn>
              <a:cxn ang="0">
                <a:pos x="17" y="61"/>
              </a:cxn>
              <a:cxn ang="0">
                <a:pos x="13" y="60"/>
              </a:cxn>
              <a:cxn ang="0">
                <a:pos x="12" y="59"/>
              </a:cxn>
              <a:cxn ang="0">
                <a:pos x="9" y="56"/>
              </a:cxn>
              <a:cxn ang="0">
                <a:pos x="11" y="50"/>
              </a:cxn>
              <a:cxn ang="0">
                <a:pos x="18" y="37"/>
              </a:cxn>
              <a:cxn ang="0">
                <a:pos x="5" y="31"/>
              </a:cxn>
              <a:cxn ang="0">
                <a:pos x="1" y="27"/>
              </a:cxn>
              <a:cxn ang="0">
                <a:pos x="1" y="22"/>
              </a:cxn>
              <a:cxn ang="0">
                <a:pos x="1" y="22"/>
              </a:cxn>
              <a:cxn ang="0">
                <a:pos x="3" y="18"/>
              </a:cxn>
              <a:cxn ang="0">
                <a:pos x="9" y="17"/>
              </a:cxn>
              <a:cxn ang="0">
                <a:pos x="24" y="20"/>
              </a:cxn>
              <a:cxn ang="0">
                <a:pos x="26" y="6"/>
              </a:cxn>
            </a:cxnLst>
            <a:rect l="0" t="0" r="r" b="b"/>
            <a:pathLst>
              <a:path w="65" h="61">
                <a:moveTo>
                  <a:pt x="26" y="6"/>
                </a:moveTo>
                <a:cubicBezTo>
                  <a:pt x="26" y="3"/>
                  <a:pt x="27" y="2"/>
                  <a:pt x="28" y="1"/>
                </a:cubicBezTo>
                <a:cubicBezTo>
                  <a:pt x="29" y="0"/>
                  <a:pt x="30" y="0"/>
                  <a:pt x="32" y="0"/>
                </a:cubicBezTo>
                <a:cubicBezTo>
                  <a:pt x="33" y="0"/>
                  <a:pt x="33" y="0"/>
                  <a:pt x="33" y="0"/>
                </a:cubicBezTo>
                <a:cubicBezTo>
                  <a:pt x="35" y="0"/>
                  <a:pt x="36" y="0"/>
                  <a:pt x="37" y="1"/>
                </a:cubicBezTo>
                <a:cubicBezTo>
                  <a:pt x="38" y="2"/>
                  <a:pt x="39" y="3"/>
                  <a:pt x="39" y="6"/>
                </a:cubicBezTo>
                <a:cubicBezTo>
                  <a:pt x="41" y="20"/>
                  <a:pt x="41" y="20"/>
                  <a:pt x="41" y="20"/>
                </a:cubicBezTo>
                <a:cubicBezTo>
                  <a:pt x="55" y="17"/>
                  <a:pt x="55" y="17"/>
                  <a:pt x="55" y="17"/>
                </a:cubicBezTo>
                <a:cubicBezTo>
                  <a:pt x="58" y="17"/>
                  <a:pt x="60" y="17"/>
                  <a:pt x="61" y="18"/>
                </a:cubicBezTo>
                <a:cubicBezTo>
                  <a:pt x="62" y="19"/>
                  <a:pt x="63" y="20"/>
                  <a:pt x="64" y="22"/>
                </a:cubicBezTo>
                <a:cubicBezTo>
                  <a:pt x="64" y="22"/>
                  <a:pt x="64" y="22"/>
                  <a:pt x="64" y="22"/>
                </a:cubicBezTo>
                <a:cubicBezTo>
                  <a:pt x="65" y="24"/>
                  <a:pt x="65" y="26"/>
                  <a:pt x="64" y="27"/>
                </a:cubicBezTo>
                <a:cubicBezTo>
                  <a:pt x="64" y="28"/>
                  <a:pt x="62" y="29"/>
                  <a:pt x="60" y="31"/>
                </a:cubicBezTo>
                <a:cubicBezTo>
                  <a:pt x="46" y="37"/>
                  <a:pt x="46" y="37"/>
                  <a:pt x="46" y="37"/>
                </a:cubicBezTo>
                <a:cubicBezTo>
                  <a:pt x="54" y="50"/>
                  <a:pt x="54" y="50"/>
                  <a:pt x="54" y="50"/>
                </a:cubicBezTo>
                <a:cubicBezTo>
                  <a:pt x="55" y="52"/>
                  <a:pt x="56" y="54"/>
                  <a:pt x="55" y="56"/>
                </a:cubicBezTo>
                <a:cubicBezTo>
                  <a:pt x="55" y="57"/>
                  <a:pt x="54" y="58"/>
                  <a:pt x="52" y="59"/>
                </a:cubicBezTo>
                <a:cubicBezTo>
                  <a:pt x="52" y="60"/>
                  <a:pt x="52" y="60"/>
                  <a:pt x="52" y="60"/>
                </a:cubicBezTo>
                <a:cubicBezTo>
                  <a:pt x="51" y="60"/>
                  <a:pt x="49" y="61"/>
                  <a:pt x="48" y="61"/>
                </a:cubicBezTo>
                <a:cubicBezTo>
                  <a:pt x="46" y="61"/>
                  <a:pt x="45" y="60"/>
                  <a:pt x="43" y="58"/>
                </a:cubicBezTo>
                <a:cubicBezTo>
                  <a:pt x="32" y="47"/>
                  <a:pt x="32" y="47"/>
                  <a:pt x="32" y="47"/>
                </a:cubicBezTo>
                <a:cubicBezTo>
                  <a:pt x="22" y="58"/>
                  <a:pt x="22" y="58"/>
                  <a:pt x="22" y="58"/>
                </a:cubicBezTo>
                <a:cubicBezTo>
                  <a:pt x="20" y="60"/>
                  <a:pt x="18" y="61"/>
                  <a:pt x="17" y="61"/>
                </a:cubicBezTo>
                <a:cubicBezTo>
                  <a:pt x="16" y="61"/>
                  <a:pt x="14" y="60"/>
                  <a:pt x="13" y="60"/>
                </a:cubicBezTo>
                <a:cubicBezTo>
                  <a:pt x="12" y="59"/>
                  <a:pt x="12" y="59"/>
                  <a:pt x="12" y="59"/>
                </a:cubicBezTo>
                <a:cubicBezTo>
                  <a:pt x="11" y="58"/>
                  <a:pt x="10" y="57"/>
                  <a:pt x="9" y="56"/>
                </a:cubicBezTo>
                <a:cubicBezTo>
                  <a:pt x="9" y="54"/>
                  <a:pt x="9" y="52"/>
                  <a:pt x="11" y="50"/>
                </a:cubicBezTo>
                <a:cubicBezTo>
                  <a:pt x="18" y="37"/>
                  <a:pt x="18" y="37"/>
                  <a:pt x="18" y="37"/>
                </a:cubicBezTo>
                <a:cubicBezTo>
                  <a:pt x="5" y="31"/>
                  <a:pt x="5" y="31"/>
                  <a:pt x="5" y="31"/>
                </a:cubicBezTo>
                <a:cubicBezTo>
                  <a:pt x="2" y="29"/>
                  <a:pt x="1" y="28"/>
                  <a:pt x="1" y="27"/>
                </a:cubicBezTo>
                <a:cubicBezTo>
                  <a:pt x="0" y="26"/>
                  <a:pt x="0" y="24"/>
                  <a:pt x="1" y="22"/>
                </a:cubicBezTo>
                <a:cubicBezTo>
                  <a:pt x="1" y="22"/>
                  <a:pt x="1" y="22"/>
                  <a:pt x="1" y="22"/>
                </a:cubicBezTo>
                <a:cubicBezTo>
                  <a:pt x="1" y="20"/>
                  <a:pt x="2" y="18"/>
                  <a:pt x="3" y="18"/>
                </a:cubicBezTo>
                <a:cubicBezTo>
                  <a:pt x="5" y="17"/>
                  <a:pt x="6" y="17"/>
                  <a:pt x="9" y="17"/>
                </a:cubicBezTo>
                <a:cubicBezTo>
                  <a:pt x="24" y="20"/>
                  <a:pt x="24" y="20"/>
                  <a:pt x="24" y="20"/>
                </a:cubicBezTo>
                <a:lnTo>
                  <a:pt x="26" y="6"/>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05" name="Freeform 6"/>
          <p:cNvSpPr>
            <a:spLocks/>
          </p:cNvSpPr>
          <p:nvPr userDrawn="1"/>
        </p:nvSpPr>
        <p:spPr bwMode="auto">
          <a:xfrm>
            <a:off x="1828060" y="5070689"/>
            <a:ext cx="509315" cy="554783"/>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210" name="Freeform 6"/>
          <p:cNvSpPr>
            <a:spLocks/>
          </p:cNvSpPr>
          <p:nvPr userDrawn="1"/>
        </p:nvSpPr>
        <p:spPr bwMode="auto">
          <a:xfrm>
            <a:off x="6935214" y="3718379"/>
            <a:ext cx="544462" cy="353600"/>
          </a:xfrm>
          <a:custGeom>
            <a:avLst/>
            <a:gdLst/>
            <a:ahLst/>
            <a:cxnLst>
              <a:cxn ang="0">
                <a:pos x="175" y="236"/>
              </a:cxn>
              <a:cxn ang="0">
                <a:pos x="157" y="291"/>
              </a:cxn>
              <a:cxn ang="0">
                <a:pos x="0" y="278"/>
              </a:cxn>
              <a:cxn ang="0">
                <a:pos x="36" y="141"/>
              </a:cxn>
              <a:cxn ang="0">
                <a:pos x="27" y="80"/>
              </a:cxn>
              <a:cxn ang="0">
                <a:pos x="103" y="1"/>
              </a:cxn>
              <a:cxn ang="0">
                <a:pos x="182" y="77"/>
              </a:cxn>
              <a:cxn ang="0">
                <a:pos x="182" y="167"/>
              </a:cxn>
              <a:cxn ang="0">
                <a:pos x="219" y="182"/>
              </a:cxn>
              <a:cxn ang="0">
                <a:pos x="180" y="194"/>
              </a:cxn>
              <a:cxn ang="0">
                <a:pos x="119" y="141"/>
              </a:cxn>
              <a:cxn ang="0">
                <a:pos x="155" y="77"/>
              </a:cxn>
              <a:cxn ang="0">
                <a:pos x="104" y="27"/>
              </a:cxn>
              <a:cxn ang="0">
                <a:pos x="54" y="79"/>
              </a:cxn>
              <a:cxn ang="0">
                <a:pos x="86" y="125"/>
              </a:cxn>
              <a:cxn ang="0">
                <a:pos x="81" y="151"/>
              </a:cxn>
              <a:cxn ang="0">
                <a:pos x="55" y="160"/>
              </a:cxn>
              <a:cxn ang="0">
                <a:pos x="147" y="264"/>
              </a:cxn>
              <a:cxn ang="0">
                <a:pos x="146" y="216"/>
              </a:cxn>
              <a:cxn ang="0">
                <a:pos x="221" y="210"/>
              </a:cxn>
              <a:cxn ang="0">
                <a:pos x="291" y="210"/>
              </a:cxn>
              <a:cxn ang="0">
                <a:pos x="303" y="229"/>
              </a:cxn>
              <a:cxn ang="0">
                <a:pos x="421" y="264"/>
              </a:cxn>
              <a:cxn ang="0">
                <a:pos x="373" y="151"/>
              </a:cxn>
              <a:cxn ang="0">
                <a:pos x="354" y="140"/>
              </a:cxn>
              <a:cxn ang="0">
                <a:pos x="366" y="124"/>
              </a:cxn>
              <a:cxn ang="0">
                <a:pos x="380" y="43"/>
              </a:cxn>
              <a:cxn ang="0">
                <a:pos x="308" y="42"/>
              </a:cxn>
              <a:cxn ang="0">
                <a:pos x="322" y="124"/>
              </a:cxn>
              <a:cxn ang="0">
                <a:pos x="327" y="145"/>
              </a:cxn>
              <a:cxn ang="0">
                <a:pos x="243" y="195"/>
              </a:cxn>
              <a:cxn ang="0">
                <a:pos x="242" y="169"/>
              </a:cxn>
              <a:cxn ang="0">
                <a:pos x="300" y="143"/>
              </a:cxn>
              <a:cxn ang="0">
                <a:pos x="289" y="22"/>
              </a:cxn>
              <a:cxn ang="0">
                <a:pos x="399" y="24"/>
              </a:cxn>
              <a:cxn ang="0">
                <a:pos x="399" y="131"/>
              </a:cxn>
              <a:cxn ang="0">
                <a:pos x="444" y="225"/>
              </a:cxn>
              <a:cxn ang="0">
                <a:pos x="434" y="291"/>
              </a:cxn>
              <a:cxn ang="0">
                <a:pos x="278" y="283"/>
              </a:cxn>
              <a:cxn ang="0">
                <a:pos x="227" y="236"/>
              </a:cxn>
            </a:cxnLst>
            <a:rect l="0" t="0" r="r" b="b"/>
            <a:pathLst>
              <a:path w="448" h="291">
                <a:moveTo>
                  <a:pt x="221" y="236"/>
                </a:moveTo>
                <a:cubicBezTo>
                  <a:pt x="175" y="236"/>
                  <a:pt x="175" y="236"/>
                  <a:pt x="175" y="236"/>
                </a:cubicBezTo>
                <a:cubicBezTo>
                  <a:pt x="178" y="260"/>
                  <a:pt x="170" y="281"/>
                  <a:pt x="169" y="283"/>
                </a:cubicBezTo>
                <a:cubicBezTo>
                  <a:pt x="167" y="288"/>
                  <a:pt x="163" y="291"/>
                  <a:pt x="157" y="291"/>
                </a:cubicBezTo>
                <a:cubicBezTo>
                  <a:pt x="14" y="291"/>
                  <a:pt x="14" y="291"/>
                  <a:pt x="14" y="291"/>
                </a:cubicBezTo>
                <a:cubicBezTo>
                  <a:pt x="6" y="291"/>
                  <a:pt x="0" y="285"/>
                  <a:pt x="0" y="278"/>
                </a:cubicBezTo>
                <a:cubicBezTo>
                  <a:pt x="0" y="277"/>
                  <a:pt x="0" y="253"/>
                  <a:pt x="4" y="225"/>
                </a:cubicBezTo>
                <a:cubicBezTo>
                  <a:pt x="9" y="185"/>
                  <a:pt x="20" y="157"/>
                  <a:pt x="36" y="141"/>
                </a:cubicBezTo>
                <a:cubicBezTo>
                  <a:pt x="40" y="137"/>
                  <a:pt x="44" y="134"/>
                  <a:pt x="48" y="131"/>
                </a:cubicBezTo>
                <a:cubicBezTo>
                  <a:pt x="35" y="118"/>
                  <a:pt x="27" y="99"/>
                  <a:pt x="27" y="80"/>
                </a:cubicBezTo>
                <a:cubicBezTo>
                  <a:pt x="27" y="59"/>
                  <a:pt x="34" y="39"/>
                  <a:pt x="49" y="24"/>
                </a:cubicBezTo>
                <a:cubicBezTo>
                  <a:pt x="63" y="9"/>
                  <a:pt x="82" y="1"/>
                  <a:pt x="103" y="1"/>
                </a:cubicBezTo>
                <a:cubicBezTo>
                  <a:pt x="124" y="0"/>
                  <a:pt x="143" y="8"/>
                  <a:pt x="158" y="22"/>
                </a:cubicBezTo>
                <a:cubicBezTo>
                  <a:pt x="173" y="37"/>
                  <a:pt x="182" y="56"/>
                  <a:pt x="182" y="77"/>
                </a:cubicBezTo>
                <a:cubicBezTo>
                  <a:pt x="183" y="103"/>
                  <a:pt x="169" y="128"/>
                  <a:pt x="148" y="142"/>
                </a:cubicBezTo>
                <a:cubicBezTo>
                  <a:pt x="151" y="150"/>
                  <a:pt x="161" y="166"/>
                  <a:pt x="182" y="167"/>
                </a:cubicBezTo>
                <a:cubicBezTo>
                  <a:pt x="196" y="168"/>
                  <a:pt x="206" y="168"/>
                  <a:pt x="206" y="168"/>
                </a:cubicBezTo>
                <a:cubicBezTo>
                  <a:pt x="213" y="169"/>
                  <a:pt x="219" y="175"/>
                  <a:pt x="219" y="182"/>
                </a:cubicBezTo>
                <a:cubicBezTo>
                  <a:pt x="218" y="190"/>
                  <a:pt x="212" y="195"/>
                  <a:pt x="205" y="195"/>
                </a:cubicBezTo>
                <a:cubicBezTo>
                  <a:pt x="205" y="195"/>
                  <a:pt x="195" y="195"/>
                  <a:pt x="180" y="194"/>
                </a:cubicBezTo>
                <a:cubicBezTo>
                  <a:pt x="143" y="191"/>
                  <a:pt x="125" y="161"/>
                  <a:pt x="121" y="145"/>
                </a:cubicBezTo>
                <a:cubicBezTo>
                  <a:pt x="119" y="141"/>
                  <a:pt x="119" y="141"/>
                  <a:pt x="119" y="141"/>
                </a:cubicBezTo>
                <a:cubicBezTo>
                  <a:pt x="117" y="134"/>
                  <a:pt x="120" y="127"/>
                  <a:pt x="126" y="124"/>
                </a:cubicBezTo>
                <a:cubicBezTo>
                  <a:pt x="144" y="116"/>
                  <a:pt x="156" y="97"/>
                  <a:pt x="155" y="77"/>
                </a:cubicBezTo>
                <a:cubicBezTo>
                  <a:pt x="155" y="64"/>
                  <a:pt x="150" y="51"/>
                  <a:pt x="140" y="42"/>
                </a:cubicBezTo>
                <a:cubicBezTo>
                  <a:pt x="130" y="32"/>
                  <a:pt x="117" y="27"/>
                  <a:pt x="104" y="27"/>
                </a:cubicBezTo>
                <a:cubicBezTo>
                  <a:pt x="90" y="28"/>
                  <a:pt x="77" y="33"/>
                  <a:pt x="68" y="43"/>
                </a:cubicBezTo>
                <a:cubicBezTo>
                  <a:pt x="59" y="53"/>
                  <a:pt x="53" y="66"/>
                  <a:pt x="54" y="79"/>
                </a:cubicBezTo>
                <a:cubicBezTo>
                  <a:pt x="54" y="98"/>
                  <a:pt x="65" y="115"/>
                  <a:pt x="82" y="124"/>
                </a:cubicBezTo>
                <a:cubicBezTo>
                  <a:pt x="86" y="125"/>
                  <a:pt x="86" y="125"/>
                  <a:pt x="86" y="125"/>
                </a:cubicBezTo>
                <a:cubicBezTo>
                  <a:pt x="92" y="128"/>
                  <a:pt x="95" y="134"/>
                  <a:pt x="94" y="140"/>
                </a:cubicBezTo>
                <a:cubicBezTo>
                  <a:pt x="93" y="147"/>
                  <a:pt x="87" y="151"/>
                  <a:pt x="81" y="151"/>
                </a:cubicBezTo>
                <a:cubicBezTo>
                  <a:pt x="74" y="151"/>
                  <a:pt x="74" y="151"/>
                  <a:pt x="74" y="151"/>
                </a:cubicBezTo>
                <a:cubicBezTo>
                  <a:pt x="67" y="151"/>
                  <a:pt x="61" y="154"/>
                  <a:pt x="55" y="160"/>
                </a:cubicBezTo>
                <a:cubicBezTo>
                  <a:pt x="34" y="181"/>
                  <a:pt x="28" y="234"/>
                  <a:pt x="27" y="264"/>
                </a:cubicBezTo>
                <a:cubicBezTo>
                  <a:pt x="147" y="264"/>
                  <a:pt x="147" y="264"/>
                  <a:pt x="147" y="264"/>
                </a:cubicBezTo>
                <a:cubicBezTo>
                  <a:pt x="149" y="255"/>
                  <a:pt x="151" y="241"/>
                  <a:pt x="145" y="229"/>
                </a:cubicBezTo>
                <a:cubicBezTo>
                  <a:pt x="143" y="225"/>
                  <a:pt x="143" y="220"/>
                  <a:pt x="146" y="216"/>
                </a:cubicBezTo>
                <a:cubicBezTo>
                  <a:pt x="148" y="212"/>
                  <a:pt x="152" y="210"/>
                  <a:pt x="157" y="210"/>
                </a:cubicBezTo>
                <a:cubicBezTo>
                  <a:pt x="221" y="210"/>
                  <a:pt x="221" y="210"/>
                  <a:pt x="221" y="210"/>
                </a:cubicBezTo>
                <a:cubicBezTo>
                  <a:pt x="227" y="210"/>
                  <a:pt x="227" y="210"/>
                  <a:pt x="227" y="210"/>
                </a:cubicBezTo>
                <a:cubicBezTo>
                  <a:pt x="291" y="210"/>
                  <a:pt x="291" y="210"/>
                  <a:pt x="291" y="210"/>
                </a:cubicBezTo>
                <a:cubicBezTo>
                  <a:pt x="295" y="210"/>
                  <a:pt x="299" y="212"/>
                  <a:pt x="302" y="216"/>
                </a:cubicBezTo>
                <a:cubicBezTo>
                  <a:pt x="304" y="220"/>
                  <a:pt x="305" y="225"/>
                  <a:pt x="303" y="229"/>
                </a:cubicBezTo>
                <a:cubicBezTo>
                  <a:pt x="297" y="241"/>
                  <a:pt x="299" y="256"/>
                  <a:pt x="301" y="264"/>
                </a:cubicBezTo>
                <a:cubicBezTo>
                  <a:pt x="421" y="264"/>
                  <a:pt x="421" y="264"/>
                  <a:pt x="421" y="264"/>
                </a:cubicBezTo>
                <a:cubicBezTo>
                  <a:pt x="419" y="234"/>
                  <a:pt x="413" y="181"/>
                  <a:pt x="392" y="160"/>
                </a:cubicBezTo>
                <a:cubicBezTo>
                  <a:pt x="387" y="154"/>
                  <a:pt x="381" y="151"/>
                  <a:pt x="373" y="151"/>
                </a:cubicBezTo>
                <a:cubicBezTo>
                  <a:pt x="367" y="151"/>
                  <a:pt x="367" y="151"/>
                  <a:pt x="367" y="151"/>
                </a:cubicBezTo>
                <a:cubicBezTo>
                  <a:pt x="360" y="151"/>
                  <a:pt x="355" y="147"/>
                  <a:pt x="354" y="140"/>
                </a:cubicBezTo>
                <a:cubicBezTo>
                  <a:pt x="353" y="134"/>
                  <a:pt x="356" y="128"/>
                  <a:pt x="362" y="126"/>
                </a:cubicBezTo>
                <a:cubicBezTo>
                  <a:pt x="366" y="124"/>
                  <a:pt x="366" y="124"/>
                  <a:pt x="366" y="124"/>
                </a:cubicBezTo>
                <a:cubicBezTo>
                  <a:pt x="383" y="115"/>
                  <a:pt x="394" y="98"/>
                  <a:pt x="394" y="79"/>
                </a:cubicBezTo>
                <a:cubicBezTo>
                  <a:pt x="394" y="66"/>
                  <a:pt x="389" y="53"/>
                  <a:pt x="380" y="43"/>
                </a:cubicBezTo>
                <a:cubicBezTo>
                  <a:pt x="370" y="33"/>
                  <a:pt x="358" y="28"/>
                  <a:pt x="344" y="27"/>
                </a:cubicBezTo>
                <a:cubicBezTo>
                  <a:pt x="330" y="27"/>
                  <a:pt x="318" y="32"/>
                  <a:pt x="308" y="42"/>
                </a:cubicBezTo>
                <a:cubicBezTo>
                  <a:pt x="298" y="51"/>
                  <a:pt x="292" y="64"/>
                  <a:pt x="292" y="77"/>
                </a:cubicBezTo>
                <a:cubicBezTo>
                  <a:pt x="292" y="97"/>
                  <a:pt x="303" y="116"/>
                  <a:pt x="322" y="124"/>
                </a:cubicBezTo>
                <a:cubicBezTo>
                  <a:pt x="328" y="127"/>
                  <a:pt x="331" y="134"/>
                  <a:pt x="328" y="141"/>
                </a:cubicBezTo>
                <a:cubicBezTo>
                  <a:pt x="327" y="145"/>
                  <a:pt x="327" y="145"/>
                  <a:pt x="327" y="145"/>
                </a:cubicBezTo>
                <a:cubicBezTo>
                  <a:pt x="323" y="162"/>
                  <a:pt x="305" y="192"/>
                  <a:pt x="267" y="194"/>
                </a:cubicBezTo>
                <a:cubicBezTo>
                  <a:pt x="253" y="195"/>
                  <a:pt x="243" y="195"/>
                  <a:pt x="243" y="195"/>
                </a:cubicBezTo>
                <a:cubicBezTo>
                  <a:pt x="235" y="196"/>
                  <a:pt x="229" y="190"/>
                  <a:pt x="229" y="183"/>
                </a:cubicBezTo>
                <a:cubicBezTo>
                  <a:pt x="229" y="175"/>
                  <a:pt x="234" y="169"/>
                  <a:pt x="242" y="169"/>
                </a:cubicBezTo>
                <a:cubicBezTo>
                  <a:pt x="242" y="169"/>
                  <a:pt x="251" y="168"/>
                  <a:pt x="266" y="167"/>
                </a:cubicBezTo>
                <a:cubicBezTo>
                  <a:pt x="287" y="166"/>
                  <a:pt x="296" y="150"/>
                  <a:pt x="300" y="143"/>
                </a:cubicBezTo>
                <a:cubicBezTo>
                  <a:pt x="278" y="128"/>
                  <a:pt x="265" y="103"/>
                  <a:pt x="266" y="77"/>
                </a:cubicBezTo>
                <a:cubicBezTo>
                  <a:pt x="266" y="56"/>
                  <a:pt x="274" y="37"/>
                  <a:pt x="289" y="22"/>
                </a:cubicBezTo>
                <a:cubicBezTo>
                  <a:pt x="304" y="8"/>
                  <a:pt x="324" y="0"/>
                  <a:pt x="344" y="1"/>
                </a:cubicBezTo>
                <a:cubicBezTo>
                  <a:pt x="365" y="1"/>
                  <a:pt x="384" y="10"/>
                  <a:pt x="399" y="24"/>
                </a:cubicBezTo>
                <a:cubicBezTo>
                  <a:pt x="413" y="39"/>
                  <a:pt x="421" y="59"/>
                  <a:pt x="421" y="80"/>
                </a:cubicBezTo>
                <a:cubicBezTo>
                  <a:pt x="420" y="99"/>
                  <a:pt x="412" y="118"/>
                  <a:pt x="399" y="131"/>
                </a:cubicBezTo>
                <a:cubicBezTo>
                  <a:pt x="404" y="134"/>
                  <a:pt x="408" y="137"/>
                  <a:pt x="411" y="141"/>
                </a:cubicBezTo>
                <a:cubicBezTo>
                  <a:pt x="428" y="157"/>
                  <a:pt x="438" y="186"/>
                  <a:pt x="444" y="225"/>
                </a:cubicBezTo>
                <a:cubicBezTo>
                  <a:pt x="448" y="253"/>
                  <a:pt x="447" y="277"/>
                  <a:pt x="447" y="278"/>
                </a:cubicBezTo>
                <a:cubicBezTo>
                  <a:pt x="447" y="285"/>
                  <a:pt x="441" y="291"/>
                  <a:pt x="434" y="291"/>
                </a:cubicBezTo>
                <a:cubicBezTo>
                  <a:pt x="291" y="291"/>
                  <a:pt x="291" y="291"/>
                  <a:pt x="291" y="291"/>
                </a:cubicBezTo>
                <a:cubicBezTo>
                  <a:pt x="285" y="291"/>
                  <a:pt x="280" y="288"/>
                  <a:pt x="278" y="283"/>
                </a:cubicBezTo>
                <a:cubicBezTo>
                  <a:pt x="278" y="282"/>
                  <a:pt x="269" y="260"/>
                  <a:pt x="273" y="236"/>
                </a:cubicBezTo>
                <a:cubicBezTo>
                  <a:pt x="227" y="236"/>
                  <a:pt x="227" y="236"/>
                  <a:pt x="227" y="236"/>
                </a:cubicBezTo>
                <a:lnTo>
                  <a:pt x="221" y="236"/>
                </a:ln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dirty="0">
              <a:solidFill>
                <a:srgbClr val="009530"/>
              </a:solidFill>
            </a:endParaRPr>
          </a:p>
        </p:txBody>
      </p:sp>
      <p:sp>
        <p:nvSpPr>
          <p:cNvPr id="197" name="Freeform 9"/>
          <p:cNvSpPr>
            <a:spLocks/>
          </p:cNvSpPr>
          <p:nvPr userDrawn="1"/>
        </p:nvSpPr>
        <p:spPr bwMode="auto">
          <a:xfrm>
            <a:off x="447682" y="5857907"/>
            <a:ext cx="69731" cy="331423"/>
          </a:xfrm>
          <a:custGeom>
            <a:avLst/>
            <a:gdLst/>
            <a:ahLst/>
            <a:cxnLst>
              <a:cxn ang="0">
                <a:pos x="59" y="400"/>
              </a:cxn>
              <a:cxn ang="0">
                <a:pos x="50" y="380"/>
              </a:cxn>
              <a:cxn ang="0">
                <a:pos x="50" y="247"/>
              </a:cxn>
              <a:cxn ang="0">
                <a:pos x="34" y="213"/>
              </a:cxn>
              <a:cxn ang="0">
                <a:pos x="50" y="180"/>
              </a:cxn>
              <a:cxn ang="0">
                <a:pos x="50" y="46"/>
              </a:cxn>
              <a:cxn ang="0">
                <a:pos x="59" y="26"/>
              </a:cxn>
              <a:cxn ang="0">
                <a:pos x="72" y="13"/>
              </a:cxn>
              <a:cxn ang="0">
                <a:pos x="59" y="0"/>
              </a:cxn>
              <a:cxn ang="0">
                <a:pos x="23" y="46"/>
              </a:cxn>
              <a:cxn ang="0">
                <a:pos x="23" y="180"/>
              </a:cxn>
              <a:cxn ang="0">
                <a:pos x="6" y="202"/>
              </a:cxn>
              <a:cxn ang="0">
                <a:pos x="0" y="213"/>
              </a:cxn>
              <a:cxn ang="0">
                <a:pos x="6" y="224"/>
              </a:cxn>
              <a:cxn ang="0">
                <a:pos x="23" y="247"/>
              </a:cxn>
              <a:cxn ang="0">
                <a:pos x="23" y="380"/>
              </a:cxn>
              <a:cxn ang="0">
                <a:pos x="59" y="427"/>
              </a:cxn>
              <a:cxn ang="0">
                <a:pos x="72" y="414"/>
              </a:cxn>
              <a:cxn ang="0">
                <a:pos x="59" y="400"/>
              </a:cxn>
            </a:cxnLst>
            <a:rect l="0" t="0" r="r" b="b"/>
            <a:pathLst>
              <a:path w="72" h="427">
                <a:moveTo>
                  <a:pt x="59" y="400"/>
                </a:moveTo>
                <a:cubicBezTo>
                  <a:pt x="56" y="400"/>
                  <a:pt x="50" y="393"/>
                  <a:pt x="50" y="380"/>
                </a:cubicBezTo>
                <a:cubicBezTo>
                  <a:pt x="50" y="247"/>
                  <a:pt x="50" y="247"/>
                  <a:pt x="50" y="247"/>
                </a:cubicBezTo>
                <a:cubicBezTo>
                  <a:pt x="50" y="233"/>
                  <a:pt x="42" y="221"/>
                  <a:pt x="34" y="213"/>
                </a:cubicBezTo>
                <a:cubicBezTo>
                  <a:pt x="42" y="205"/>
                  <a:pt x="50" y="194"/>
                  <a:pt x="50" y="180"/>
                </a:cubicBezTo>
                <a:cubicBezTo>
                  <a:pt x="50" y="46"/>
                  <a:pt x="50" y="46"/>
                  <a:pt x="50" y="46"/>
                </a:cubicBezTo>
                <a:cubicBezTo>
                  <a:pt x="50" y="34"/>
                  <a:pt x="56" y="26"/>
                  <a:pt x="59" y="26"/>
                </a:cubicBezTo>
                <a:cubicBezTo>
                  <a:pt x="66" y="26"/>
                  <a:pt x="72" y="20"/>
                  <a:pt x="72" y="13"/>
                </a:cubicBezTo>
                <a:cubicBezTo>
                  <a:pt x="72" y="6"/>
                  <a:pt x="66" y="0"/>
                  <a:pt x="59" y="0"/>
                </a:cubicBezTo>
                <a:cubicBezTo>
                  <a:pt x="39" y="0"/>
                  <a:pt x="23" y="20"/>
                  <a:pt x="23" y="46"/>
                </a:cubicBezTo>
                <a:cubicBezTo>
                  <a:pt x="23" y="180"/>
                  <a:pt x="23" y="180"/>
                  <a:pt x="23" y="180"/>
                </a:cubicBezTo>
                <a:cubicBezTo>
                  <a:pt x="23" y="188"/>
                  <a:pt x="12" y="199"/>
                  <a:pt x="6" y="202"/>
                </a:cubicBezTo>
                <a:cubicBezTo>
                  <a:pt x="3" y="205"/>
                  <a:pt x="0" y="209"/>
                  <a:pt x="0" y="213"/>
                </a:cubicBezTo>
                <a:cubicBezTo>
                  <a:pt x="0" y="218"/>
                  <a:pt x="3" y="222"/>
                  <a:pt x="6" y="224"/>
                </a:cubicBezTo>
                <a:cubicBezTo>
                  <a:pt x="12" y="228"/>
                  <a:pt x="23" y="238"/>
                  <a:pt x="23" y="247"/>
                </a:cubicBezTo>
                <a:cubicBezTo>
                  <a:pt x="23" y="380"/>
                  <a:pt x="23" y="380"/>
                  <a:pt x="23" y="380"/>
                </a:cubicBezTo>
                <a:cubicBezTo>
                  <a:pt x="23" y="407"/>
                  <a:pt x="39" y="427"/>
                  <a:pt x="59" y="427"/>
                </a:cubicBezTo>
                <a:cubicBezTo>
                  <a:pt x="66" y="427"/>
                  <a:pt x="72" y="421"/>
                  <a:pt x="72" y="414"/>
                </a:cubicBezTo>
                <a:cubicBezTo>
                  <a:pt x="72" y="406"/>
                  <a:pt x="66" y="400"/>
                  <a:pt x="59" y="400"/>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98" name="Freeform 13"/>
          <p:cNvSpPr>
            <a:spLocks/>
          </p:cNvSpPr>
          <p:nvPr userDrawn="1"/>
        </p:nvSpPr>
        <p:spPr bwMode="auto">
          <a:xfrm>
            <a:off x="611753" y="5857907"/>
            <a:ext cx="72465" cy="331423"/>
          </a:xfrm>
          <a:custGeom>
            <a:avLst/>
            <a:gdLst/>
            <a:ahLst/>
            <a:cxnLst>
              <a:cxn ang="0">
                <a:pos x="72" y="214"/>
              </a:cxn>
              <a:cxn ang="0">
                <a:pos x="66" y="202"/>
              </a:cxn>
              <a:cxn ang="0">
                <a:pos x="50" y="180"/>
              </a:cxn>
              <a:cxn ang="0">
                <a:pos x="50" y="46"/>
              </a:cxn>
              <a:cxn ang="0">
                <a:pos x="14" y="0"/>
              </a:cxn>
              <a:cxn ang="0">
                <a:pos x="0" y="13"/>
              </a:cxn>
              <a:cxn ang="0">
                <a:pos x="14" y="26"/>
              </a:cxn>
              <a:cxn ang="0">
                <a:pos x="23" y="46"/>
              </a:cxn>
              <a:cxn ang="0">
                <a:pos x="23" y="180"/>
              </a:cxn>
              <a:cxn ang="0">
                <a:pos x="39" y="213"/>
              </a:cxn>
              <a:cxn ang="0">
                <a:pos x="23" y="247"/>
              </a:cxn>
              <a:cxn ang="0">
                <a:pos x="23" y="380"/>
              </a:cxn>
              <a:cxn ang="0">
                <a:pos x="14" y="400"/>
              </a:cxn>
              <a:cxn ang="0">
                <a:pos x="0" y="414"/>
              </a:cxn>
              <a:cxn ang="0">
                <a:pos x="14" y="427"/>
              </a:cxn>
              <a:cxn ang="0">
                <a:pos x="50" y="380"/>
              </a:cxn>
              <a:cxn ang="0">
                <a:pos x="50" y="247"/>
              </a:cxn>
              <a:cxn ang="0">
                <a:pos x="66" y="224"/>
              </a:cxn>
              <a:cxn ang="0">
                <a:pos x="65" y="225"/>
              </a:cxn>
              <a:cxn ang="0">
                <a:pos x="72" y="214"/>
              </a:cxn>
            </a:cxnLst>
            <a:rect l="0" t="0" r="r" b="b"/>
            <a:pathLst>
              <a:path w="73" h="427">
                <a:moveTo>
                  <a:pt x="72" y="214"/>
                </a:moveTo>
                <a:cubicBezTo>
                  <a:pt x="73" y="209"/>
                  <a:pt x="70" y="205"/>
                  <a:pt x="66" y="202"/>
                </a:cubicBezTo>
                <a:cubicBezTo>
                  <a:pt x="61" y="199"/>
                  <a:pt x="50" y="188"/>
                  <a:pt x="50" y="180"/>
                </a:cubicBezTo>
                <a:cubicBezTo>
                  <a:pt x="50" y="46"/>
                  <a:pt x="50" y="46"/>
                  <a:pt x="50" y="46"/>
                </a:cubicBezTo>
                <a:cubicBezTo>
                  <a:pt x="50" y="20"/>
                  <a:pt x="34" y="0"/>
                  <a:pt x="14" y="0"/>
                </a:cubicBezTo>
                <a:cubicBezTo>
                  <a:pt x="6" y="0"/>
                  <a:pt x="0" y="6"/>
                  <a:pt x="0" y="13"/>
                </a:cubicBezTo>
                <a:cubicBezTo>
                  <a:pt x="0" y="20"/>
                  <a:pt x="6" y="26"/>
                  <a:pt x="14" y="26"/>
                </a:cubicBezTo>
                <a:cubicBezTo>
                  <a:pt x="17" y="26"/>
                  <a:pt x="23" y="34"/>
                  <a:pt x="23" y="46"/>
                </a:cubicBezTo>
                <a:cubicBezTo>
                  <a:pt x="23" y="180"/>
                  <a:pt x="23" y="180"/>
                  <a:pt x="23" y="180"/>
                </a:cubicBezTo>
                <a:cubicBezTo>
                  <a:pt x="23" y="194"/>
                  <a:pt x="31" y="205"/>
                  <a:pt x="39" y="213"/>
                </a:cubicBezTo>
                <a:cubicBezTo>
                  <a:pt x="31" y="221"/>
                  <a:pt x="23" y="233"/>
                  <a:pt x="23" y="247"/>
                </a:cubicBezTo>
                <a:cubicBezTo>
                  <a:pt x="23" y="380"/>
                  <a:pt x="23" y="380"/>
                  <a:pt x="23" y="380"/>
                </a:cubicBezTo>
                <a:cubicBezTo>
                  <a:pt x="23" y="393"/>
                  <a:pt x="17" y="400"/>
                  <a:pt x="14" y="400"/>
                </a:cubicBezTo>
                <a:cubicBezTo>
                  <a:pt x="6" y="400"/>
                  <a:pt x="0" y="406"/>
                  <a:pt x="0" y="414"/>
                </a:cubicBezTo>
                <a:cubicBezTo>
                  <a:pt x="0" y="421"/>
                  <a:pt x="6" y="427"/>
                  <a:pt x="14" y="427"/>
                </a:cubicBezTo>
                <a:cubicBezTo>
                  <a:pt x="34" y="427"/>
                  <a:pt x="50" y="407"/>
                  <a:pt x="50" y="380"/>
                </a:cubicBezTo>
                <a:cubicBezTo>
                  <a:pt x="50" y="247"/>
                  <a:pt x="50" y="247"/>
                  <a:pt x="50" y="247"/>
                </a:cubicBezTo>
                <a:cubicBezTo>
                  <a:pt x="50" y="238"/>
                  <a:pt x="61" y="228"/>
                  <a:pt x="66" y="224"/>
                </a:cubicBezTo>
                <a:cubicBezTo>
                  <a:pt x="66" y="225"/>
                  <a:pt x="65" y="225"/>
                  <a:pt x="65" y="225"/>
                </a:cubicBezTo>
                <a:cubicBezTo>
                  <a:pt x="69" y="223"/>
                  <a:pt x="72" y="219"/>
                  <a:pt x="72" y="21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solidFill>
                <a:srgbClr val="87D200"/>
              </a:solidFill>
            </a:endParaRPr>
          </a:p>
        </p:txBody>
      </p:sp>
      <p:sp>
        <p:nvSpPr>
          <p:cNvPr id="199" name="TextBox 198"/>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prstClr val="white"/>
                </a:solidFill>
                <a:cs typeface="Arial" pitchFamily="34" charset="0"/>
              </a:rPr>
              <a:t>Confidential Property of Schneider Electric</a:t>
            </a:r>
          </a:p>
        </p:txBody>
      </p:sp>
      <p:sp>
        <p:nvSpPr>
          <p:cNvPr id="200" name="Slide Number Placeholder 3"/>
          <p:cNvSpPr txBox="1">
            <a:spLocks/>
          </p:cNvSpPr>
          <p:nvPr userDrawn="1"/>
        </p:nvSpPr>
        <p:spPr>
          <a:xfrm>
            <a:off x="11182354" y="6278563"/>
            <a:ext cx="396875" cy="190500"/>
          </a:xfrm>
          <a:prstGeom prst="rect">
            <a:avLst/>
          </a:prstGeom>
        </p:spPr>
        <p:txBody>
          <a:bodyPr vert="horz" wrap="square" lIns="0" tIns="0" rIns="0" bIns="0" numCol="1" anchor="b" anchorCtr="0" compatLnSpc="1">
            <a:prstTxWarp prst="textNoShape">
              <a:avLst/>
            </a:prstTxWarp>
            <a:spAutoFit/>
          </a:bodyPr>
          <a:lstStyle/>
          <a:p>
            <a:pPr algn="r" fontAlgn="base">
              <a:spcBef>
                <a:spcPct val="0"/>
              </a:spcBef>
              <a:spcAft>
                <a:spcPct val="0"/>
              </a:spcAft>
              <a:defRPr/>
            </a:pPr>
            <a:fld id="{B71EA597-8D80-41E5-B030-69B08F708DA5}" type="slidenum">
              <a:rPr lang="en-US" sz="1200">
                <a:solidFill>
                  <a:srgbClr val="FFFFFF"/>
                </a:solidFill>
                <a:ea typeface="ＭＳ Ｐゴシック" pitchFamily="34" charset="-128"/>
                <a:cs typeface="Arial" pitchFamily="34" charset="0"/>
              </a:rPr>
              <a:pPr algn="r" fontAlgn="base">
                <a:spcBef>
                  <a:spcPct val="0"/>
                </a:spcBef>
                <a:spcAft>
                  <a:spcPct val="0"/>
                </a:spcAft>
                <a:defRPr/>
              </a:pPr>
              <a:t>‹#›</a:t>
            </a:fld>
            <a:endParaRPr lang="en-US" sz="1200" dirty="0">
              <a:solidFill>
                <a:srgbClr val="FFFFFF"/>
              </a:solidFill>
              <a:ea typeface="ＭＳ Ｐゴシック" pitchFamily="34" charset="-128"/>
              <a:cs typeface="Arial" pitchFamily="34" charset="0"/>
            </a:endParaRPr>
          </a:p>
        </p:txBody>
      </p:sp>
    </p:spTree>
    <p:extLst>
      <p:ext uri="{BB962C8B-B14F-4D97-AF65-F5344CB8AC3E}">
        <p14:creationId xmlns:p14="http://schemas.microsoft.com/office/powerpoint/2010/main" val="1406363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structional">
    <p:spTree>
      <p:nvGrpSpPr>
        <p:cNvPr id="1" name=""/>
        <p:cNvGrpSpPr/>
        <p:nvPr/>
      </p:nvGrpSpPr>
      <p:grpSpPr>
        <a:xfrm>
          <a:off x="0" y="0"/>
          <a:ext cx="0" cy="0"/>
          <a:chOff x="0" y="0"/>
          <a:chExt cx="0" cy="0"/>
        </a:xfrm>
      </p:grpSpPr>
      <p:sp>
        <p:nvSpPr>
          <p:cNvPr id="11" name="Title 10"/>
          <p:cNvSpPr>
            <a:spLocks noGrp="1"/>
          </p:cNvSpPr>
          <p:nvPr>
            <p:ph type="title" hasCustomPrompt="1"/>
          </p:nvPr>
        </p:nvSpPr>
        <p:spPr>
          <a:xfrm>
            <a:off x="608013" y="261948"/>
            <a:ext cx="10971212" cy="1109661"/>
          </a:xfrm>
        </p:spPr>
        <p:txBody>
          <a:bodyPr anchor="t" anchorCtr="0"/>
          <a:lstStyle>
            <a:lvl1pPr algn="l">
              <a:defRPr/>
            </a:lvl1pPr>
          </a:lstStyle>
          <a:p>
            <a:r>
              <a:rPr lang="en-US" dirty="0"/>
              <a:t>Click to edit title</a:t>
            </a:r>
          </a:p>
        </p:txBody>
      </p:sp>
      <p:sp>
        <p:nvSpPr>
          <p:cNvPr id="8" name="Picture Placeholder 7"/>
          <p:cNvSpPr>
            <a:spLocks noGrp="1"/>
          </p:cNvSpPr>
          <p:nvPr>
            <p:ph type="pic" sz="quarter" idx="13" hasCustomPrompt="1"/>
          </p:nvPr>
        </p:nvSpPr>
        <p:spPr>
          <a:xfrm>
            <a:off x="4895856" y="1511309"/>
            <a:ext cx="6683375" cy="3754763"/>
          </a:xfrm>
        </p:spPr>
        <p:txBody>
          <a:bodyPr/>
          <a:lstStyle>
            <a:lvl1pPr marL="0" indent="0">
              <a:buNone/>
              <a:defRPr/>
            </a:lvl1pPr>
          </a:lstStyle>
          <a:p>
            <a:r>
              <a:rPr lang="en-US" dirty="0"/>
              <a:t>Drag picture to placeholder or click icon to add</a:t>
            </a:r>
          </a:p>
        </p:txBody>
      </p:sp>
      <p:sp>
        <p:nvSpPr>
          <p:cNvPr id="10" name="Text Placeholder 9"/>
          <p:cNvSpPr>
            <a:spLocks noGrp="1"/>
          </p:cNvSpPr>
          <p:nvPr>
            <p:ph type="body" sz="quarter" idx="14"/>
          </p:nvPr>
        </p:nvSpPr>
        <p:spPr>
          <a:xfrm>
            <a:off x="608440" y="1511308"/>
            <a:ext cx="4148619" cy="4660901"/>
          </a:xfrm>
        </p:spPr>
        <p:txBody>
          <a:bodyPr anchor="t" anchorCtr="0"/>
          <a:lstStyle>
            <a:lvl1pPr marL="0" indent="0">
              <a:buFontTx/>
              <a:buNone/>
              <a:defRPr lang="en-US" sz="2300" kern="1200" baseline="0" dirty="0" smtClean="0">
                <a:solidFill>
                  <a:srgbClr val="009530"/>
                </a:solidFill>
                <a:latin typeface="Arial" pitchFamily="34" charset="0"/>
                <a:ea typeface="+mn-ea"/>
                <a:cs typeface="Arial" pitchFamily="34" charset="0"/>
              </a:defRPr>
            </a:lvl1pPr>
            <a:lvl2pPr>
              <a:defRPr lang="en-US" sz="2000" kern="1200" dirty="0" smtClean="0">
                <a:solidFill>
                  <a:srgbClr val="626469"/>
                </a:solidFill>
                <a:latin typeface="Arial" pitchFamily="34" charset="0"/>
                <a:ea typeface="+mn-ea"/>
                <a:cs typeface="Arial" pitchFamily="34" charset="0"/>
              </a:defRPr>
            </a:lvl2pPr>
            <a:lvl3pPr>
              <a:defRPr lang="en-US" sz="1900" kern="1200" dirty="0" smtClean="0">
                <a:solidFill>
                  <a:srgbClr val="626469"/>
                </a:solidFill>
                <a:latin typeface="Arial" pitchFamily="34" charset="0"/>
                <a:ea typeface="+mn-ea"/>
                <a:cs typeface="Arial" pitchFamily="34" charset="0"/>
              </a:defRPr>
            </a:lvl3pPr>
            <a:lvl4pPr>
              <a:defRPr lang="en-US" sz="1600" kern="1200" baseline="0" dirty="0" smtClean="0">
                <a:solidFill>
                  <a:srgbClr val="626469"/>
                </a:solidFill>
                <a:latin typeface="Arial" pitchFamily="34" charset="0"/>
                <a:ea typeface="+mn-ea"/>
                <a:cs typeface="Arial" pitchFamily="34" charset="0"/>
              </a:defRPr>
            </a:lvl4pPr>
            <a:lvl5pPr>
              <a:defRPr lang="en-US" sz="1500" kern="1200" baseline="0" dirty="0" smtClean="0">
                <a:solidFill>
                  <a:srgbClr val="626469"/>
                </a:solidFill>
                <a:latin typeface="Arial" pitchFamily="34" charset="0"/>
                <a:ea typeface="+mn-ea"/>
                <a:cs typeface="Arial" pitchFamily="34" charset="0"/>
              </a:defRPr>
            </a:lvl5pPr>
          </a:lstStyle>
          <a:p>
            <a:pPr marL="225406" lvl="0" indent="-225406" algn="l" defTabSz="914323" rtl="0" eaLnBrk="1" latinLnBrk="0" hangingPunct="1">
              <a:spcBef>
                <a:spcPct val="20000"/>
              </a:spcBef>
              <a:buClr>
                <a:srgbClr val="009530"/>
              </a:buClr>
              <a:buFont typeface="Arial" pitchFamily="34" charset="0"/>
              <a:buChar char="&gt;"/>
            </a:pPr>
            <a:r>
              <a:rPr lang="en-US" dirty="0"/>
              <a:t>Click to edit Master text styles</a:t>
            </a:r>
          </a:p>
          <a:p>
            <a:pPr marL="457161" lvl="1" indent="-228581" algn="l" defTabSz="914323" rtl="0" eaLnBrk="1" latinLnBrk="0" hangingPunct="1">
              <a:spcBef>
                <a:spcPct val="20000"/>
              </a:spcBef>
              <a:buClr>
                <a:srgbClr val="626469"/>
              </a:buClr>
              <a:buFont typeface="Arial" pitchFamily="34" charset="0"/>
              <a:buChar char="&gt;"/>
            </a:pPr>
            <a:r>
              <a:rPr lang="en-US" dirty="0"/>
              <a:t>Second level</a:t>
            </a:r>
          </a:p>
          <a:p>
            <a:pPr marL="685744" lvl="2" indent="-228581" algn="l" defTabSz="914323" rtl="0" eaLnBrk="1" latinLnBrk="0" hangingPunct="1">
              <a:spcBef>
                <a:spcPct val="20000"/>
              </a:spcBef>
              <a:buClr>
                <a:srgbClr val="626469"/>
              </a:buClr>
              <a:buFont typeface="Arial" pitchFamily="34" charset="0"/>
              <a:buChar char="-"/>
            </a:pPr>
            <a:r>
              <a:rPr lang="en-US" dirty="0"/>
              <a:t>Third level</a:t>
            </a:r>
          </a:p>
          <a:p>
            <a:pPr marL="914323" lvl="3" indent="-228581" algn="l" defTabSz="914323" rtl="0" eaLnBrk="1" latinLnBrk="0" hangingPunct="1">
              <a:spcBef>
                <a:spcPct val="20000"/>
              </a:spcBef>
              <a:buClr>
                <a:srgbClr val="626469"/>
              </a:buClr>
              <a:buFont typeface="Arial" pitchFamily="34" charset="0"/>
              <a:buChar char="-"/>
            </a:pPr>
            <a:r>
              <a:rPr lang="en-US" dirty="0"/>
              <a:t>Fourth level</a:t>
            </a:r>
          </a:p>
          <a:p>
            <a:pPr marL="1142904" lvl="4" indent="-228581" algn="l" defTabSz="914323" rtl="0" eaLnBrk="1" latinLnBrk="0" hangingPunct="1">
              <a:spcBef>
                <a:spcPct val="20000"/>
              </a:spcBef>
              <a:buClr>
                <a:srgbClr val="626469"/>
              </a:buClr>
              <a:buFont typeface="Arial" pitchFamily="34" charset="0"/>
              <a:buChar char="-"/>
            </a:pPr>
            <a:r>
              <a:rPr lang="en-US" dirty="0"/>
              <a:t>Fifth level</a:t>
            </a:r>
          </a:p>
          <a:p>
            <a:pPr lvl="0"/>
            <a:endParaRPr lang="en-US" dirty="0"/>
          </a:p>
        </p:txBody>
      </p:sp>
      <p:sp>
        <p:nvSpPr>
          <p:cNvPr id="9" name="Text Placeholder 8"/>
          <p:cNvSpPr>
            <a:spLocks noGrp="1"/>
          </p:cNvSpPr>
          <p:nvPr>
            <p:ph type="body" sz="quarter" idx="15" hasCustomPrompt="1"/>
          </p:nvPr>
        </p:nvSpPr>
        <p:spPr>
          <a:xfrm>
            <a:off x="4895856" y="5410200"/>
            <a:ext cx="6683375" cy="762000"/>
          </a:xfrm>
        </p:spPr>
        <p:txBody>
          <a:bodyPr/>
          <a:lstStyle>
            <a:lvl1pPr marL="0" indent="0">
              <a:buFontTx/>
              <a:buNone/>
              <a:tabLst/>
              <a:defRPr sz="1900">
                <a:solidFill>
                  <a:srgbClr val="626469"/>
                </a:solidFill>
              </a:defRPr>
            </a:lvl1pPr>
          </a:lstStyle>
          <a:p>
            <a:pPr lvl="0"/>
            <a:r>
              <a:rPr lang="en-US" dirty="0"/>
              <a:t>Caption text</a:t>
            </a:r>
          </a:p>
        </p:txBody>
      </p:sp>
      <p:sp>
        <p:nvSpPr>
          <p:cNvPr id="12" name="TextBox 11"/>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4202361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609441" y="6356360"/>
            <a:ext cx="2844059" cy="365125"/>
          </a:xfrm>
          <a:prstGeom prst="rect">
            <a:avLst/>
          </a:prstGeom>
        </p:spPr>
        <p:txBody>
          <a:bodyPr lIns="121888" tIns="60944" rIns="121888" bIns="60944"/>
          <a:lstStyle/>
          <a:p>
            <a:fld id="{8515F83D-8E52-4643-9B98-FE3E44F280D8}" type="datetimeFigureOut">
              <a:rPr lang="fr-FR" smtClean="0">
                <a:solidFill>
                  <a:srgbClr val="87D200"/>
                </a:solidFill>
              </a:rPr>
              <a:pPr/>
              <a:t>27/02/2018</a:t>
            </a:fld>
            <a:endParaRPr lang="fr-FR">
              <a:solidFill>
                <a:srgbClr val="87D200"/>
              </a:solidFill>
            </a:endParaRPr>
          </a:p>
        </p:txBody>
      </p:sp>
      <p:sp>
        <p:nvSpPr>
          <p:cNvPr id="3" name="Espace réservé du pied de page 2"/>
          <p:cNvSpPr>
            <a:spLocks noGrp="1"/>
          </p:cNvSpPr>
          <p:nvPr>
            <p:ph type="ftr" sz="quarter" idx="11"/>
          </p:nvPr>
        </p:nvSpPr>
        <p:spPr>
          <a:xfrm>
            <a:off x="4164515" y="6356360"/>
            <a:ext cx="3859795" cy="365125"/>
          </a:xfrm>
          <a:prstGeom prst="rect">
            <a:avLst/>
          </a:prstGeom>
        </p:spPr>
        <p:txBody>
          <a:bodyPr lIns="121888" tIns="60944" rIns="121888" bIns="60944"/>
          <a:lstStyle/>
          <a:p>
            <a:endParaRPr lang="fr-FR">
              <a:solidFill>
                <a:srgbClr val="87D200"/>
              </a:solidFill>
            </a:endParaRPr>
          </a:p>
        </p:txBody>
      </p:sp>
      <p:sp>
        <p:nvSpPr>
          <p:cNvPr id="4" name="Espace réservé du numéro de diapositive 3"/>
          <p:cNvSpPr>
            <a:spLocks noGrp="1"/>
          </p:cNvSpPr>
          <p:nvPr>
            <p:ph type="sldNum" sz="quarter" idx="12"/>
          </p:nvPr>
        </p:nvSpPr>
        <p:spPr>
          <a:xfrm>
            <a:off x="8735326" y="6356360"/>
            <a:ext cx="2844059" cy="365125"/>
          </a:xfrm>
          <a:prstGeom prst="rect">
            <a:avLst/>
          </a:prstGeom>
        </p:spPr>
        <p:txBody>
          <a:bodyPr lIns="121888" tIns="60944" rIns="121888" bIns="60944"/>
          <a:lstStyle/>
          <a:p>
            <a:fld id="{8E9677EF-8827-44D4-AE5D-DA44A0C44B56}" type="slidenum">
              <a:rPr lang="fr-FR" smtClean="0">
                <a:solidFill>
                  <a:srgbClr val="87D200"/>
                </a:solidFill>
              </a:rPr>
              <a:pPr/>
              <a:t>‹#›</a:t>
            </a:fld>
            <a:endParaRPr lang="fr-FR">
              <a:solidFill>
                <a:srgbClr val="87D200"/>
              </a:solidFill>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007175" y="1124750"/>
            <a:ext cx="10360501" cy="1470025"/>
          </a:xfrm>
        </p:spPr>
        <p:txBody>
          <a:bodyPr/>
          <a:lstStyle>
            <a:lvl1pPr>
              <a:defRPr>
                <a:latin typeface="Arial" pitchFamily="34" charset="0"/>
                <a:cs typeface="Arial" pitchFamily="34" charset="0"/>
              </a:defRPr>
            </a:lvl1pPr>
          </a:lstStyle>
          <a:p>
            <a:r>
              <a:rPr lang="fr-FR" dirty="0"/>
              <a:t>Cliquez pour modifier le style du titre</a:t>
            </a:r>
          </a:p>
        </p:txBody>
      </p:sp>
      <p:sp>
        <p:nvSpPr>
          <p:cNvPr id="3" name="Sous-titre 2"/>
          <p:cNvSpPr>
            <a:spLocks noGrp="1"/>
          </p:cNvSpPr>
          <p:nvPr>
            <p:ph type="subTitle" idx="1"/>
          </p:nvPr>
        </p:nvSpPr>
        <p:spPr>
          <a:xfrm>
            <a:off x="1871043" y="2564904"/>
            <a:ext cx="8532178" cy="1752600"/>
          </a:xfrm>
        </p:spPr>
        <p:txBody>
          <a:bodyPr/>
          <a:lstStyle>
            <a:lvl1pPr marL="0" indent="0" algn="ctr">
              <a:buNone/>
              <a:defRPr>
                <a:solidFill>
                  <a:schemeClr val="tx1">
                    <a:lumMod val="50000"/>
                  </a:schemeClr>
                </a:solidFill>
                <a:latin typeface="Arial" pitchFamily="34" charset="0"/>
                <a:cs typeface="Arial" pitchFamily="34" charset="0"/>
              </a:defRPr>
            </a:lvl1pPr>
            <a:lvl2pPr marL="609443" indent="0" algn="ctr">
              <a:buNone/>
              <a:defRPr>
                <a:solidFill>
                  <a:schemeClr val="tx1">
                    <a:tint val="75000"/>
                  </a:schemeClr>
                </a:solidFill>
              </a:defRPr>
            </a:lvl2pPr>
            <a:lvl3pPr marL="1218885" indent="0" algn="ctr">
              <a:buNone/>
              <a:defRPr>
                <a:solidFill>
                  <a:schemeClr val="tx1">
                    <a:tint val="75000"/>
                  </a:schemeClr>
                </a:solidFill>
              </a:defRPr>
            </a:lvl3pPr>
            <a:lvl4pPr marL="1828328" indent="0" algn="ctr">
              <a:buNone/>
              <a:defRPr>
                <a:solidFill>
                  <a:schemeClr val="tx1">
                    <a:tint val="75000"/>
                  </a:schemeClr>
                </a:solidFill>
              </a:defRPr>
            </a:lvl4pPr>
            <a:lvl5pPr marL="2437771" indent="0" algn="ctr">
              <a:buNone/>
              <a:defRPr>
                <a:solidFill>
                  <a:schemeClr val="tx1">
                    <a:tint val="75000"/>
                  </a:schemeClr>
                </a:solidFill>
              </a:defRPr>
            </a:lvl5pPr>
            <a:lvl6pPr marL="3047213" indent="0" algn="ctr">
              <a:buNone/>
              <a:defRPr>
                <a:solidFill>
                  <a:schemeClr val="tx1">
                    <a:tint val="75000"/>
                  </a:schemeClr>
                </a:solidFill>
              </a:defRPr>
            </a:lvl6pPr>
            <a:lvl7pPr marL="3656656" indent="0" algn="ctr">
              <a:buNone/>
              <a:defRPr>
                <a:solidFill>
                  <a:schemeClr val="tx1">
                    <a:tint val="75000"/>
                  </a:schemeClr>
                </a:solidFill>
              </a:defRPr>
            </a:lvl7pPr>
            <a:lvl8pPr marL="4266097" indent="0" algn="ctr">
              <a:buNone/>
              <a:defRPr>
                <a:solidFill>
                  <a:schemeClr val="tx1">
                    <a:tint val="75000"/>
                  </a:schemeClr>
                </a:solidFill>
              </a:defRPr>
            </a:lvl8pPr>
            <a:lvl9pPr marL="4875541" indent="0" algn="ctr">
              <a:buNone/>
              <a:defRPr>
                <a:solidFill>
                  <a:schemeClr val="tx1">
                    <a:tint val="75000"/>
                  </a:schemeClr>
                </a:solidFill>
              </a:defRPr>
            </a:lvl9pPr>
          </a:lstStyle>
          <a:p>
            <a:r>
              <a:rPr lang="fr-FR" dirty="0"/>
              <a:t>Cliquez pour modifier le style des sous-titres du masque</a:t>
            </a:r>
          </a:p>
        </p:txBody>
      </p:sp>
      <p:sp>
        <p:nvSpPr>
          <p:cNvPr id="4" name="Espace réservé de la date 3"/>
          <p:cNvSpPr>
            <a:spLocks noGrp="1"/>
          </p:cNvSpPr>
          <p:nvPr>
            <p:ph type="dt" sz="half" idx="10"/>
          </p:nvPr>
        </p:nvSpPr>
        <p:spPr>
          <a:xfrm>
            <a:off x="609441" y="6356360"/>
            <a:ext cx="2844059" cy="365125"/>
          </a:xfrm>
          <a:prstGeom prst="rect">
            <a:avLst/>
          </a:prstGeom>
        </p:spPr>
        <p:txBody>
          <a:bodyPr lIns="121888" tIns="60944" rIns="121888" bIns="60944"/>
          <a:lstStyle>
            <a:lvl1pPr>
              <a:defRPr>
                <a:latin typeface="Arial" pitchFamily="34" charset="0"/>
                <a:cs typeface="Arial" pitchFamily="34" charset="0"/>
              </a:defRPr>
            </a:lvl1pPr>
          </a:lstStyle>
          <a:p>
            <a:fld id="{8515F83D-8E52-4643-9B98-FE3E44F280D8}" type="datetimeFigureOut">
              <a:rPr lang="fr-FR" smtClean="0">
                <a:solidFill>
                  <a:srgbClr val="87D200"/>
                </a:solidFill>
              </a:rPr>
              <a:pPr/>
              <a:t>27/02/2018</a:t>
            </a:fld>
            <a:endParaRPr lang="fr-FR">
              <a:solidFill>
                <a:srgbClr val="87D200"/>
              </a:solidFill>
            </a:endParaRPr>
          </a:p>
        </p:txBody>
      </p:sp>
      <p:sp>
        <p:nvSpPr>
          <p:cNvPr id="5" name="Espace réservé du pied de page 4"/>
          <p:cNvSpPr>
            <a:spLocks noGrp="1"/>
          </p:cNvSpPr>
          <p:nvPr>
            <p:ph type="ftr" sz="quarter" idx="11"/>
          </p:nvPr>
        </p:nvSpPr>
        <p:spPr>
          <a:xfrm>
            <a:off x="4164515" y="6356360"/>
            <a:ext cx="3859795" cy="365125"/>
          </a:xfrm>
          <a:prstGeom prst="rect">
            <a:avLst/>
          </a:prstGeom>
        </p:spPr>
        <p:txBody>
          <a:bodyPr lIns="121888" tIns="60944" rIns="121888" bIns="60944"/>
          <a:lstStyle>
            <a:lvl1pPr>
              <a:defRPr>
                <a:latin typeface="Arial" pitchFamily="34" charset="0"/>
                <a:cs typeface="Arial" pitchFamily="34" charset="0"/>
              </a:defRPr>
            </a:lvl1pPr>
          </a:lstStyle>
          <a:p>
            <a:endParaRPr lang="fr-FR">
              <a:solidFill>
                <a:srgbClr val="87D200"/>
              </a:solidFill>
            </a:endParaRPr>
          </a:p>
        </p:txBody>
      </p:sp>
      <p:sp>
        <p:nvSpPr>
          <p:cNvPr id="6" name="Espace réservé du numéro de diapositive 5"/>
          <p:cNvSpPr>
            <a:spLocks noGrp="1"/>
          </p:cNvSpPr>
          <p:nvPr>
            <p:ph type="sldNum" sz="quarter" idx="12"/>
          </p:nvPr>
        </p:nvSpPr>
        <p:spPr>
          <a:xfrm>
            <a:off x="8735326" y="6356360"/>
            <a:ext cx="2844059" cy="365125"/>
          </a:xfrm>
          <a:prstGeom prst="rect">
            <a:avLst/>
          </a:prstGeom>
        </p:spPr>
        <p:txBody>
          <a:bodyPr lIns="121888" tIns="60944" rIns="121888" bIns="60944"/>
          <a:lstStyle>
            <a:lvl1pPr>
              <a:defRPr>
                <a:latin typeface="Arial" pitchFamily="34" charset="0"/>
                <a:cs typeface="Arial" pitchFamily="34" charset="0"/>
              </a:defRPr>
            </a:lvl1pPr>
          </a:lstStyle>
          <a:p>
            <a:fld id="{8E9677EF-8827-44D4-AE5D-DA44A0C44B56}" type="slidenum">
              <a:rPr lang="fr-FR" smtClean="0">
                <a:solidFill>
                  <a:srgbClr val="87D200"/>
                </a:solidFill>
              </a:rPr>
              <a:pPr/>
              <a:t>‹#›</a:t>
            </a:fld>
            <a:endParaRPr lang="fr-FR">
              <a:solidFill>
                <a:srgbClr val="87D200"/>
              </a:solidFill>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678075" y="131833"/>
            <a:ext cx="10969943" cy="527223"/>
          </a:xfrm>
        </p:spPr>
        <p:txBody>
          <a:bodyPr/>
          <a:lstStyle>
            <a:lvl1pPr>
              <a:defRPr sz="2400">
                <a:solidFill>
                  <a:srgbClr val="009530"/>
                </a:solidFill>
                <a:latin typeface="SEOptimistBlack" panose="02000606050000020004" pitchFamily="50" charset="0"/>
              </a:defRPr>
            </a:lvl1pPr>
          </a:lstStyle>
          <a:p>
            <a:r>
              <a:rPr lang="fr-FR" dirty="0"/>
              <a:t>Cliquez et modifiez le titre</a:t>
            </a:r>
          </a:p>
        </p:txBody>
      </p:sp>
      <p:sp>
        <p:nvSpPr>
          <p:cNvPr id="3" name="Espace réservé du contenu 2"/>
          <p:cNvSpPr>
            <a:spLocks noGrp="1"/>
          </p:cNvSpPr>
          <p:nvPr>
            <p:ph sz="half" idx="1"/>
          </p:nvPr>
        </p:nvSpPr>
        <p:spPr>
          <a:xfrm>
            <a:off x="609463" y="988563"/>
            <a:ext cx="3651157" cy="5202711"/>
          </a:xfrm>
        </p:spPr>
        <p:txBody>
          <a:bodyPr anchor="ctr"/>
          <a:lstStyle>
            <a:lvl1pPr marL="0" indent="0">
              <a:buNone/>
              <a:defRPr sz="1600">
                <a:latin typeface="SEOptimist" panose="02000606040000020004" pitchFamily="50" charset="0"/>
              </a:defRPr>
            </a:lvl1pPr>
            <a:lvl2pPr marL="0" indent="0">
              <a:buFontTx/>
              <a:buNone/>
              <a:defRPr sz="1900">
                <a:solidFill>
                  <a:srgbClr val="009530"/>
                </a:solidFill>
                <a:latin typeface="SEOptimistBlack" panose="02000606050000020004" pitchFamily="50" charset="0"/>
              </a:defRPr>
            </a:lvl2pPr>
            <a:lvl3pPr>
              <a:defRPr sz="2700"/>
            </a:lvl3pPr>
            <a:lvl4pPr>
              <a:defRPr sz="2400"/>
            </a:lvl4pPr>
            <a:lvl5pPr>
              <a:defRPr sz="2400"/>
            </a:lvl5pPr>
            <a:lvl6pPr>
              <a:defRPr sz="2400"/>
            </a:lvl6pPr>
            <a:lvl7pPr>
              <a:defRPr sz="2400"/>
            </a:lvl7pPr>
            <a:lvl8pPr>
              <a:defRPr sz="2400"/>
            </a:lvl8pPr>
            <a:lvl9pPr>
              <a:defRPr sz="24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49270487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12188825" cy="5774392"/>
          </a:xfrm>
          <a:prstGeom prst="rect">
            <a:avLst/>
          </a:prstGeom>
          <a:solidFill>
            <a:schemeClr val="bg1">
              <a:lumMod val="95000"/>
            </a:schemeClr>
          </a:solidFill>
        </p:spPr>
        <p:txBody>
          <a:bodyPr lIns="121884" tIns="60941" rIns="121884" bIns="60941"/>
          <a:lstStyle>
            <a:lvl1pPr>
              <a:buNone/>
              <a:defRPr sz="1900">
                <a:solidFill>
                  <a:schemeClr val="bg1">
                    <a:lumMod val="85000"/>
                  </a:schemeClr>
                </a:solidFill>
              </a:defRPr>
            </a:lvl1pPr>
          </a:lstStyle>
          <a:p>
            <a:r>
              <a:rPr lang="en-US"/>
              <a:t>Click icon to add picture</a:t>
            </a:r>
            <a:endParaRPr lang="en-US" dirty="0"/>
          </a:p>
        </p:txBody>
      </p:sp>
      <p:sp>
        <p:nvSpPr>
          <p:cNvPr id="8" name="Title 1"/>
          <p:cNvSpPr>
            <a:spLocks noGrp="1"/>
          </p:cNvSpPr>
          <p:nvPr>
            <p:ph type="ctrTitle" hasCustomPrompt="1"/>
          </p:nvPr>
        </p:nvSpPr>
        <p:spPr>
          <a:xfrm>
            <a:off x="336467" y="3478965"/>
            <a:ext cx="11562151" cy="738664"/>
          </a:xfrm>
          <a:prstGeom prst="rect">
            <a:avLst/>
          </a:prstGeom>
        </p:spPr>
        <p:txBody>
          <a:bodyPr lIns="0" tIns="0" rIns="0" bIns="0" anchor="ctr" anchorCtr="0">
            <a:noAutofit/>
          </a:bodyPr>
          <a:lstStyle>
            <a:lvl1pPr marL="0" indent="0" algn="l">
              <a:buFont typeface="Arial"/>
              <a:buNone/>
              <a:defRPr sz="4800">
                <a:solidFill>
                  <a:schemeClr val="bg1"/>
                </a:solidFill>
              </a:defRPr>
            </a:lvl1pPr>
          </a:lstStyle>
          <a:p>
            <a:r>
              <a:rPr lang="en-US" dirty="0"/>
              <a:t>Presentation Title</a:t>
            </a:r>
          </a:p>
        </p:txBody>
      </p:sp>
      <p:sp>
        <p:nvSpPr>
          <p:cNvPr id="9" name="Subtitle 2"/>
          <p:cNvSpPr>
            <a:spLocks noGrp="1"/>
          </p:cNvSpPr>
          <p:nvPr>
            <p:ph type="subTitle" idx="1" hasCustomPrompt="1"/>
          </p:nvPr>
        </p:nvSpPr>
        <p:spPr>
          <a:xfrm>
            <a:off x="336467" y="4272329"/>
            <a:ext cx="11562151" cy="287259"/>
          </a:xfrm>
          <a:prstGeom prst="rect">
            <a:avLst/>
          </a:prstGeom>
        </p:spPr>
        <p:txBody>
          <a:bodyPr lIns="0" tIns="0" rIns="0" bIns="0">
            <a:noAutofit/>
          </a:bodyPr>
          <a:lstStyle>
            <a:lvl1pPr marL="0" indent="0" algn="l">
              <a:buNone/>
              <a:defRPr sz="1900" baseline="0">
                <a:solidFill>
                  <a:schemeClr val="bg1"/>
                </a:solidFill>
              </a:defRPr>
            </a:lvl1pPr>
            <a:lvl2pPr marL="609421" indent="0" algn="ctr">
              <a:buNone/>
              <a:defRPr>
                <a:solidFill>
                  <a:schemeClr val="tx1">
                    <a:tint val="75000"/>
                  </a:schemeClr>
                </a:solidFill>
              </a:defRPr>
            </a:lvl2pPr>
            <a:lvl3pPr marL="1218841" indent="0" algn="ctr">
              <a:buNone/>
              <a:defRPr>
                <a:solidFill>
                  <a:schemeClr val="tx1">
                    <a:tint val="75000"/>
                  </a:schemeClr>
                </a:solidFill>
              </a:defRPr>
            </a:lvl3pPr>
            <a:lvl4pPr marL="1828264" indent="0" algn="ctr">
              <a:buNone/>
              <a:defRPr>
                <a:solidFill>
                  <a:schemeClr val="tx1">
                    <a:tint val="75000"/>
                  </a:schemeClr>
                </a:solidFill>
              </a:defRPr>
            </a:lvl4pPr>
            <a:lvl5pPr marL="2437685" indent="0" algn="ctr">
              <a:buNone/>
              <a:defRPr>
                <a:solidFill>
                  <a:schemeClr val="tx1">
                    <a:tint val="75000"/>
                  </a:schemeClr>
                </a:solidFill>
              </a:defRPr>
            </a:lvl5pPr>
            <a:lvl6pPr marL="3047105" indent="0" algn="ctr">
              <a:buNone/>
              <a:defRPr>
                <a:solidFill>
                  <a:schemeClr val="tx1">
                    <a:tint val="75000"/>
                  </a:schemeClr>
                </a:solidFill>
              </a:defRPr>
            </a:lvl6pPr>
            <a:lvl7pPr marL="3656527" indent="0" algn="ctr">
              <a:buNone/>
              <a:defRPr>
                <a:solidFill>
                  <a:schemeClr val="tx1">
                    <a:tint val="75000"/>
                  </a:schemeClr>
                </a:solidFill>
              </a:defRPr>
            </a:lvl7pPr>
            <a:lvl8pPr marL="4265947" indent="0" algn="ctr">
              <a:buNone/>
              <a:defRPr>
                <a:solidFill>
                  <a:schemeClr val="tx1">
                    <a:tint val="75000"/>
                  </a:schemeClr>
                </a:solidFill>
              </a:defRPr>
            </a:lvl8pPr>
            <a:lvl9pPr marL="4875369"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9420258" y="5993331"/>
            <a:ext cx="2721688" cy="750604"/>
          </a:xfrm>
          <a:prstGeom prst="rect">
            <a:avLst/>
          </a:prstGeom>
        </p:spPr>
      </p:pic>
      <p:sp>
        <p:nvSpPr>
          <p:cNvPr id="14" name="Footer Placeholder 4"/>
          <p:cNvSpPr>
            <a:spLocks noGrp="1"/>
          </p:cNvSpPr>
          <p:nvPr>
            <p:ph type="ftr" sz="quarter" idx="3"/>
          </p:nvPr>
        </p:nvSpPr>
        <p:spPr>
          <a:xfrm>
            <a:off x="336466" y="6476210"/>
            <a:ext cx="2006852" cy="123111"/>
          </a:xfrm>
          <a:prstGeom prst="rect">
            <a:avLst/>
          </a:prstGeom>
        </p:spPr>
        <p:txBody>
          <a:bodyPr vert="horz" wrap="square" lIns="0" tIns="0" rIns="0" bIns="0" rtlCol="0" anchor="ctr">
            <a:spAutoFit/>
          </a:bodyPr>
          <a:lstStyle>
            <a:lvl1pPr algn="l" defTabSz="609421">
              <a:defRPr sz="800">
                <a:solidFill>
                  <a:srgbClr val="4F5156"/>
                </a:solidFill>
                <a:latin typeface="Arial"/>
                <a:cs typeface="Arial"/>
              </a:defRPr>
            </a:lvl1pPr>
          </a:lstStyle>
          <a:p>
            <a:r>
              <a:rPr lang="en-US" dirty="0"/>
              <a:t>Confidential Property of Schneider Electric  </a:t>
            </a:r>
          </a:p>
        </p:txBody>
      </p:sp>
      <p:sp>
        <p:nvSpPr>
          <p:cNvPr id="21" name="Espace réservé du texte 20"/>
          <p:cNvSpPr>
            <a:spLocks noGrp="1"/>
          </p:cNvSpPr>
          <p:nvPr>
            <p:ph type="body" sz="quarter" idx="15" hasCustomPrompt="1"/>
          </p:nvPr>
        </p:nvSpPr>
        <p:spPr>
          <a:xfrm>
            <a:off x="0" y="4764840"/>
            <a:ext cx="12188825" cy="1015853"/>
          </a:xfrm>
          <a:prstGeom prst="rect">
            <a:avLst/>
          </a:prstGeom>
          <a:solidFill>
            <a:schemeClr val="tx2">
              <a:alpha val="80000"/>
            </a:schemeClr>
          </a:solidFill>
        </p:spPr>
        <p:txBody>
          <a:bodyPr lIns="121884" tIns="60941" rIns="121884" bIns="60941"/>
          <a:lstStyle>
            <a:lvl1pPr marL="237670" indent="-3149">
              <a:buNone/>
              <a:defRPr sz="1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err="1"/>
              <a:t>Presented</a:t>
            </a:r>
            <a:r>
              <a:rPr lang="fr-FR" dirty="0"/>
              <a:t> by: </a:t>
            </a:r>
          </a:p>
          <a:p>
            <a:pPr lvl="0"/>
            <a:r>
              <a:rPr lang="fr-FR" dirty="0"/>
              <a:t>Date: </a:t>
            </a:r>
          </a:p>
          <a:p>
            <a:pPr lvl="0"/>
            <a:endParaRPr lang="fr-FR" dirty="0"/>
          </a:p>
          <a:p>
            <a:pPr lvl="0"/>
            <a:endParaRPr lang="fr-FR" dirty="0"/>
          </a:p>
          <a:p>
            <a:pPr lvl="0"/>
            <a:endParaRPr lang="fr-FR" dirty="0"/>
          </a:p>
          <a:p>
            <a:pPr lvl="0"/>
            <a:endParaRPr lang="fr-FR" dirty="0"/>
          </a:p>
          <a:p>
            <a:pPr lvl="0"/>
            <a:endParaRPr lang="fr-FR" dirty="0"/>
          </a:p>
        </p:txBody>
      </p:sp>
      <p:sp>
        <p:nvSpPr>
          <p:cNvPr id="13" name="Rectangle 12"/>
          <p:cNvSpPr/>
          <p:nvPr userDrawn="1"/>
        </p:nvSpPr>
        <p:spPr>
          <a:xfrm>
            <a:off x="0" y="5682003"/>
            <a:ext cx="12188825" cy="2692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84" tIns="60941" rIns="121884" bIns="60941" rtlCol="0" anchor="ctr"/>
          <a:lstStyle/>
          <a:p>
            <a:pPr algn="ctr" defTabSz="609421"/>
            <a:endParaRPr lang="en-US" sz="2400" dirty="0">
              <a:solidFill>
                <a:prstClr val="white"/>
              </a:solidFill>
            </a:endParaRPr>
          </a:p>
        </p:txBody>
      </p:sp>
    </p:spTree>
    <p:extLst>
      <p:ext uri="{BB962C8B-B14F-4D97-AF65-F5344CB8AC3E}">
        <p14:creationId xmlns:p14="http://schemas.microsoft.com/office/powerpoint/2010/main" val="340194942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12188825" cy="3878280"/>
          </a:xfrm>
          <a:prstGeom prst="rect">
            <a:avLst/>
          </a:prstGeom>
          <a:solidFill>
            <a:schemeClr val="tx2">
              <a:alpha val="80000"/>
            </a:schemeClr>
          </a:solidFill>
        </p:spPr>
        <p:txBody>
          <a:bodyPr lIns="335913" tIns="0" rIns="0" bIns="335913" anchor="b" anchorCtr="0"/>
          <a:lstStyle>
            <a:lvl1pPr algn="l">
              <a:defRPr sz="320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3867185"/>
            <a:ext cx="12188825" cy="497417"/>
          </a:xfrm>
          <a:prstGeom prst="rect">
            <a:avLst/>
          </a:prstGeom>
          <a:solidFill>
            <a:schemeClr val="tx2"/>
          </a:solidFill>
        </p:spPr>
        <p:txBody>
          <a:bodyPr lIns="335913" tIns="0" rIns="0" bIns="0" anchor="ctr" anchorCtr="0"/>
          <a:lstStyle>
            <a:lvl1pPr marL="0" indent="0">
              <a:buNone/>
              <a:defRPr sz="1600" baseline="0">
                <a:solidFill>
                  <a:schemeClr val="bg1"/>
                </a:solidFill>
              </a:defRPr>
            </a:lvl1pPr>
          </a:lstStyle>
          <a:p>
            <a:pPr lvl="0"/>
            <a:r>
              <a:rPr lang="en-US" dirty="0"/>
              <a:t>Click To Edit Optional Subtitle</a:t>
            </a:r>
          </a:p>
        </p:txBody>
      </p:sp>
      <p:sp>
        <p:nvSpPr>
          <p:cNvPr id="9" name="Slide Number Placeholder 5"/>
          <p:cNvSpPr>
            <a:spLocks noGrp="1"/>
          </p:cNvSpPr>
          <p:nvPr>
            <p:ph type="sldNum" sz="quarter" idx="4"/>
          </p:nvPr>
        </p:nvSpPr>
        <p:spPr>
          <a:xfrm>
            <a:off x="2329916" y="6476210"/>
            <a:ext cx="700737" cy="123111"/>
          </a:xfrm>
          <a:prstGeom prst="rect">
            <a:avLst/>
          </a:prstGeom>
        </p:spPr>
        <p:txBody>
          <a:bodyPr vert="horz" lIns="0" tIns="0" rIns="0" bIns="0" rtlCol="0" anchor="ctr">
            <a:spAutoFit/>
          </a:bodyPr>
          <a:lstStyle>
            <a:lvl1pPr algn="l" defTabSz="609421">
              <a:defRPr sz="8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0" name="Footer Placeholder 4"/>
          <p:cNvSpPr>
            <a:spLocks noGrp="1"/>
          </p:cNvSpPr>
          <p:nvPr>
            <p:ph type="ftr" sz="quarter" idx="3"/>
          </p:nvPr>
        </p:nvSpPr>
        <p:spPr>
          <a:xfrm>
            <a:off x="336465" y="6476209"/>
            <a:ext cx="2012498" cy="123111"/>
          </a:xfrm>
          <a:prstGeom prst="rect">
            <a:avLst/>
          </a:prstGeom>
        </p:spPr>
        <p:txBody>
          <a:bodyPr vert="horz" wrap="square" lIns="0" tIns="0" rIns="0" bIns="0" rtlCol="0" anchor="ctr">
            <a:spAutoFit/>
          </a:bodyPr>
          <a:lstStyle>
            <a:lvl1pPr algn="l" defTabSz="609421">
              <a:defRPr sz="800">
                <a:solidFill>
                  <a:schemeClr val="accent1"/>
                </a:solidFill>
                <a:latin typeface="Arial"/>
                <a:cs typeface="Arial"/>
              </a:defRPr>
            </a:lvl1pPr>
          </a:lstStyle>
          <a:p>
            <a:r>
              <a:rPr lang="en-US" dirty="0">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9420258" y="5993331"/>
            <a:ext cx="2721688" cy="750604"/>
          </a:xfrm>
          <a:prstGeom prst="rect">
            <a:avLst/>
          </a:prstGeom>
        </p:spPr>
      </p:pic>
    </p:spTree>
    <p:extLst>
      <p:ext uri="{BB962C8B-B14F-4D97-AF65-F5344CB8AC3E}">
        <p14:creationId xmlns:p14="http://schemas.microsoft.com/office/powerpoint/2010/main" val="21506743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12188825" cy="6858000"/>
          </a:xfrm>
          <a:prstGeom prst="rect">
            <a:avLst/>
          </a:prstGeom>
          <a:solidFill>
            <a:srgbClr val="8E8F93">
              <a:alpha val="20000"/>
            </a:srgbClr>
          </a:solidFill>
        </p:spPr>
        <p:txBody>
          <a:bodyPr lIns="121888" tIns="60944" rIns="121888" bIns="60944"/>
          <a:lstStyle>
            <a:lvl1pPr marL="0" indent="0">
              <a:buNone/>
              <a:defRPr sz="150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721428"/>
            <a:ext cx="12188825" cy="1156853"/>
          </a:xfrm>
          <a:prstGeom prst="rect">
            <a:avLst/>
          </a:prstGeom>
          <a:solidFill>
            <a:schemeClr val="tx2">
              <a:alpha val="80000"/>
            </a:schemeClr>
          </a:solidFill>
        </p:spPr>
        <p:txBody>
          <a:bodyPr lIns="335913" tIns="0" rIns="0" bIns="0" anchor="ctr" anchorCtr="0"/>
          <a:lstStyle>
            <a:lvl1pPr algn="l">
              <a:defRPr sz="32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3867185"/>
            <a:ext cx="12188825" cy="497417"/>
          </a:xfrm>
          <a:prstGeom prst="rect">
            <a:avLst/>
          </a:prstGeom>
          <a:solidFill>
            <a:schemeClr val="tx2"/>
          </a:solidFill>
        </p:spPr>
        <p:txBody>
          <a:bodyPr lIns="335913" tIns="0" rIns="0" bIns="0" anchor="ctr" anchorCtr="0"/>
          <a:lstStyle>
            <a:lvl1pPr marL="0" indent="0">
              <a:buNone/>
              <a:defRPr sz="1600" baseline="0">
                <a:solidFill>
                  <a:schemeClr val="bg1"/>
                </a:solidFill>
              </a:defRPr>
            </a:lvl1pPr>
          </a:lstStyle>
          <a:p>
            <a:pPr lvl="0"/>
            <a:r>
              <a:rPr lang="en-US" dirty="0"/>
              <a:t>Click To Edit Optional Subtitle</a:t>
            </a:r>
          </a:p>
        </p:txBody>
      </p:sp>
      <p:sp>
        <p:nvSpPr>
          <p:cNvPr id="10" name="Slide Number Placeholder 5"/>
          <p:cNvSpPr>
            <a:spLocks noGrp="1"/>
          </p:cNvSpPr>
          <p:nvPr>
            <p:ph type="sldNum" sz="quarter" idx="4"/>
          </p:nvPr>
        </p:nvSpPr>
        <p:spPr>
          <a:xfrm>
            <a:off x="2329916" y="6476210"/>
            <a:ext cx="700737" cy="123111"/>
          </a:xfrm>
          <a:prstGeom prst="rect">
            <a:avLst/>
          </a:prstGeom>
        </p:spPr>
        <p:txBody>
          <a:bodyPr vert="horz" lIns="0" tIns="0" rIns="0" bIns="0" rtlCol="0" anchor="ctr">
            <a:spAutoFit/>
          </a:bodyPr>
          <a:lstStyle>
            <a:lvl1pPr algn="l" defTabSz="609421">
              <a:defRPr sz="8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2" name="Footer Placeholder 4"/>
          <p:cNvSpPr>
            <a:spLocks noGrp="1"/>
          </p:cNvSpPr>
          <p:nvPr>
            <p:ph type="ftr" sz="quarter" idx="3"/>
          </p:nvPr>
        </p:nvSpPr>
        <p:spPr>
          <a:xfrm>
            <a:off x="336465" y="6476209"/>
            <a:ext cx="2012498" cy="123111"/>
          </a:xfrm>
          <a:prstGeom prst="rect">
            <a:avLst/>
          </a:prstGeom>
        </p:spPr>
        <p:txBody>
          <a:bodyPr vert="horz" wrap="square" lIns="0" tIns="0" rIns="0" bIns="0" rtlCol="0" anchor="ctr">
            <a:spAutoFit/>
          </a:bodyPr>
          <a:lstStyle>
            <a:lvl1pPr algn="l" defTabSz="609421">
              <a:defRPr sz="8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9420258" y="5993331"/>
            <a:ext cx="2721688" cy="750604"/>
          </a:xfrm>
          <a:prstGeom prst="rect">
            <a:avLst/>
          </a:prstGeom>
        </p:spPr>
      </p:pic>
    </p:spTree>
    <p:extLst>
      <p:ext uri="{BB962C8B-B14F-4D97-AF65-F5344CB8AC3E}">
        <p14:creationId xmlns:p14="http://schemas.microsoft.com/office/powerpoint/2010/main" val="6950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12188825" cy="2641744"/>
          </a:xfrm>
          <a:prstGeom prst="rect">
            <a:avLst/>
          </a:prstGeom>
          <a:solidFill>
            <a:srgbClr val="8E8F93">
              <a:alpha val="20000"/>
            </a:srgbClr>
          </a:solidFill>
        </p:spPr>
        <p:txBody>
          <a:bodyPr lIns="121888" tIns="60944" rIns="121888" bIns="60944"/>
          <a:lstStyle>
            <a:lvl1pPr marL="0" indent="0">
              <a:buNone/>
              <a:defRPr sz="150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2641747"/>
            <a:ext cx="12188825" cy="4216255"/>
          </a:xfrm>
          <a:prstGeom prst="rect">
            <a:avLst/>
          </a:prstGeom>
          <a:solidFill>
            <a:schemeClr val="tx2"/>
          </a:solidFill>
        </p:spPr>
        <p:txBody>
          <a:bodyPr lIns="335913" tIns="335913" rIns="335913" bIns="335913" anchor="t" anchorCtr="0"/>
          <a:lstStyle>
            <a:lvl1pPr algn="l">
              <a:defRPr sz="3200"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2144330"/>
            <a:ext cx="12188825" cy="497417"/>
          </a:xfrm>
          <a:prstGeom prst="rect">
            <a:avLst/>
          </a:prstGeom>
          <a:solidFill>
            <a:schemeClr val="tx2">
              <a:alpha val="80000"/>
            </a:schemeClr>
          </a:solidFill>
        </p:spPr>
        <p:txBody>
          <a:bodyPr lIns="335913" tIns="0" rIns="335913" bIns="0" anchor="ctr" anchorCtr="0"/>
          <a:lstStyle>
            <a:lvl1pPr marL="0" indent="0">
              <a:buNone/>
              <a:defRPr sz="1600" baseline="0">
                <a:solidFill>
                  <a:schemeClr val="bg1"/>
                </a:solidFill>
              </a:defRPr>
            </a:lvl1pPr>
          </a:lstStyle>
          <a:p>
            <a:pPr lvl="0"/>
            <a:r>
              <a:rPr lang="en-US" dirty="0"/>
              <a:t>Click To Edit Optional Subtitle</a:t>
            </a:r>
          </a:p>
        </p:txBody>
      </p:sp>
      <p:sp>
        <p:nvSpPr>
          <p:cNvPr id="12" name="Slide Number Placeholder 5"/>
          <p:cNvSpPr>
            <a:spLocks noGrp="1"/>
          </p:cNvSpPr>
          <p:nvPr>
            <p:ph type="sldNum" sz="quarter" idx="4"/>
          </p:nvPr>
        </p:nvSpPr>
        <p:spPr>
          <a:xfrm>
            <a:off x="2329916" y="6476210"/>
            <a:ext cx="700737" cy="123111"/>
          </a:xfrm>
          <a:prstGeom prst="rect">
            <a:avLst/>
          </a:prstGeom>
        </p:spPr>
        <p:txBody>
          <a:bodyPr vert="horz" lIns="0" tIns="0" rIns="0" bIns="0" rtlCol="0" anchor="ctr">
            <a:spAutoFit/>
          </a:bodyPr>
          <a:lstStyle>
            <a:lvl1pPr algn="l" defTabSz="609421">
              <a:defRPr sz="8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3" name="Footer Placeholder 4"/>
          <p:cNvSpPr>
            <a:spLocks noGrp="1"/>
          </p:cNvSpPr>
          <p:nvPr>
            <p:ph type="ftr" sz="quarter" idx="3"/>
          </p:nvPr>
        </p:nvSpPr>
        <p:spPr>
          <a:xfrm>
            <a:off x="336465" y="6476209"/>
            <a:ext cx="2012498" cy="123111"/>
          </a:xfrm>
          <a:prstGeom prst="rect">
            <a:avLst/>
          </a:prstGeom>
        </p:spPr>
        <p:txBody>
          <a:bodyPr vert="horz" wrap="square" lIns="0" tIns="0" rIns="0" bIns="0" rtlCol="0" anchor="ctr">
            <a:spAutoFit/>
          </a:bodyPr>
          <a:lstStyle>
            <a:lvl1pPr algn="l" defTabSz="609421">
              <a:defRPr sz="800">
                <a:solidFill>
                  <a:srgbClr val="FFFFFF"/>
                </a:solidFill>
                <a:latin typeface="Arial"/>
                <a:cs typeface="Arial"/>
              </a:defRPr>
            </a:lvl1pPr>
          </a:lstStyle>
          <a:p>
            <a:r>
              <a:rPr lang="en-US" dirty="0"/>
              <a:t>Confidential Property of Schneider Electric |</a:t>
            </a:r>
          </a:p>
        </p:txBody>
      </p:sp>
      <p:pic>
        <p:nvPicPr>
          <p:cNvPr id="9" name="Picture 8" descr="schneider_LIO_White_RGB.png"/>
          <p:cNvPicPr>
            <a:picLocks noChangeAspect="1"/>
          </p:cNvPicPr>
          <p:nvPr userDrawn="1"/>
        </p:nvPicPr>
        <p:blipFill>
          <a:blip r:embed="rId2" cstate="print"/>
          <a:stretch>
            <a:fillRect/>
          </a:stretch>
        </p:blipFill>
        <p:spPr>
          <a:xfrm>
            <a:off x="9430948" y="6011369"/>
            <a:ext cx="2690908" cy="742115"/>
          </a:xfrm>
          <a:prstGeom prst="rect">
            <a:avLst/>
          </a:prstGeom>
        </p:spPr>
      </p:pic>
    </p:spTree>
    <p:extLst>
      <p:ext uri="{BB962C8B-B14F-4D97-AF65-F5344CB8AC3E}">
        <p14:creationId xmlns:p14="http://schemas.microsoft.com/office/powerpoint/2010/main" val="29458371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6085950" y="1"/>
            <a:ext cx="6102878" cy="6857999"/>
          </a:xfrm>
          <a:prstGeom prst="rect">
            <a:avLst/>
          </a:prstGeom>
          <a:solidFill>
            <a:schemeClr val="accent2">
              <a:alpha val="20000"/>
            </a:schemeClr>
          </a:solidFill>
        </p:spPr>
        <p:txBody>
          <a:bodyPr vert="horz" lIns="335913" tIns="335913" rIns="335913" bIns="335913"/>
          <a:lstStyle>
            <a:lvl1pPr marL="0" indent="0">
              <a:buNone/>
              <a:defRPr sz="1500">
                <a:solidFill>
                  <a:schemeClr val="accent2">
                    <a:lumMod val="60000"/>
                    <a:lumOff val="40000"/>
                  </a:schemeClr>
                </a:solidFill>
              </a:defRPr>
            </a:lvl1pPr>
            <a:lvl2pPr marL="590398" indent="-353393">
              <a:buFont typeface="Arial"/>
              <a:buChar char="•"/>
              <a:defRPr sz="2400">
                <a:solidFill>
                  <a:schemeClr val="accent1"/>
                </a:solidFill>
              </a:defRPr>
            </a:lvl2pPr>
            <a:lvl3pPr marL="943788" indent="-304723">
              <a:buFont typeface="Lucida Grande"/>
              <a:buChar char="–"/>
              <a:defRPr sz="2100">
                <a:solidFill>
                  <a:schemeClr val="accent1"/>
                </a:solidFill>
              </a:defRPr>
            </a:lvl3pPr>
            <a:lvl4pPr marL="1301414" indent="-304723">
              <a:buFont typeface="Lucida Grande"/>
              <a:buChar char="–"/>
              <a:defRPr sz="1900">
                <a:solidFill>
                  <a:schemeClr val="accent1"/>
                </a:solidFill>
              </a:defRPr>
            </a:lvl4pPr>
            <a:lvl5pPr marL="1678084" indent="-308953" defTabSz="418992">
              <a:buFont typeface="Lucida Grande"/>
              <a:buChar char="–"/>
              <a:defRPr sz="1900">
                <a:solidFill>
                  <a:schemeClr val="accent1"/>
                </a:solidFill>
              </a:defRPr>
            </a:lvl5pPr>
          </a:lstStyle>
          <a:p>
            <a:pPr lvl="0"/>
            <a:r>
              <a:rPr lang="en-US" dirty="0"/>
              <a:t>Insert Your Content Here</a:t>
            </a:r>
          </a:p>
        </p:txBody>
      </p:sp>
      <p:sp>
        <p:nvSpPr>
          <p:cNvPr id="15" name="Rectangle 14"/>
          <p:cNvSpPr/>
          <p:nvPr userDrawn="1"/>
        </p:nvSpPr>
        <p:spPr>
          <a:xfrm rot="5400000">
            <a:off x="-415133" y="356915"/>
            <a:ext cx="6857997" cy="61441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88" tIns="60944" rIns="121888" bIns="60944" rtlCol="0" anchor="ctr"/>
          <a:lstStyle/>
          <a:p>
            <a:pPr algn="ctr" defTabSz="609421"/>
            <a:endParaRPr lang="en-US" sz="2400" dirty="0">
              <a:solidFill>
                <a:prstClr val="white"/>
              </a:solidFill>
            </a:endParaRPr>
          </a:p>
        </p:txBody>
      </p:sp>
      <p:sp>
        <p:nvSpPr>
          <p:cNvPr id="16" name="Content Placeholder 12"/>
          <p:cNvSpPr>
            <a:spLocks noGrp="1"/>
          </p:cNvSpPr>
          <p:nvPr>
            <p:ph sz="quarter" idx="11"/>
          </p:nvPr>
        </p:nvSpPr>
        <p:spPr>
          <a:xfrm>
            <a:off x="-42518" y="-3"/>
            <a:ext cx="6506960" cy="6858003"/>
          </a:xfrm>
          <a:prstGeom prst="rect">
            <a:avLst/>
          </a:prstGeom>
          <a:solidFill>
            <a:schemeClr val="tx2">
              <a:alpha val="80000"/>
            </a:schemeClr>
          </a:solidFill>
        </p:spPr>
        <p:txBody>
          <a:bodyPr vert="horz" lIns="335913" tIns="335913" rIns="335913" bIns="335913"/>
          <a:lstStyle>
            <a:lvl1pPr marL="0" indent="0">
              <a:buNone/>
              <a:defRPr sz="3200">
                <a:solidFill>
                  <a:schemeClr val="bg1"/>
                </a:solidFill>
              </a:defRPr>
            </a:lvl1pPr>
            <a:lvl2pPr marL="590398" indent="-353393">
              <a:buFont typeface="Arial"/>
              <a:buChar char="•"/>
              <a:defRPr sz="2700">
                <a:solidFill>
                  <a:schemeClr val="bg1"/>
                </a:solidFill>
              </a:defRPr>
            </a:lvl2pPr>
            <a:lvl3pPr marL="943788" indent="-304723">
              <a:buFont typeface="Lucida Grande"/>
              <a:buChar char="–"/>
              <a:defRPr sz="2400">
                <a:solidFill>
                  <a:schemeClr val="bg1"/>
                </a:solidFill>
              </a:defRPr>
            </a:lvl3pPr>
            <a:lvl4pPr marL="1301414" indent="-304723">
              <a:buFont typeface="Lucida Grande"/>
              <a:buChar char="–"/>
              <a:defRPr sz="2100">
                <a:solidFill>
                  <a:schemeClr val="bg1"/>
                </a:solidFill>
              </a:defRPr>
            </a:lvl4pPr>
            <a:lvl5pPr marL="1678084" indent="-308953" defTabSz="418992">
              <a:buFont typeface="Lucida Grande"/>
              <a:buChar char="–"/>
              <a:defRPr sz="2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2329916" y="6476210"/>
            <a:ext cx="700737" cy="123111"/>
          </a:xfrm>
          <a:prstGeom prst="rect">
            <a:avLst/>
          </a:prstGeom>
        </p:spPr>
        <p:txBody>
          <a:bodyPr vert="horz" lIns="0" tIns="0" rIns="0" bIns="0" rtlCol="0" anchor="ctr">
            <a:spAutoFit/>
          </a:bodyPr>
          <a:lstStyle>
            <a:lvl1pPr algn="l" defTabSz="609421">
              <a:defRPr sz="8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336465" y="6476209"/>
            <a:ext cx="2012498" cy="123111"/>
          </a:xfrm>
          <a:prstGeom prst="rect">
            <a:avLst/>
          </a:prstGeom>
        </p:spPr>
        <p:txBody>
          <a:bodyPr vert="horz" wrap="square" lIns="0" tIns="0" rIns="0" bIns="0" rtlCol="0" anchor="ctr">
            <a:spAutoFit/>
          </a:bodyPr>
          <a:lstStyle>
            <a:lvl1pPr algn="l" defTabSz="609421">
              <a:defRPr sz="8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9420258" y="5993331"/>
            <a:ext cx="2721688" cy="750604"/>
          </a:xfrm>
          <a:prstGeom prst="rect">
            <a:avLst/>
          </a:prstGeom>
        </p:spPr>
      </p:pic>
    </p:spTree>
    <p:extLst>
      <p:ext uri="{BB962C8B-B14F-4D97-AF65-F5344CB8AC3E}">
        <p14:creationId xmlns:p14="http://schemas.microsoft.com/office/powerpoint/2010/main" val="19894344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415133" y="356915"/>
            <a:ext cx="6857997" cy="61441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88" tIns="60944" rIns="121888" bIns="60944" rtlCol="0" anchor="ctr"/>
          <a:lstStyle/>
          <a:p>
            <a:pPr algn="ctr" defTabSz="609421"/>
            <a:endParaRPr lang="en-US" sz="2400" dirty="0">
              <a:solidFill>
                <a:prstClr val="white"/>
              </a:solidFill>
            </a:endParaRPr>
          </a:p>
        </p:txBody>
      </p:sp>
      <p:sp>
        <p:nvSpPr>
          <p:cNvPr id="16" name="Content Placeholder 12"/>
          <p:cNvSpPr>
            <a:spLocks noGrp="1"/>
          </p:cNvSpPr>
          <p:nvPr>
            <p:ph sz="quarter" idx="11" hasCustomPrompt="1"/>
          </p:nvPr>
        </p:nvSpPr>
        <p:spPr>
          <a:xfrm>
            <a:off x="-42518" y="-3"/>
            <a:ext cx="6506960" cy="6858003"/>
          </a:xfrm>
          <a:prstGeom prst="rect">
            <a:avLst/>
          </a:prstGeom>
          <a:solidFill>
            <a:schemeClr val="tx2">
              <a:alpha val="80000"/>
            </a:schemeClr>
          </a:solidFill>
        </p:spPr>
        <p:txBody>
          <a:bodyPr vert="horz" lIns="335913" tIns="335913" rIns="335913" bIns="335913"/>
          <a:lstStyle>
            <a:lvl1pPr marL="0" indent="0">
              <a:buNone/>
              <a:defRPr sz="3200" baseline="0">
                <a:solidFill>
                  <a:schemeClr val="bg1"/>
                </a:solidFill>
              </a:defRPr>
            </a:lvl1pPr>
            <a:lvl2pPr marL="590398" indent="-353393">
              <a:buFont typeface="Arial"/>
              <a:buChar char="•"/>
              <a:defRPr sz="2700">
                <a:solidFill>
                  <a:schemeClr val="bg1"/>
                </a:solidFill>
              </a:defRPr>
            </a:lvl2pPr>
            <a:lvl3pPr marL="943788" indent="-304723">
              <a:buFont typeface="Lucida Grande"/>
              <a:buChar char="–"/>
              <a:defRPr sz="2400">
                <a:solidFill>
                  <a:schemeClr val="bg1"/>
                </a:solidFill>
              </a:defRPr>
            </a:lvl3pPr>
            <a:lvl4pPr marL="1301414" indent="-304723">
              <a:buFont typeface="Lucida Grande"/>
              <a:buChar char="–"/>
              <a:defRPr sz="2100">
                <a:solidFill>
                  <a:schemeClr val="bg1"/>
                </a:solidFill>
              </a:defRPr>
            </a:lvl4pPr>
            <a:lvl5pPr marL="1678084" indent="-308953" defTabSz="418992">
              <a:buFont typeface="Lucida Grande"/>
              <a:buChar char="–"/>
              <a:defRPr sz="2100">
                <a:solidFill>
                  <a:schemeClr val="bg1"/>
                </a:solidFill>
              </a:defRPr>
            </a:lvl5pPr>
          </a:lstStyle>
          <a:p>
            <a:pPr lvl="0"/>
            <a:r>
              <a:rPr lang="en-US" dirty="0"/>
              <a:t>Agenda (edit text)</a:t>
            </a:r>
          </a:p>
        </p:txBody>
      </p:sp>
      <p:sp>
        <p:nvSpPr>
          <p:cNvPr id="6" name="Slide Number Placeholder 5"/>
          <p:cNvSpPr>
            <a:spLocks noGrp="1"/>
          </p:cNvSpPr>
          <p:nvPr>
            <p:ph type="sldNum" sz="quarter" idx="4"/>
          </p:nvPr>
        </p:nvSpPr>
        <p:spPr>
          <a:xfrm>
            <a:off x="2329916" y="6476210"/>
            <a:ext cx="700737" cy="123111"/>
          </a:xfrm>
          <a:prstGeom prst="rect">
            <a:avLst/>
          </a:prstGeom>
        </p:spPr>
        <p:txBody>
          <a:bodyPr vert="horz" lIns="0" tIns="0" rIns="0" bIns="0" rtlCol="0" anchor="ctr">
            <a:spAutoFit/>
          </a:bodyPr>
          <a:lstStyle>
            <a:lvl1pPr algn="l" defTabSz="609421">
              <a:defRPr sz="8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8" name="Footer Placeholder 4"/>
          <p:cNvSpPr>
            <a:spLocks noGrp="1"/>
          </p:cNvSpPr>
          <p:nvPr>
            <p:ph type="ftr" sz="quarter" idx="3"/>
          </p:nvPr>
        </p:nvSpPr>
        <p:spPr>
          <a:xfrm>
            <a:off x="336465" y="6476209"/>
            <a:ext cx="2012498" cy="123111"/>
          </a:xfrm>
          <a:prstGeom prst="rect">
            <a:avLst/>
          </a:prstGeom>
        </p:spPr>
        <p:txBody>
          <a:bodyPr vert="horz" wrap="square" lIns="0" tIns="0" rIns="0" bIns="0" rtlCol="0" anchor="ctr">
            <a:spAutoFit/>
          </a:bodyPr>
          <a:lstStyle>
            <a:lvl1pPr algn="l" defTabSz="609421">
              <a:defRPr sz="800">
                <a:solidFill>
                  <a:srgbClr val="FFFFFF"/>
                </a:solidFill>
                <a:latin typeface="Arial"/>
                <a:cs typeface="Arial"/>
              </a:defRPr>
            </a:lvl1pPr>
          </a:lstStyle>
          <a:p>
            <a:r>
              <a:rPr lang="en-US" dirty="0"/>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9420258" y="5993331"/>
            <a:ext cx="2721688" cy="750604"/>
          </a:xfrm>
          <a:prstGeom prst="rect">
            <a:avLst/>
          </a:prstGeom>
        </p:spPr>
      </p:pic>
      <p:sp>
        <p:nvSpPr>
          <p:cNvPr id="10" name="Rechteck 7"/>
          <p:cNvSpPr/>
          <p:nvPr userDrawn="1"/>
        </p:nvSpPr>
        <p:spPr>
          <a:xfrm>
            <a:off x="6707665" y="365711"/>
            <a:ext cx="609441"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algn="ctr" defTabSz="609421"/>
            <a:endParaRPr lang="en-US" sz="1700" b="1" dirty="0">
              <a:solidFill>
                <a:srgbClr val="626469"/>
              </a:solidFill>
              <a:ea typeface="Arial Unicode MS" pitchFamily="34" charset="-128"/>
              <a:cs typeface="Arial" pitchFamily="34" charset="0"/>
            </a:endParaRPr>
          </a:p>
        </p:txBody>
      </p:sp>
      <p:sp>
        <p:nvSpPr>
          <p:cNvPr id="11" name="Rechteck 8"/>
          <p:cNvSpPr/>
          <p:nvPr userDrawn="1"/>
        </p:nvSpPr>
        <p:spPr>
          <a:xfrm>
            <a:off x="7486407" y="365717"/>
            <a:ext cx="4266089"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defTabSz="609421"/>
            <a:endParaRPr lang="en-US" sz="1700" b="1" dirty="0">
              <a:solidFill>
                <a:srgbClr val="626469"/>
              </a:solidFill>
              <a:cs typeface="Arial" pitchFamily="34" charset="0"/>
            </a:endParaRPr>
          </a:p>
        </p:txBody>
      </p:sp>
      <p:sp>
        <p:nvSpPr>
          <p:cNvPr id="12" name="Rechteck 10"/>
          <p:cNvSpPr/>
          <p:nvPr userDrawn="1"/>
        </p:nvSpPr>
        <p:spPr>
          <a:xfrm>
            <a:off x="6703310" y="1047793"/>
            <a:ext cx="609441"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algn="ctr" defTabSz="609421"/>
            <a:endParaRPr lang="en-US" sz="1700" b="1" dirty="0">
              <a:solidFill>
                <a:srgbClr val="626469"/>
              </a:solidFill>
              <a:ea typeface="Arial Unicode MS" pitchFamily="34" charset="-128"/>
              <a:cs typeface="Arial" pitchFamily="34" charset="0"/>
            </a:endParaRPr>
          </a:p>
        </p:txBody>
      </p:sp>
      <p:sp>
        <p:nvSpPr>
          <p:cNvPr id="13" name="Rechteck 11"/>
          <p:cNvSpPr/>
          <p:nvPr userDrawn="1"/>
        </p:nvSpPr>
        <p:spPr>
          <a:xfrm>
            <a:off x="7496943" y="1049115"/>
            <a:ext cx="4266089"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defTabSz="609421">
              <a:tabLst>
                <a:tab pos="477890" algn="l"/>
              </a:tabLst>
            </a:pPr>
            <a:endParaRPr lang="en-US" sz="1700" b="1" dirty="0">
              <a:solidFill>
                <a:srgbClr val="626469"/>
              </a:solidFill>
              <a:cs typeface="Arial" pitchFamily="34" charset="0"/>
            </a:endParaRPr>
          </a:p>
        </p:txBody>
      </p:sp>
      <p:sp>
        <p:nvSpPr>
          <p:cNvPr id="31" name="Rechteck 10"/>
          <p:cNvSpPr/>
          <p:nvPr userDrawn="1"/>
        </p:nvSpPr>
        <p:spPr>
          <a:xfrm>
            <a:off x="6703310" y="1733593"/>
            <a:ext cx="609441"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algn="ctr" defTabSz="609421"/>
            <a:endParaRPr lang="en-US" sz="1700" b="1" dirty="0">
              <a:solidFill>
                <a:srgbClr val="626469"/>
              </a:solidFill>
              <a:ea typeface="Arial Unicode MS" pitchFamily="34" charset="-128"/>
              <a:cs typeface="Arial" pitchFamily="34" charset="0"/>
            </a:endParaRPr>
          </a:p>
        </p:txBody>
      </p:sp>
      <p:sp>
        <p:nvSpPr>
          <p:cNvPr id="32" name="Rechteck 11"/>
          <p:cNvSpPr/>
          <p:nvPr userDrawn="1"/>
        </p:nvSpPr>
        <p:spPr>
          <a:xfrm>
            <a:off x="7496943" y="1734915"/>
            <a:ext cx="4266089"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defTabSz="609421">
              <a:tabLst>
                <a:tab pos="477890" algn="l"/>
              </a:tabLst>
            </a:pPr>
            <a:endParaRPr lang="en-US" sz="1700" b="1" dirty="0">
              <a:solidFill>
                <a:srgbClr val="626469"/>
              </a:solidFill>
              <a:cs typeface="Arial" pitchFamily="34" charset="0"/>
            </a:endParaRPr>
          </a:p>
        </p:txBody>
      </p:sp>
      <p:sp>
        <p:nvSpPr>
          <p:cNvPr id="45" name="Rechteck 10"/>
          <p:cNvSpPr/>
          <p:nvPr userDrawn="1"/>
        </p:nvSpPr>
        <p:spPr>
          <a:xfrm>
            <a:off x="6703310" y="2419393"/>
            <a:ext cx="609441"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algn="ctr" defTabSz="609421"/>
            <a:endParaRPr lang="en-US" sz="1700" b="1" dirty="0">
              <a:solidFill>
                <a:srgbClr val="626469"/>
              </a:solidFill>
              <a:ea typeface="Arial Unicode MS" pitchFamily="34" charset="-128"/>
              <a:cs typeface="Arial" pitchFamily="34" charset="0"/>
            </a:endParaRPr>
          </a:p>
        </p:txBody>
      </p:sp>
      <p:sp>
        <p:nvSpPr>
          <p:cNvPr id="46" name="Rechteck 11"/>
          <p:cNvSpPr/>
          <p:nvPr userDrawn="1"/>
        </p:nvSpPr>
        <p:spPr>
          <a:xfrm>
            <a:off x="7496943" y="2420715"/>
            <a:ext cx="4266089"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defTabSz="609421">
              <a:tabLst>
                <a:tab pos="477890" algn="l"/>
              </a:tabLst>
            </a:pPr>
            <a:endParaRPr lang="en-US" sz="1700" b="1" dirty="0">
              <a:solidFill>
                <a:srgbClr val="626469"/>
              </a:solidFill>
              <a:cs typeface="Arial" pitchFamily="34" charset="0"/>
            </a:endParaRPr>
          </a:p>
        </p:txBody>
      </p:sp>
      <p:sp>
        <p:nvSpPr>
          <p:cNvPr id="47" name="Rechteck 10"/>
          <p:cNvSpPr/>
          <p:nvPr userDrawn="1"/>
        </p:nvSpPr>
        <p:spPr>
          <a:xfrm>
            <a:off x="6703310" y="3105193"/>
            <a:ext cx="609441"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algn="ctr" defTabSz="609421"/>
            <a:endParaRPr lang="en-US" sz="1700" b="1" dirty="0">
              <a:solidFill>
                <a:srgbClr val="626469"/>
              </a:solidFill>
              <a:ea typeface="Arial Unicode MS" pitchFamily="34" charset="-128"/>
              <a:cs typeface="Arial" pitchFamily="34" charset="0"/>
            </a:endParaRPr>
          </a:p>
        </p:txBody>
      </p:sp>
      <p:sp>
        <p:nvSpPr>
          <p:cNvPr id="48" name="Rechteck 11"/>
          <p:cNvSpPr/>
          <p:nvPr userDrawn="1"/>
        </p:nvSpPr>
        <p:spPr>
          <a:xfrm>
            <a:off x="7496943" y="3106515"/>
            <a:ext cx="4266089"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defTabSz="609421">
              <a:tabLst>
                <a:tab pos="477890" algn="l"/>
              </a:tabLst>
            </a:pPr>
            <a:endParaRPr lang="en-US" sz="1700" b="1" dirty="0">
              <a:solidFill>
                <a:srgbClr val="626469"/>
              </a:solidFill>
              <a:cs typeface="Arial" pitchFamily="34" charset="0"/>
            </a:endParaRPr>
          </a:p>
        </p:txBody>
      </p:sp>
      <p:sp>
        <p:nvSpPr>
          <p:cNvPr id="49" name="Rechteck 10"/>
          <p:cNvSpPr/>
          <p:nvPr userDrawn="1"/>
        </p:nvSpPr>
        <p:spPr>
          <a:xfrm>
            <a:off x="6703310" y="3816393"/>
            <a:ext cx="609441"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algn="ctr" defTabSz="609421"/>
            <a:endParaRPr lang="en-US" sz="1700" b="1" dirty="0">
              <a:solidFill>
                <a:srgbClr val="626469"/>
              </a:solidFill>
              <a:ea typeface="Arial Unicode MS" pitchFamily="34" charset="-128"/>
              <a:cs typeface="Arial" pitchFamily="34" charset="0"/>
            </a:endParaRPr>
          </a:p>
        </p:txBody>
      </p:sp>
      <p:sp>
        <p:nvSpPr>
          <p:cNvPr id="50" name="Rechteck 11"/>
          <p:cNvSpPr/>
          <p:nvPr userDrawn="1"/>
        </p:nvSpPr>
        <p:spPr>
          <a:xfrm>
            <a:off x="7496943" y="3817715"/>
            <a:ext cx="4266089"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defTabSz="609421">
              <a:tabLst>
                <a:tab pos="477890" algn="l"/>
              </a:tabLst>
            </a:pPr>
            <a:endParaRPr lang="en-US" sz="1700" b="1" dirty="0">
              <a:solidFill>
                <a:srgbClr val="626469"/>
              </a:solidFill>
              <a:cs typeface="Arial" pitchFamily="34" charset="0"/>
            </a:endParaRPr>
          </a:p>
        </p:txBody>
      </p:sp>
      <p:sp>
        <p:nvSpPr>
          <p:cNvPr id="51" name="Rechteck 10"/>
          <p:cNvSpPr/>
          <p:nvPr userDrawn="1"/>
        </p:nvSpPr>
        <p:spPr>
          <a:xfrm>
            <a:off x="6703310" y="4527593"/>
            <a:ext cx="609441"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algn="ctr" defTabSz="609421"/>
            <a:endParaRPr lang="en-US" sz="1700" b="1" dirty="0">
              <a:solidFill>
                <a:srgbClr val="626469"/>
              </a:solidFill>
              <a:ea typeface="Arial Unicode MS" pitchFamily="34" charset="-128"/>
              <a:cs typeface="Arial" pitchFamily="34" charset="0"/>
            </a:endParaRPr>
          </a:p>
        </p:txBody>
      </p:sp>
      <p:sp>
        <p:nvSpPr>
          <p:cNvPr id="52" name="Rechteck 11"/>
          <p:cNvSpPr/>
          <p:nvPr userDrawn="1"/>
        </p:nvSpPr>
        <p:spPr>
          <a:xfrm>
            <a:off x="7496943" y="4528915"/>
            <a:ext cx="4266089"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defTabSz="609421">
              <a:tabLst>
                <a:tab pos="477890" algn="l"/>
              </a:tabLst>
            </a:pPr>
            <a:endParaRPr lang="en-US" sz="1700" b="1" dirty="0">
              <a:solidFill>
                <a:srgbClr val="626469"/>
              </a:solidFill>
              <a:cs typeface="Arial" pitchFamily="34" charset="0"/>
            </a:endParaRPr>
          </a:p>
        </p:txBody>
      </p:sp>
      <p:sp>
        <p:nvSpPr>
          <p:cNvPr id="55" name="Rechteck 10"/>
          <p:cNvSpPr/>
          <p:nvPr userDrawn="1"/>
        </p:nvSpPr>
        <p:spPr>
          <a:xfrm>
            <a:off x="6703310" y="5226093"/>
            <a:ext cx="609441"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algn="ctr" defTabSz="609421"/>
            <a:endParaRPr lang="en-US" sz="1700" b="1" dirty="0">
              <a:solidFill>
                <a:srgbClr val="626469"/>
              </a:solidFill>
              <a:ea typeface="Arial Unicode MS" pitchFamily="34" charset="-128"/>
              <a:cs typeface="Arial" pitchFamily="34" charset="0"/>
            </a:endParaRPr>
          </a:p>
        </p:txBody>
      </p:sp>
      <p:sp>
        <p:nvSpPr>
          <p:cNvPr id="56" name="Rechteck 11"/>
          <p:cNvSpPr/>
          <p:nvPr userDrawn="1"/>
        </p:nvSpPr>
        <p:spPr>
          <a:xfrm>
            <a:off x="7496943" y="5227415"/>
            <a:ext cx="4266089"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defTabSz="609421">
              <a:tabLst>
                <a:tab pos="477890" algn="l"/>
              </a:tabLst>
            </a:pPr>
            <a:endParaRPr lang="en-US" sz="1700" b="1" dirty="0">
              <a:solidFill>
                <a:srgbClr val="626469"/>
              </a:solidFill>
              <a:cs typeface="Arial" pitchFamily="34" charset="0"/>
            </a:endParaRPr>
          </a:p>
        </p:txBody>
      </p:sp>
      <p:sp>
        <p:nvSpPr>
          <p:cNvPr id="24" name="Text Placeholder 4"/>
          <p:cNvSpPr>
            <a:spLocks noGrp="1"/>
          </p:cNvSpPr>
          <p:nvPr userDrawn="1">
            <p:ph type="body" sz="quarter" idx="13" hasCustomPrompt="1"/>
          </p:nvPr>
        </p:nvSpPr>
        <p:spPr>
          <a:xfrm>
            <a:off x="6670396" y="509519"/>
            <a:ext cx="679284" cy="280855"/>
          </a:xfrm>
          <a:prstGeom prst="rect">
            <a:avLst/>
          </a:prstGeom>
        </p:spPr>
        <p:txBody>
          <a:bodyPr lIns="121888" tIns="60944" rIns="121888" bIns="60944" anchor="ctr"/>
          <a:lstStyle>
            <a:lvl1pPr algn="ctr">
              <a:buNone/>
              <a:defRPr sz="1700" b="1">
                <a:solidFill>
                  <a:schemeClr val="accent1"/>
                </a:solidFill>
              </a:defRPr>
            </a:lvl1pPr>
          </a:lstStyle>
          <a:p>
            <a:r>
              <a:rPr lang="en-US" dirty="0"/>
              <a:t>1</a:t>
            </a:r>
          </a:p>
        </p:txBody>
      </p:sp>
      <p:sp>
        <p:nvSpPr>
          <p:cNvPr id="23" name="Text Placeholder 4"/>
          <p:cNvSpPr>
            <a:spLocks noGrp="1"/>
          </p:cNvSpPr>
          <p:nvPr userDrawn="1">
            <p:ph type="body" sz="quarter" idx="12" hasCustomPrompt="1"/>
          </p:nvPr>
        </p:nvSpPr>
        <p:spPr>
          <a:xfrm>
            <a:off x="7504221" y="527714"/>
            <a:ext cx="4193412" cy="277820"/>
          </a:xfrm>
          <a:prstGeom prst="rect">
            <a:avLst/>
          </a:prstGeom>
        </p:spPr>
        <p:txBody>
          <a:bodyPr lIns="121888" tIns="60944" rIns="121888" bIns="60944" anchor="ctr"/>
          <a:lstStyle>
            <a:lvl1pPr>
              <a:buNone/>
              <a:defRPr sz="1700" b="1">
                <a:solidFill>
                  <a:schemeClr val="accent1"/>
                </a:solidFill>
              </a:defRPr>
            </a:lvl1pPr>
          </a:lstStyle>
          <a:p>
            <a:r>
              <a:rPr lang="en-US" dirty="0"/>
              <a:t>Edit text</a:t>
            </a:r>
          </a:p>
        </p:txBody>
      </p:sp>
      <p:sp>
        <p:nvSpPr>
          <p:cNvPr id="26" name="Text Placeholder 4"/>
          <p:cNvSpPr>
            <a:spLocks noGrp="1"/>
          </p:cNvSpPr>
          <p:nvPr userDrawn="1">
            <p:ph type="body" sz="quarter" idx="15" hasCustomPrompt="1"/>
          </p:nvPr>
        </p:nvSpPr>
        <p:spPr>
          <a:xfrm>
            <a:off x="6673425" y="1167653"/>
            <a:ext cx="679284" cy="280855"/>
          </a:xfrm>
          <a:prstGeom prst="rect">
            <a:avLst/>
          </a:prstGeom>
        </p:spPr>
        <p:txBody>
          <a:bodyPr lIns="121888" tIns="60944" rIns="121888" bIns="60944" anchor="ctr"/>
          <a:lstStyle>
            <a:lvl1pPr algn="ctr">
              <a:buNone/>
              <a:defRPr sz="1700" b="1">
                <a:solidFill>
                  <a:schemeClr val="accent1"/>
                </a:solidFill>
              </a:defRPr>
            </a:lvl1pPr>
          </a:lstStyle>
          <a:p>
            <a:r>
              <a:rPr lang="en-US" dirty="0"/>
              <a:t>2</a:t>
            </a:r>
          </a:p>
        </p:txBody>
      </p:sp>
      <p:sp>
        <p:nvSpPr>
          <p:cNvPr id="25" name="Text Placeholder 4"/>
          <p:cNvSpPr>
            <a:spLocks noGrp="1"/>
          </p:cNvSpPr>
          <p:nvPr userDrawn="1">
            <p:ph type="body" sz="quarter" idx="14" hasCustomPrompt="1"/>
          </p:nvPr>
        </p:nvSpPr>
        <p:spPr>
          <a:xfrm>
            <a:off x="7507250" y="1185847"/>
            <a:ext cx="4193412" cy="277820"/>
          </a:xfrm>
          <a:prstGeom prst="rect">
            <a:avLst/>
          </a:prstGeom>
        </p:spPr>
        <p:txBody>
          <a:bodyPr lIns="121888" tIns="60944" rIns="121888" bIns="60944" anchor="ctr"/>
          <a:lstStyle>
            <a:lvl1pPr>
              <a:buNone/>
              <a:defRPr sz="1700" b="1">
                <a:solidFill>
                  <a:schemeClr val="accent1"/>
                </a:solidFill>
              </a:defRPr>
            </a:lvl1pPr>
          </a:lstStyle>
          <a:p>
            <a:r>
              <a:rPr lang="en-US" dirty="0"/>
              <a:t>Edit text</a:t>
            </a:r>
          </a:p>
        </p:txBody>
      </p:sp>
      <p:sp>
        <p:nvSpPr>
          <p:cNvPr id="27" name="Text Placeholder 4"/>
          <p:cNvSpPr>
            <a:spLocks noGrp="1"/>
          </p:cNvSpPr>
          <p:nvPr userDrawn="1">
            <p:ph type="body" sz="quarter" idx="16" hasCustomPrompt="1"/>
          </p:nvPr>
        </p:nvSpPr>
        <p:spPr>
          <a:xfrm>
            <a:off x="6658260" y="1880378"/>
            <a:ext cx="679284" cy="280855"/>
          </a:xfrm>
          <a:prstGeom prst="rect">
            <a:avLst/>
          </a:prstGeom>
        </p:spPr>
        <p:txBody>
          <a:bodyPr lIns="121888" tIns="60944" rIns="121888" bIns="60944" anchor="ctr"/>
          <a:lstStyle>
            <a:lvl1pPr algn="ctr">
              <a:buNone/>
              <a:defRPr sz="1700" b="1">
                <a:solidFill>
                  <a:schemeClr val="accent1"/>
                </a:solidFill>
              </a:defRPr>
            </a:lvl1pPr>
          </a:lstStyle>
          <a:p>
            <a:r>
              <a:rPr lang="en-US" dirty="0"/>
              <a:t>3</a:t>
            </a:r>
          </a:p>
        </p:txBody>
      </p:sp>
      <p:sp>
        <p:nvSpPr>
          <p:cNvPr id="28" name="Text Placeholder 4"/>
          <p:cNvSpPr>
            <a:spLocks noGrp="1"/>
          </p:cNvSpPr>
          <p:nvPr userDrawn="1">
            <p:ph type="body" sz="quarter" idx="17" hasCustomPrompt="1"/>
          </p:nvPr>
        </p:nvSpPr>
        <p:spPr>
          <a:xfrm>
            <a:off x="7492086" y="1898575"/>
            <a:ext cx="4193412" cy="277820"/>
          </a:xfrm>
          <a:prstGeom prst="rect">
            <a:avLst/>
          </a:prstGeom>
        </p:spPr>
        <p:txBody>
          <a:bodyPr lIns="121888" tIns="60944" rIns="121888" bIns="60944" anchor="ctr"/>
          <a:lstStyle>
            <a:lvl1pPr>
              <a:buNone/>
              <a:defRPr sz="1700" b="1">
                <a:solidFill>
                  <a:schemeClr val="accent1"/>
                </a:solidFill>
              </a:defRPr>
            </a:lvl1pPr>
          </a:lstStyle>
          <a:p>
            <a:r>
              <a:rPr lang="en-US" dirty="0"/>
              <a:t>Edit text</a:t>
            </a:r>
          </a:p>
        </p:txBody>
      </p:sp>
      <p:sp>
        <p:nvSpPr>
          <p:cNvPr id="29" name="Text Placeholder 4"/>
          <p:cNvSpPr>
            <a:spLocks noGrp="1"/>
          </p:cNvSpPr>
          <p:nvPr userDrawn="1">
            <p:ph type="body" sz="quarter" idx="18" hasCustomPrompt="1"/>
          </p:nvPr>
        </p:nvSpPr>
        <p:spPr>
          <a:xfrm>
            <a:off x="6655232" y="2568847"/>
            <a:ext cx="679284" cy="280855"/>
          </a:xfrm>
          <a:prstGeom prst="rect">
            <a:avLst/>
          </a:prstGeom>
        </p:spPr>
        <p:txBody>
          <a:bodyPr lIns="121888" tIns="60944" rIns="121888" bIns="60944" anchor="ctr"/>
          <a:lstStyle>
            <a:lvl1pPr algn="ctr">
              <a:buNone/>
              <a:defRPr sz="1700" b="1">
                <a:solidFill>
                  <a:schemeClr val="accent1"/>
                </a:solidFill>
              </a:defRPr>
            </a:lvl1pPr>
          </a:lstStyle>
          <a:p>
            <a:r>
              <a:rPr lang="en-US" dirty="0"/>
              <a:t>4</a:t>
            </a:r>
          </a:p>
        </p:txBody>
      </p:sp>
      <p:sp>
        <p:nvSpPr>
          <p:cNvPr id="30" name="Text Placeholder 4"/>
          <p:cNvSpPr>
            <a:spLocks noGrp="1"/>
          </p:cNvSpPr>
          <p:nvPr userDrawn="1">
            <p:ph type="body" sz="quarter" idx="19" hasCustomPrompt="1"/>
          </p:nvPr>
        </p:nvSpPr>
        <p:spPr>
          <a:xfrm>
            <a:off x="7489057" y="2587043"/>
            <a:ext cx="4193412" cy="277820"/>
          </a:xfrm>
          <a:prstGeom prst="rect">
            <a:avLst/>
          </a:prstGeom>
        </p:spPr>
        <p:txBody>
          <a:bodyPr lIns="121888" tIns="60944" rIns="121888" bIns="60944" anchor="ctr"/>
          <a:lstStyle>
            <a:lvl1pPr>
              <a:buNone/>
              <a:defRPr sz="1700" b="1">
                <a:solidFill>
                  <a:schemeClr val="accent1"/>
                </a:solidFill>
              </a:defRPr>
            </a:lvl1pPr>
          </a:lstStyle>
          <a:p>
            <a:r>
              <a:rPr lang="en-US" dirty="0"/>
              <a:t>Edit text</a:t>
            </a:r>
          </a:p>
        </p:txBody>
      </p:sp>
      <p:sp>
        <p:nvSpPr>
          <p:cNvPr id="33" name="Text Placeholder 4"/>
          <p:cNvSpPr>
            <a:spLocks noGrp="1"/>
          </p:cNvSpPr>
          <p:nvPr userDrawn="1">
            <p:ph type="body" sz="quarter" idx="20" hasCustomPrompt="1"/>
          </p:nvPr>
        </p:nvSpPr>
        <p:spPr>
          <a:xfrm>
            <a:off x="6658260" y="3226981"/>
            <a:ext cx="679284" cy="280855"/>
          </a:xfrm>
          <a:prstGeom prst="rect">
            <a:avLst/>
          </a:prstGeom>
        </p:spPr>
        <p:txBody>
          <a:bodyPr lIns="121888" tIns="60944" rIns="121888" bIns="60944" anchor="ctr"/>
          <a:lstStyle>
            <a:lvl1pPr algn="ctr">
              <a:buNone/>
              <a:defRPr sz="1700" b="1">
                <a:solidFill>
                  <a:schemeClr val="accent1"/>
                </a:solidFill>
              </a:defRPr>
            </a:lvl1pPr>
          </a:lstStyle>
          <a:p>
            <a:r>
              <a:rPr lang="en-US" dirty="0"/>
              <a:t>5</a:t>
            </a:r>
          </a:p>
        </p:txBody>
      </p:sp>
      <p:sp>
        <p:nvSpPr>
          <p:cNvPr id="34" name="Text Placeholder 4"/>
          <p:cNvSpPr>
            <a:spLocks noGrp="1"/>
          </p:cNvSpPr>
          <p:nvPr userDrawn="1">
            <p:ph type="body" sz="quarter" idx="21" hasCustomPrompt="1"/>
          </p:nvPr>
        </p:nvSpPr>
        <p:spPr>
          <a:xfrm>
            <a:off x="7492086" y="3245175"/>
            <a:ext cx="4193412" cy="277820"/>
          </a:xfrm>
          <a:prstGeom prst="rect">
            <a:avLst/>
          </a:prstGeom>
        </p:spPr>
        <p:txBody>
          <a:bodyPr lIns="121888" tIns="60944" rIns="121888" bIns="60944" anchor="ctr"/>
          <a:lstStyle>
            <a:lvl1pPr>
              <a:buNone/>
              <a:defRPr sz="1700" b="1">
                <a:solidFill>
                  <a:schemeClr val="accent1"/>
                </a:solidFill>
              </a:defRPr>
            </a:lvl1pPr>
          </a:lstStyle>
          <a:p>
            <a:r>
              <a:rPr lang="en-US" dirty="0"/>
              <a:t>Edit text</a:t>
            </a:r>
          </a:p>
        </p:txBody>
      </p:sp>
      <p:sp>
        <p:nvSpPr>
          <p:cNvPr id="35" name="Text Placeholder 4"/>
          <p:cNvSpPr>
            <a:spLocks noGrp="1"/>
          </p:cNvSpPr>
          <p:nvPr userDrawn="1">
            <p:ph type="body" sz="quarter" idx="22" hasCustomPrompt="1"/>
          </p:nvPr>
        </p:nvSpPr>
        <p:spPr>
          <a:xfrm>
            <a:off x="6661289" y="3939706"/>
            <a:ext cx="679284" cy="280855"/>
          </a:xfrm>
          <a:prstGeom prst="rect">
            <a:avLst/>
          </a:prstGeom>
        </p:spPr>
        <p:txBody>
          <a:bodyPr lIns="121888" tIns="60944" rIns="121888" bIns="60944" anchor="ctr"/>
          <a:lstStyle>
            <a:lvl1pPr algn="ctr">
              <a:buNone/>
              <a:defRPr sz="1700" b="1">
                <a:solidFill>
                  <a:schemeClr val="accent1"/>
                </a:solidFill>
              </a:defRPr>
            </a:lvl1pPr>
          </a:lstStyle>
          <a:p>
            <a:r>
              <a:rPr lang="en-US" dirty="0"/>
              <a:t>6</a:t>
            </a:r>
          </a:p>
        </p:txBody>
      </p:sp>
      <p:sp>
        <p:nvSpPr>
          <p:cNvPr id="36" name="Text Placeholder 4"/>
          <p:cNvSpPr>
            <a:spLocks noGrp="1"/>
          </p:cNvSpPr>
          <p:nvPr userDrawn="1">
            <p:ph type="body" sz="quarter" idx="23" hasCustomPrompt="1"/>
          </p:nvPr>
        </p:nvSpPr>
        <p:spPr>
          <a:xfrm>
            <a:off x="7476922" y="3957903"/>
            <a:ext cx="4193412" cy="277820"/>
          </a:xfrm>
          <a:prstGeom prst="rect">
            <a:avLst/>
          </a:prstGeom>
        </p:spPr>
        <p:txBody>
          <a:bodyPr lIns="121888" tIns="60944" rIns="121888" bIns="60944" anchor="ctr"/>
          <a:lstStyle>
            <a:lvl1pPr>
              <a:buNone/>
              <a:defRPr sz="1700" b="1">
                <a:solidFill>
                  <a:schemeClr val="accent1"/>
                </a:solidFill>
              </a:defRPr>
            </a:lvl1pPr>
          </a:lstStyle>
          <a:p>
            <a:r>
              <a:rPr lang="en-US" dirty="0"/>
              <a:t>Edit text</a:t>
            </a:r>
          </a:p>
        </p:txBody>
      </p:sp>
      <p:sp>
        <p:nvSpPr>
          <p:cNvPr id="37" name="Text Placeholder 4"/>
          <p:cNvSpPr>
            <a:spLocks noGrp="1"/>
          </p:cNvSpPr>
          <p:nvPr userDrawn="1">
            <p:ph type="body" sz="quarter" idx="24" hasCustomPrompt="1"/>
          </p:nvPr>
        </p:nvSpPr>
        <p:spPr>
          <a:xfrm>
            <a:off x="6643096" y="4649402"/>
            <a:ext cx="679284" cy="280855"/>
          </a:xfrm>
          <a:prstGeom prst="rect">
            <a:avLst/>
          </a:prstGeom>
        </p:spPr>
        <p:txBody>
          <a:bodyPr lIns="121888" tIns="60944" rIns="121888" bIns="60944" anchor="ctr"/>
          <a:lstStyle>
            <a:lvl1pPr algn="ctr">
              <a:buNone/>
              <a:defRPr sz="1700" b="1">
                <a:solidFill>
                  <a:schemeClr val="accent1"/>
                </a:solidFill>
              </a:defRPr>
            </a:lvl1pPr>
          </a:lstStyle>
          <a:p>
            <a:r>
              <a:rPr lang="en-US" dirty="0"/>
              <a:t>7</a:t>
            </a:r>
          </a:p>
        </p:txBody>
      </p:sp>
      <p:sp>
        <p:nvSpPr>
          <p:cNvPr id="38" name="Text Placeholder 4"/>
          <p:cNvSpPr>
            <a:spLocks noGrp="1"/>
          </p:cNvSpPr>
          <p:nvPr userDrawn="1">
            <p:ph type="body" sz="quarter" idx="25" hasCustomPrompt="1"/>
          </p:nvPr>
        </p:nvSpPr>
        <p:spPr>
          <a:xfrm>
            <a:off x="7495114" y="4667599"/>
            <a:ext cx="4193412" cy="277820"/>
          </a:xfrm>
          <a:prstGeom prst="rect">
            <a:avLst/>
          </a:prstGeom>
        </p:spPr>
        <p:txBody>
          <a:bodyPr lIns="121888" tIns="60944" rIns="121888" bIns="60944" anchor="ctr"/>
          <a:lstStyle>
            <a:lvl1pPr>
              <a:buNone/>
              <a:defRPr sz="1700" b="1">
                <a:solidFill>
                  <a:schemeClr val="accent1"/>
                </a:solidFill>
              </a:defRPr>
            </a:lvl1pPr>
          </a:lstStyle>
          <a:p>
            <a:r>
              <a:rPr lang="en-US" dirty="0"/>
              <a:t>Edit text</a:t>
            </a:r>
          </a:p>
        </p:txBody>
      </p:sp>
      <p:sp>
        <p:nvSpPr>
          <p:cNvPr id="39" name="Text Placeholder 4"/>
          <p:cNvSpPr>
            <a:spLocks noGrp="1"/>
          </p:cNvSpPr>
          <p:nvPr userDrawn="1">
            <p:ph type="body" sz="quarter" idx="26" hasCustomPrompt="1"/>
          </p:nvPr>
        </p:nvSpPr>
        <p:spPr>
          <a:xfrm>
            <a:off x="6646125" y="5362127"/>
            <a:ext cx="679284" cy="280855"/>
          </a:xfrm>
          <a:prstGeom prst="rect">
            <a:avLst/>
          </a:prstGeom>
        </p:spPr>
        <p:txBody>
          <a:bodyPr lIns="121888" tIns="60944" rIns="121888" bIns="60944" anchor="ctr"/>
          <a:lstStyle>
            <a:lvl1pPr algn="ctr">
              <a:buNone/>
              <a:defRPr sz="1700" b="1">
                <a:solidFill>
                  <a:schemeClr val="accent1"/>
                </a:solidFill>
              </a:defRPr>
            </a:lvl1pPr>
          </a:lstStyle>
          <a:p>
            <a:r>
              <a:rPr lang="en-US" dirty="0"/>
              <a:t>8</a:t>
            </a:r>
          </a:p>
        </p:txBody>
      </p:sp>
      <p:sp>
        <p:nvSpPr>
          <p:cNvPr id="40" name="Text Placeholder 4"/>
          <p:cNvSpPr>
            <a:spLocks noGrp="1"/>
          </p:cNvSpPr>
          <p:nvPr userDrawn="1">
            <p:ph type="body" sz="quarter" idx="27" hasCustomPrompt="1"/>
          </p:nvPr>
        </p:nvSpPr>
        <p:spPr>
          <a:xfrm>
            <a:off x="7479950" y="5380323"/>
            <a:ext cx="4193412" cy="277820"/>
          </a:xfrm>
          <a:prstGeom prst="rect">
            <a:avLst/>
          </a:prstGeom>
        </p:spPr>
        <p:txBody>
          <a:bodyPr lIns="121888" tIns="60944" rIns="121888" bIns="60944" anchor="ctr"/>
          <a:lstStyle>
            <a:lvl1pPr>
              <a:buNone/>
              <a:defRPr sz="1700" b="1">
                <a:solidFill>
                  <a:schemeClr val="accent1"/>
                </a:solidFill>
              </a:defRPr>
            </a:lvl1pPr>
          </a:lstStyle>
          <a:p>
            <a:r>
              <a:rPr lang="en-US" dirty="0"/>
              <a:t>Edit text</a:t>
            </a:r>
          </a:p>
        </p:txBody>
      </p:sp>
    </p:spTree>
    <p:extLst>
      <p:ext uri="{BB962C8B-B14F-4D97-AF65-F5344CB8AC3E}">
        <p14:creationId xmlns:p14="http://schemas.microsoft.com/office/powerpoint/2010/main" val="198943441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6149432" y="3"/>
            <a:ext cx="6039396" cy="6857999"/>
          </a:xfrm>
          <a:prstGeom prst="rect">
            <a:avLst/>
          </a:prstGeom>
          <a:solidFill>
            <a:schemeClr val="accent2">
              <a:alpha val="20000"/>
            </a:schemeClr>
          </a:solidFill>
        </p:spPr>
        <p:txBody>
          <a:bodyPr vert="horz" lIns="335913" tIns="335913" rIns="335913" bIns="335913"/>
          <a:lstStyle>
            <a:lvl1pPr marL="0" indent="0">
              <a:buNone/>
              <a:defRPr sz="1500">
                <a:solidFill>
                  <a:schemeClr val="accent1"/>
                </a:solidFill>
              </a:defRPr>
            </a:lvl1pPr>
            <a:lvl2pPr marL="590398" indent="-353393">
              <a:buFont typeface="Arial"/>
              <a:buChar char="•"/>
              <a:defRPr sz="2400">
                <a:solidFill>
                  <a:schemeClr val="accent1"/>
                </a:solidFill>
              </a:defRPr>
            </a:lvl2pPr>
            <a:lvl3pPr marL="943788" indent="-304723">
              <a:buFont typeface="Lucida Grande"/>
              <a:buChar char="–"/>
              <a:defRPr sz="2100">
                <a:solidFill>
                  <a:schemeClr val="accent1"/>
                </a:solidFill>
              </a:defRPr>
            </a:lvl3pPr>
            <a:lvl4pPr marL="1301414" indent="-304723">
              <a:buFont typeface="Lucida Grande"/>
              <a:buChar char="–"/>
              <a:defRPr sz="1900">
                <a:solidFill>
                  <a:schemeClr val="accent1"/>
                </a:solidFill>
              </a:defRPr>
            </a:lvl4pPr>
            <a:lvl5pPr marL="1678084" indent="-308953" defTabSz="418992">
              <a:buFont typeface="Lucida Grande"/>
              <a:buChar char="–"/>
              <a:defRPr sz="1900">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336463" y="1310606"/>
            <a:ext cx="4998647" cy="4558569"/>
          </a:xfrm>
          <a:prstGeom prst="rect">
            <a:avLst/>
          </a:prstGeom>
          <a:noFill/>
        </p:spPr>
        <p:txBody>
          <a:bodyPr vert="horz" wrap="square" lIns="0" tIns="0" rIns="0" bIns="0">
            <a:noAutofit/>
          </a:bodyPr>
          <a:lstStyle>
            <a:lvl1pPr marL="315302" indent="-315302">
              <a:buClr>
                <a:schemeClr val="tx2"/>
              </a:buClr>
              <a:buFont typeface="Arial" panose="020B0604020202020204" pitchFamily="34" charset="0"/>
              <a:buNone/>
              <a:defRPr sz="2400">
                <a:solidFill>
                  <a:schemeClr val="accent1"/>
                </a:solidFill>
              </a:defRPr>
            </a:lvl1pPr>
            <a:lvl2pPr marL="609443" indent="-294142">
              <a:buClr>
                <a:schemeClr val="tx2"/>
              </a:buClr>
              <a:buFont typeface="Arial" panose="020B0604020202020204" pitchFamily="34" charset="0"/>
              <a:buChar char="•"/>
              <a:defRPr sz="2100">
                <a:solidFill>
                  <a:schemeClr val="accent1"/>
                </a:solidFill>
              </a:defRPr>
            </a:lvl2pPr>
            <a:lvl3pPr marL="840101" indent="-230658">
              <a:buClr>
                <a:schemeClr val="tx2"/>
              </a:buClr>
              <a:buFont typeface="Arial" panose="020B0604020202020204" pitchFamily="34" charset="0"/>
              <a:buChar char="•"/>
              <a:defRPr sz="1900">
                <a:solidFill>
                  <a:schemeClr val="accent1"/>
                </a:solidFill>
              </a:defRPr>
            </a:lvl3pPr>
            <a:lvl4pPr marL="1070758" indent="-230658">
              <a:buClr>
                <a:schemeClr val="tx2"/>
              </a:buClr>
              <a:buFont typeface="Arial" panose="020B0604020202020204" pitchFamily="34" charset="0"/>
              <a:buChar char="•"/>
              <a:defRPr sz="1900">
                <a:solidFill>
                  <a:schemeClr val="accent1"/>
                </a:solidFill>
              </a:defRPr>
            </a:lvl4pPr>
            <a:lvl5pPr marL="1303529" indent="-232774" defTabSz="418992">
              <a:buClr>
                <a:schemeClr val="tx2"/>
              </a:buClr>
              <a:buFont typeface="Arial" panose="020B0604020202020204" pitchFamily="34" charset="0"/>
              <a:buChar char="•"/>
              <a:defRPr sz="19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
          <p:cNvSpPr>
            <a:spLocks noGrp="1"/>
          </p:cNvSpPr>
          <p:nvPr>
            <p:ph type="title" hasCustomPrompt="1"/>
          </p:nvPr>
        </p:nvSpPr>
        <p:spPr>
          <a:xfrm>
            <a:off x="336463" y="464445"/>
            <a:ext cx="4998647" cy="492443"/>
          </a:xfrm>
          <a:prstGeom prst="rect">
            <a:avLst/>
          </a:prstGeom>
        </p:spPr>
        <p:txBody>
          <a:bodyPr wrap="square" lIns="0" tIns="0" rIns="0" bIns="0" anchor="ctr" anchorCtr="0">
            <a:spAutoFit/>
          </a:bodyPr>
          <a:lstStyle>
            <a:lvl1pPr algn="l">
              <a:defRPr sz="3200" baseline="0">
                <a:solidFill>
                  <a:schemeClr val="tx2"/>
                </a:solidFill>
              </a:defRPr>
            </a:lvl1pPr>
          </a:lstStyle>
          <a:p>
            <a:r>
              <a:rPr lang="en-US" dirty="0"/>
              <a:t>Click To Edit Section Title</a:t>
            </a:r>
          </a:p>
        </p:txBody>
      </p:sp>
      <p:sp>
        <p:nvSpPr>
          <p:cNvPr id="23" name="Rectangle 22"/>
          <p:cNvSpPr/>
          <p:nvPr userDrawn="1"/>
        </p:nvSpPr>
        <p:spPr>
          <a:xfrm rot="5400000">
            <a:off x="2471784" y="3180357"/>
            <a:ext cx="6857997" cy="4972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88" tIns="60944" rIns="121888" bIns="60944" rtlCol="0" anchor="ctr"/>
          <a:lstStyle/>
          <a:p>
            <a:pPr algn="ctr" defTabSz="609421"/>
            <a:endParaRPr lang="en-US" sz="2400" dirty="0">
              <a:solidFill>
                <a:prstClr val="white"/>
              </a:solidFill>
            </a:endParaRPr>
          </a:p>
        </p:txBody>
      </p:sp>
      <p:sp>
        <p:nvSpPr>
          <p:cNvPr id="4" name="Text Placeholder 3"/>
          <p:cNvSpPr>
            <a:spLocks noGrp="1"/>
          </p:cNvSpPr>
          <p:nvPr>
            <p:ph type="body" sz="quarter" idx="14" hasCustomPrompt="1"/>
          </p:nvPr>
        </p:nvSpPr>
        <p:spPr>
          <a:xfrm>
            <a:off x="5652142" y="0"/>
            <a:ext cx="994577" cy="6858000"/>
          </a:xfrm>
          <a:prstGeom prst="rect">
            <a:avLst/>
          </a:prstGeom>
          <a:solidFill>
            <a:schemeClr val="tx2">
              <a:alpha val="80000"/>
            </a:schemeClr>
          </a:solidFill>
          <a:ln>
            <a:noFill/>
          </a:ln>
        </p:spPr>
        <p:txBody>
          <a:bodyPr lIns="121888" tIns="60944" rIns="121888" bIns="60944"/>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2329916" y="6476210"/>
            <a:ext cx="700737" cy="123111"/>
          </a:xfrm>
          <a:prstGeom prst="rect">
            <a:avLst/>
          </a:prstGeom>
        </p:spPr>
        <p:txBody>
          <a:bodyPr vert="horz" lIns="0" tIns="0" rIns="0" bIns="0" rtlCol="0" anchor="ctr">
            <a:spAutoFit/>
          </a:bodyPr>
          <a:lstStyle>
            <a:lvl1pPr algn="l" defTabSz="609421">
              <a:defRPr sz="8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6" name="Footer Placeholder 4"/>
          <p:cNvSpPr>
            <a:spLocks noGrp="1"/>
          </p:cNvSpPr>
          <p:nvPr>
            <p:ph type="ftr" sz="quarter" idx="3"/>
          </p:nvPr>
        </p:nvSpPr>
        <p:spPr>
          <a:xfrm>
            <a:off x="336465" y="6476209"/>
            <a:ext cx="2012498" cy="123111"/>
          </a:xfrm>
          <a:prstGeom prst="rect">
            <a:avLst/>
          </a:prstGeom>
        </p:spPr>
        <p:txBody>
          <a:bodyPr vert="horz" wrap="square" lIns="0" tIns="0" rIns="0" bIns="0" rtlCol="0" anchor="ctr">
            <a:spAutoFit/>
          </a:bodyPr>
          <a:lstStyle>
            <a:lvl1pPr algn="l" defTabSz="609421">
              <a:defRPr sz="800">
                <a:solidFill>
                  <a:schemeClr val="accent1"/>
                </a:solidFill>
                <a:latin typeface="Arial"/>
                <a:cs typeface="Arial"/>
              </a:defRPr>
            </a:lvl1pPr>
          </a:lstStyle>
          <a:p>
            <a:r>
              <a:rPr lang="en-US" dirty="0">
                <a:solidFill>
                  <a:srgbClr val="626469"/>
                </a:solidFill>
              </a:rPr>
              <a:t>Confidential Property of Schneider Electric |</a:t>
            </a:r>
          </a:p>
        </p:txBody>
      </p:sp>
    </p:spTree>
    <p:extLst>
      <p:ext uri="{BB962C8B-B14F-4D97-AF65-F5344CB8AC3E}">
        <p14:creationId xmlns:p14="http://schemas.microsoft.com/office/powerpoint/2010/main" val="3518578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ransition White">
    <p:bg>
      <p:bgPr>
        <a:solidFill>
          <a:schemeClr val="bg1"/>
        </a:solidFill>
        <a:effectLst/>
      </p:bgPr>
    </p:bg>
    <p:spTree>
      <p:nvGrpSpPr>
        <p:cNvPr id="1" name=""/>
        <p:cNvGrpSpPr/>
        <p:nvPr/>
      </p:nvGrpSpPr>
      <p:grpSpPr>
        <a:xfrm>
          <a:off x="0" y="0"/>
          <a:ext cx="0" cy="0"/>
          <a:chOff x="0" y="0"/>
          <a:chExt cx="0" cy="0"/>
        </a:xfrm>
      </p:grpSpPr>
      <p:pic>
        <p:nvPicPr>
          <p:cNvPr id="5" name="Picture 23" descr="C:\Users\Kurt\Desktop\Untitled-1cc.png"/>
          <p:cNvPicPr>
            <a:picLocks noChangeAspect="1" noChangeArrowheads="1"/>
          </p:cNvPicPr>
          <p:nvPr userDrawn="1"/>
        </p:nvPicPr>
        <p:blipFill>
          <a:blip r:embed="rId2" cstate="print"/>
          <a:srcRect/>
          <a:stretch>
            <a:fillRect/>
          </a:stretch>
        </p:blipFill>
        <p:spPr bwMode="auto">
          <a:xfrm>
            <a:off x="10068985" y="6130735"/>
            <a:ext cx="1135598" cy="338328"/>
          </a:xfrm>
          <a:prstGeom prst="rect">
            <a:avLst/>
          </a:prstGeom>
          <a:noFill/>
        </p:spPr>
      </p:pic>
      <p:sp>
        <p:nvSpPr>
          <p:cNvPr id="2" name="Title 1"/>
          <p:cNvSpPr>
            <a:spLocks noGrp="1"/>
          </p:cNvSpPr>
          <p:nvPr>
            <p:ph type="title" hasCustomPrompt="1"/>
          </p:nvPr>
        </p:nvSpPr>
        <p:spPr>
          <a:xfrm>
            <a:off x="609441" y="2436823"/>
            <a:ext cx="10969943" cy="1255711"/>
          </a:xfrm>
        </p:spPr>
        <p:txBody>
          <a:bodyPr anchor="b" anchorCtr="0">
            <a:normAutofit/>
          </a:bodyPr>
          <a:lstStyle>
            <a:lvl1pPr algn="l">
              <a:defRPr baseline="0">
                <a:solidFill>
                  <a:srgbClr val="009530"/>
                </a:solidFill>
              </a:defRPr>
            </a:lvl1pPr>
          </a:lstStyle>
          <a:p>
            <a:r>
              <a:rPr lang="en-US" dirty="0"/>
              <a:t>Transition Slide Headline</a:t>
            </a:r>
          </a:p>
        </p:txBody>
      </p:sp>
      <p:sp>
        <p:nvSpPr>
          <p:cNvPr id="7" name="Text Placeholder 6"/>
          <p:cNvSpPr>
            <a:spLocks noGrp="1"/>
          </p:cNvSpPr>
          <p:nvPr>
            <p:ph type="body" sz="quarter" idx="10" hasCustomPrompt="1"/>
          </p:nvPr>
        </p:nvSpPr>
        <p:spPr>
          <a:xfrm>
            <a:off x="603248" y="3765560"/>
            <a:ext cx="10972800" cy="1228725"/>
          </a:xfrm>
        </p:spPr>
        <p:txBody>
          <a:bodyPr rIns="0">
            <a:noAutofit/>
          </a:bodyPr>
          <a:lstStyle>
            <a:lvl1pPr marL="0" indent="0" algn="l">
              <a:buNone/>
              <a:defRPr sz="2300">
                <a:solidFill>
                  <a:srgbClr val="626469"/>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headline if </a:t>
            </a:r>
            <a:r>
              <a:rPr lang="en-US" noProof="0" dirty="0"/>
              <a:t>necessary</a:t>
            </a:r>
          </a:p>
        </p:txBody>
      </p:sp>
      <p:sp>
        <p:nvSpPr>
          <p:cNvPr id="6" name="Freeform 5"/>
          <p:cNvSpPr/>
          <p:nvPr userDrawn="1"/>
        </p:nvSpPr>
        <p:spPr>
          <a:xfrm>
            <a:off x="11289034" y="6252907"/>
            <a:ext cx="45719" cy="216159"/>
          </a:xfrm>
          <a:custGeom>
            <a:avLst/>
            <a:gdLst>
              <a:gd name="connsiteX0" fmla="*/ 0 w 0"/>
              <a:gd name="connsiteY0" fmla="*/ 0 h 167951"/>
              <a:gd name="connsiteX1" fmla="*/ 0 w 0"/>
              <a:gd name="connsiteY1" fmla="*/ 167951 h 167951"/>
            </a:gdLst>
            <a:ahLst/>
            <a:cxnLst>
              <a:cxn ang="0">
                <a:pos x="connsiteX0" y="connsiteY0"/>
              </a:cxn>
              <a:cxn ang="0">
                <a:pos x="connsiteX1" y="connsiteY1"/>
              </a:cxn>
            </a:cxnLst>
            <a:rect l="l" t="t" r="r" b="b"/>
            <a:pathLst>
              <a:path h="167951">
                <a:moveTo>
                  <a:pt x="0" y="0"/>
                </a:moveTo>
                <a:lnTo>
                  <a:pt x="0" y="167951"/>
                </a:lnTo>
              </a:path>
            </a:pathLst>
          </a:custGeom>
          <a:noFill/>
          <a:ln w="19050" cap="flat" cmpd="sng" algn="ctr">
            <a:solidFill>
              <a:srgbClr val="626469"/>
            </a:solidFill>
            <a:prstDash val="solid"/>
          </a:ln>
          <a:effectLst/>
        </p:spPr>
        <p:txBody>
          <a:bodyPr lIns="91432" tIns="45717" rIns="91432" bIns="45717" rtlCol="0" anchor="ctr"/>
          <a:lstStyle/>
          <a:p>
            <a:pPr marL="0" marR="0" lvl="0" indent="0" algn="ctr" defTabSz="121888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a:endParaRPr>
          </a:p>
        </p:txBody>
      </p:sp>
    </p:spTree>
    <p:extLst>
      <p:ext uri="{BB962C8B-B14F-4D97-AF65-F5344CB8AC3E}">
        <p14:creationId xmlns:p14="http://schemas.microsoft.com/office/powerpoint/2010/main" val="11725449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3988" y="2900205"/>
            <a:ext cx="11508377" cy="492443"/>
          </a:xfrm>
          <a:prstGeom prst="rect">
            <a:avLst/>
          </a:prstGeom>
        </p:spPr>
        <p:txBody>
          <a:bodyPr lIns="0" tIns="0" rIns="0" bIns="0" anchor="ctr" anchorCtr="0">
            <a:noAutofit/>
          </a:bodyPr>
          <a:lstStyle>
            <a:lvl1pPr algn="l">
              <a:defRPr sz="320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343988" y="3512665"/>
            <a:ext cx="11508377" cy="287259"/>
          </a:xfrm>
          <a:prstGeom prst="rect">
            <a:avLst/>
          </a:prstGeom>
        </p:spPr>
        <p:txBody>
          <a:bodyPr lIns="0" tIns="0" rIns="0" bIns="0" anchor="ctr" anchorCtr="0">
            <a:noAutofit/>
          </a:bodyPr>
          <a:lstStyle>
            <a:lvl1pPr marL="0" indent="0">
              <a:buNone/>
              <a:defRPr sz="1900" baseline="0">
                <a:solidFill>
                  <a:schemeClr val="accent1"/>
                </a:solidFill>
              </a:defRPr>
            </a:lvl1pPr>
          </a:lstStyle>
          <a:p>
            <a:pPr lvl="0"/>
            <a:r>
              <a:rPr lang="en-US" dirty="0"/>
              <a:t>Click To Edit Optional Subtitle</a:t>
            </a:r>
          </a:p>
        </p:txBody>
      </p:sp>
      <p:sp>
        <p:nvSpPr>
          <p:cNvPr id="13" name="Slide Number Placeholder 5"/>
          <p:cNvSpPr>
            <a:spLocks noGrp="1"/>
          </p:cNvSpPr>
          <p:nvPr>
            <p:ph type="sldNum" sz="quarter" idx="4"/>
          </p:nvPr>
        </p:nvSpPr>
        <p:spPr>
          <a:xfrm>
            <a:off x="2329916" y="6476210"/>
            <a:ext cx="700737" cy="123111"/>
          </a:xfrm>
          <a:prstGeom prst="rect">
            <a:avLst/>
          </a:prstGeom>
        </p:spPr>
        <p:txBody>
          <a:bodyPr vert="horz" lIns="0" tIns="0" rIns="0" bIns="0" rtlCol="0" anchor="ctr">
            <a:spAutoFit/>
          </a:bodyPr>
          <a:lstStyle>
            <a:lvl1pPr algn="l" defTabSz="609421">
              <a:defRPr sz="8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4" name="Footer Placeholder 4"/>
          <p:cNvSpPr>
            <a:spLocks noGrp="1"/>
          </p:cNvSpPr>
          <p:nvPr>
            <p:ph type="ftr" sz="quarter" idx="3"/>
          </p:nvPr>
        </p:nvSpPr>
        <p:spPr>
          <a:xfrm>
            <a:off x="336465" y="6476209"/>
            <a:ext cx="2012498" cy="123111"/>
          </a:xfrm>
          <a:prstGeom prst="rect">
            <a:avLst/>
          </a:prstGeom>
        </p:spPr>
        <p:txBody>
          <a:bodyPr vert="horz" wrap="square" lIns="0" tIns="0" rIns="0" bIns="0" rtlCol="0" anchor="ctr">
            <a:spAutoFit/>
          </a:bodyPr>
          <a:lstStyle>
            <a:lvl1pPr algn="l" defTabSz="609421">
              <a:defRPr sz="800">
                <a:solidFill>
                  <a:schemeClr val="accent1"/>
                </a:solidFill>
                <a:latin typeface="Arial"/>
                <a:cs typeface="Arial"/>
              </a:defRPr>
            </a:lvl1pPr>
          </a:lstStyle>
          <a:p>
            <a:r>
              <a:rPr lang="en-US" dirty="0">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9420258" y="5993331"/>
            <a:ext cx="2721688" cy="750604"/>
          </a:xfrm>
          <a:prstGeom prst="rect">
            <a:avLst/>
          </a:prstGeom>
        </p:spPr>
      </p:pic>
    </p:spTree>
    <p:extLst>
      <p:ext uri="{BB962C8B-B14F-4D97-AF65-F5344CB8AC3E}">
        <p14:creationId xmlns:p14="http://schemas.microsoft.com/office/powerpoint/2010/main" val="355483945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336466" y="3940609"/>
            <a:ext cx="11526479" cy="410369"/>
          </a:xfrm>
          <a:prstGeom prst="rect">
            <a:avLst/>
          </a:prstGeom>
        </p:spPr>
        <p:txBody>
          <a:bodyPr lIns="0" tIns="0" rIns="0" bIns="0">
            <a:noAutofit/>
          </a:bodyPr>
          <a:lstStyle>
            <a:lvl1pPr marL="0" indent="0" algn="ctr">
              <a:buNone/>
              <a:defRPr sz="2700">
                <a:solidFill>
                  <a:schemeClr val="accent2"/>
                </a:solidFill>
              </a:defRPr>
            </a:lvl1pPr>
            <a:lvl2pPr marL="609443" indent="0" algn="ctr">
              <a:buNone/>
              <a:defRPr>
                <a:solidFill>
                  <a:schemeClr val="tx1">
                    <a:tint val="75000"/>
                  </a:schemeClr>
                </a:solidFill>
              </a:defRPr>
            </a:lvl2pPr>
            <a:lvl3pPr marL="1218885" indent="0" algn="ctr">
              <a:buNone/>
              <a:defRPr>
                <a:solidFill>
                  <a:schemeClr val="tx1">
                    <a:tint val="75000"/>
                  </a:schemeClr>
                </a:solidFill>
              </a:defRPr>
            </a:lvl3pPr>
            <a:lvl4pPr marL="1828328" indent="0" algn="ctr">
              <a:buNone/>
              <a:defRPr>
                <a:solidFill>
                  <a:schemeClr val="tx1">
                    <a:tint val="75000"/>
                  </a:schemeClr>
                </a:solidFill>
              </a:defRPr>
            </a:lvl4pPr>
            <a:lvl5pPr marL="2437771" indent="0" algn="ctr">
              <a:buNone/>
              <a:defRPr>
                <a:solidFill>
                  <a:schemeClr val="tx1">
                    <a:tint val="75000"/>
                  </a:schemeClr>
                </a:solidFill>
              </a:defRPr>
            </a:lvl5pPr>
            <a:lvl6pPr marL="3047213" indent="0" algn="ctr">
              <a:buNone/>
              <a:defRPr>
                <a:solidFill>
                  <a:schemeClr val="tx1">
                    <a:tint val="75000"/>
                  </a:schemeClr>
                </a:solidFill>
              </a:defRPr>
            </a:lvl6pPr>
            <a:lvl7pPr marL="3656656" indent="0" algn="ctr">
              <a:buNone/>
              <a:defRPr>
                <a:solidFill>
                  <a:schemeClr val="tx1">
                    <a:tint val="75000"/>
                  </a:schemeClr>
                </a:solidFill>
              </a:defRPr>
            </a:lvl7pPr>
            <a:lvl8pPr marL="4266097" indent="0" algn="ctr">
              <a:buNone/>
              <a:defRPr>
                <a:solidFill>
                  <a:schemeClr val="tx1">
                    <a:tint val="75000"/>
                  </a:schemeClr>
                </a:solidFill>
              </a:defRPr>
            </a:lvl8pPr>
            <a:lvl9pPr marL="4875541"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2329916" y="6476210"/>
            <a:ext cx="700737" cy="123111"/>
          </a:xfrm>
          <a:prstGeom prst="rect">
            <a:avLst/>
          </a:prstGeom>
        </p:spPr>
        <p:txBody>
          <a:bodyPr vert="horz" lIns="0" tIns="0" rIns="0" bIns="0" rtlCol="0" anchor="ctr">
            <a:spAutoFit/>
          </a:bodyPr>
          <a:lstStyle>
            <a:lvl1pPr algn="l" defTabSz="609421">
              <a:defRPr sz="8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1" name="Footer Placeholder 4"/>
          <p:cNvSpPr>
            <a:spLocks noGrp="1"/>
          </p:cNvSpPr>
          <p:nvPr>
            <p:ph type="ftr" sz="quarter" idx="3"/>
          </p:nvPr>
        </p:nvSpPr>
        <p:spPr>
          <a:xfrm>
            <a:off x="336465" y="6476209"/>
            <a:ext cx="2012498" cy="123111"/>
          </a:xfrm>
          <a:prstGeom prst="rect">
            <a:avLst/>
          </a:prstGeom>
        </p:spPr>
        <p:txBody>
          <a:bodyPr vert="horz" wrap="square" lIns="0" tIns="0" rIns="0" bIns="0" rtlCol="0" anchor="ctr">
            <a:spAutoFit/>
          </a:bodyPr>
          <a:lstStyle>
            <a:lvl1pPr algn="l" defTabSz="609421">
              <a:defRPr sz="800">
                <a:solidFill>
                  <a:srgbClr val="FFFFFF"/>
                </a:solidFill>
                <a:latin typeface="Arial"/>
                <a:cs typeface="Arial"/>
              </a:defRPr>
            </a:lvl1pPr>
          </a:lstStyle>
          <a:p>
            <a:r>
              <a:rPr lang="en-US" dirty="0"/>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9420258" y="5993331"/>
            <a:ext cx="2721688" cy="750604"/>
          </a:xfrm>
          <a:prstGeom prst="rect">
            <a:avLst/>
          </a:prstGeom>
        </p:spPr>
      </p:pic>
      <p:sp>
        <p:nvSpPr>
          <p:cNvPr id="3" name="Picture Placeholder 5"/>
          <p:cNvSpPr>
            <a:spLocks noGrp="1"/>
          </p:cNvSpPr>
          <p:nvPr>
            <p:ph type="pic" sz="quarter" idx="10" hasCustomPrompt="1"/>
          </p:nvPr>
        </p:nvSpPr>
        <p:spPr>
          <a:xfrm>
            <a:off x="0" y="0"/>
            <a:ext cx="12188825" cy="6858000"/>
          </a:xfrm>
          <a:prstGeom prst="rect">
            <a:avLst/>
          </a:prstGeom>
          <a:solidFill>
            <a:srgbClr val="8E8F93">
              <a:alpha val="20000"/>
            </a:srgbClr>
          </a:solidFill>
        </p:spPr>
        <p:txBody>
          <a:bodyPr lIns="121888" tIns="60944" rIns="121888" bIns="60944"/>
          <a:lstStyle>
            <a:lvl1pPr marL="0" marR="0" indent="0" algn="l" defTabSz="609443" rtl="0" eaLnBrk="1" fontAlgn="auto" latinLnBrk="0" hangingPunct="1">
              <a:lnSpc>
                <a:spcPct val="100000"/>
              </a:lnSpc>
              <a:spcBef>
                <a:spcPct val="20000"/>
              </a:spcBef>
              <a:spcAft>
                <a:spcPts val="0"/>
              </a:spcAft>
              <a:buClrTx/>
              <a:buSzTx/>
              <a:buFont typeface="Arial"/>
              <a:buNone/>
              <a:tabLst/>
              <a:defRPr sz="19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336463" y="2284745"/>
            <a:ext cx="11526480" cy="1641475"/>
          </a:xfrm>
          <a:prstGeom prst="rect">
            <a:avLst/>
          </a:prstGeom>
        </p:spPr>
        <p:txBody>
          <a:bodyPr lIns="0" tIns="0" rIns="0" bIns="0" anchor="t">
            <a:noAutofit/>
          </a:bodyPr>
          <a:lstStyle>
            <a:lvl1pPr marL="0" indent="0" algn="ctr">
              <a:buFont typeface="Arial"/>
              <a:buNone/>
              <a:defRPr sz="5300">
                <a:solidFill>
                  <a:schemeClr val="bg1"/>
                </a:solidFill>
              </a:defRPr>
            </a:lvl1pPr>
          </a:lstStyle>
          <a:p>
            <a:r>
              <a:rPr lang="en-US" dirty="0"/>
              <a:t>CLICK TO EDIT QUOTE OR CALLOUT</a:t>
            </a:r>
          </a:p>
        </p:txBody>
      </p:sp>
    </p:spTree>
    <p:extLst>
      <p:ext uri="{BB962C8B-B14F-4D97-AF65-F5344CB8AC3E}">
        <p14:creationId xmlns:p14="http://schemas.microsoft.com/office/powerpoint/2010/main" val="252164217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463" y="2284745"/>
            <a:ext cx="11526480" cy="1641475"/>
          </a:xfrm>
          <a:prstGeom prst="rect">
            <a:avLst/>
          </a:prstGeom>
        </p:spPr>
        <p:txBody>
          <a:bodyPr lIns="0" tIns="0" rIns="0" bIns="0" anchor="t">
            <a:noAutofit/>
          </a:bodyPr>
          <a:lstStyle>
            <a:lvl1pPr marL="0" indent="0" algn="ctr">
              <a:buFont typeface="Arial"/>
              <a:buNone/>
              <a:defRPr sz="53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336466" y="3940609"/>
            <a:ext cx="11526479" cy="410369"/>
          </a:xfrm>
          <a:prstGeom prst="rect">
            <a:avLst/>
          </a:prstGeom>
        </p:spPr>
        <p:txBody>
          <a:bodyPr lIns="0" tIns="0" rIns="0" bIns="0">
            <a:noAutofit/>
          </a:bodyPr>
          <a:lstStyle>
            <a:lvl1pPr marL="0" indent="0" algn="ctr">
              <a:buNone/>
              <a:defRPr sz="2700">
                <a:solidFill>
                  <a:schemeClr val="accent2"/>
                </a:solidFill>
              </a:defRPr>
            </a:lvl1pPr>
            <a:lvl2pPr marL="609443" indent="0" algn="ctr">
              <a:buNone/>
              <a:defRPr>
                <a:solidFill>
                  <a:schemeClr val="tx1">
                    <a:tint val="75000"/>
                  </a:schemeClr>
                </a:solidFill>
              </a:defRPr>
            </a:lvl2pPr>
            <a:lvl3pPr marL="1218885" indent="0" algn="ctr">
              <a:buNone/>
              <a:defRPr>
                <a:solidFill>
                  <a:schemeClr val="tx1">
                    <a:tint val="75000"/>
                  </a:schemeClr>
                </a:solidFill>
              </a:defRPr>
            </a:lvl3pPr>
            <a:lvl4pPr marL="1828328" indent="0" algn="ctr">
              <a:buNone/>
              <a:defRPr>
                <a:solidFill>
                  <a:schemeClr val="tx1">
                    <a:tint val="75000"/>
                  </a:schemeClr>
                </a:solidFill>
              </a:defRPr>
            </a:lvl4pPr>
            <a:lvl5pPr marL="2437771" indent="0" algn="ctr">
              <a:buNone/>
              <a:defRPr>
                <a:solidFill>
                  <a:schemeClr val="tx1">
                    <a:tint val="75000"/>
                  </a:schemeClr>
                </a:solidFill>
              </a:defRPr>
            </a:lvl5pPr>
            <a:lvl6pPr marL="3047213" indent="0" algn="ctr">
              <a:buNone/>
              <a:defRPr>
                <a:solidFill>
                  <a:schemeClr val="tx1">
                    <a:tint val="75000"/>
                  </a:schemeClr>
                </a:solidFill>
              </a:defRPr>
            </a:lvl6pPr>
            <a:lvl7pPr marL="3656656" indent="0" algn="ctr">
              <a:buNone/>
              <a:defRPr>
                <a:solidFill>
                  <a:schemeClr val="tx1">
                    <a:tint val="75000"/>
                  </a:schemeClr>
                </a:solidFill>
              </a:defRPr>
            </a:lvl7pPr>
            <a:lvl8pPr marL="4266097" indent="0" algn="ctr">
              <a:buNone/>
              <a:defRPr>
                <a:solidFill>
                  <a:schemeClr val="tx1">
                    <a:tint val="75000"/>
                  </a:schemeClr>
                </a:solidFill>
              </a:defRPr>
            </a:lvl8pPr>
            <a:lvl9pPr marL="4875541" indent="0" algn="ctr">
              <a:buNone/>
              <a:defRPr>
                <a:solidFill>
                  <a:schemeClr val="tx1">
                    <a:tint val="75000"/>
                  </a:schemeClr>
                </a:solidFill>
              </a:defRPr>
            </a:lvl9pPr>
          </a:lstStyle>
          <a:p>
            <a:r>
              <a:rPr lang="en-US" dirty="0"/>
              <a:t>Click To Edit Optional Subtitle</a:t>
            </a:r>
          </a:p>
        </p:txBody>
      </p:sp>
      <p:sp>
        <p:nvSpPr>
          <p:cNvPr id="10" name="Slide Number Placeholder 5"/>
          <p:cNvSpPr>
            <a:spLocks noGrp="1"/>
          </p:cNvSpPr>
          <p:nvPr>
            <p:ph type="sldNum" sz="quarter" idx="4"/>
          </p:nvPr>
        </p:nvSpPr>
        <p:spPr>
          <a:xfrm>
            <a:off x="2329916" y="6476210"/>
            <a:ext cx="700737" cy="123111"/>
          </a:xfrm>
          <a:prstGeom prst="rect">
            <a:avLst/>
          </a:prstGeom>
        </p:spPr>
        <p:txBody>
          <a:bodyPr vert="horz" lIns="0" tIns="0" rIns="0" bIns="0" rtlCol="0" anchor="ctr">
            <a:spAutoFit/>
          </a:bodyPr>
          <a:lstStyle>
            <a:lvl1pPr algn="l" defTabSz="609421">
              <a:defRPr sz="8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4" name="Footer Placeholder 4"/>
          <p:cNvSpPr>
            <a:spLocks noGrp="1"/>
          </p:cNvSpPr>
          <p:nvPr>
            <p:ph type="ftr" sz="quarter" idx="3"/>
          </p:nvPr>
        </p:nvSpPr>
        <p:spPr>
          <a:xfrm>
            <a:off x="336465" y="6476209"/>
            <a:ext cx="2012498" cy="123111"/>
          </a:xfrm>
          <a:prstGeom prst="rect">
            <a:avLst/>
          </a:prstGeom>
        </p:spPr>
        <p:txBody>
          <a:bodyPr vert="horz" wrap="square" lIns="0" tIns="0" rIns="0" bIns="0" rtlCol="0" anchor="ctr">
            <a:spAutoFit/>
          </a:bodyPr>
          <a:lstStyle>
            <a:lvl1pPr algn="l" defTabSz="609421">
              <a:defRPr sz="800">
                <a:solidFill>
                  <a:schemeClr val="accent1"/>
                </a:solidFill>
                <a:latin typeface="Arial"/>
                <a:cs typeface="Arial"/>
              </a:defRPr>
            </a:lvl1pPr>
          </a:lstStyle>
          <a:p>
            <a:r>
              <a:rPr lang="en-US" dirty="0">
                <a:solidFill>
                  <a:srgbClr val="626469"/>
                </a:solidFill>
              </a:rPr>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9420258" y="5993331"/>
            <a:ext cx="2721688" cy="750604"/>
          </a:xfrm>
          <a:prstGeom prst="rect">
            <a:avLst/>
          </a:prstGeom>
        </p:spPr>
      </p:pic>
      <p:sp>
        <p:nvSpPr>
          <p:cNvPr id="3" name="Picture Placeholder 5"/>
          <p:cNvSpPr>
            <a:spLocks noGrp="1"/>
          </p:cNvSpPr>
          <p:nvPr>
            <p:ph type="pic" sz="quarter" idx="10" hasCustomPrompt="1"/>
          </p:nvPr>
        </p:nvSpPr>
        <p:spPr>
          <a:xfrm>
            <a:off x="0" y="0"/>
            <a:ext cx="12188825" cy="6858000"/>
          </a:xfrm>
          <a:prstGeom prst="rect">
            <a:avLst/>
          </a:prstGeom>
          <a:solidFill>
            <a:srgbClr val="8E8F93">
              <a:alpha val="20000"/>
            </a:srgbClr>
          </a:solidFill>
        </p:spPr>
        <p:txBody>
          <a:bodyPr lIns="121888" tIns="60944" rIns="121888" bIns="60944"/>
          <a:lstStyle>
            <a:lvl1pPr marL="0" indent="0">
              <a:buNone/>
              <a:defRPr sz="1900" b="1">
                <a:solidFill>
                  <a:srgbClr val="00B0F0"/>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9474681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463" y="2284745"/>
            <a:ext cx="11526480" cy="1641475"/>
          </a:xfrm>
          <a:prstGeom prst="rect">
            <a:avLst/>
          </a:prstGeom>
        </p:spPr>
        <p:txBody>
          <a:bodyPr wrap="square" lIns="0" tIns="0" rIns="0" bIns="0" anchor="t">
            <a:noAutofit/>
          </a:bodyPr>
          <a:lstStyle>
            <a:lvl1pPr marL="0" indent="0" algn="ctr">
              <a:buFont typeface="Arial"/>
              <a:buNone/>
              <a:defRPr sz="53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336466" y="3940609"/>
            <a:ext cx="11526479" cy="410369"/>
          </a:xfrm>
          <a:prstGeom prst="rect">
            <a:avLst/>
          </a:prstGeom>
        </p:spPr>
        <p:txBody>
          <a:bodyPr wrap="square" lIns="0" tIns="0" rIns="0" bIns="0">
            <a:noAutofit/>
          </a:bodyPr>
          <a:lstStyle>
            <a:lvl1pPr marL="0" indent="0" algn="ctr">
              <a:buNone/>
              <a:defRPr sz="2700">
                <a:solidFill>
                  <a:schemeClr val="accent2"/>
                </a:solidFill>
              </a:defRPr>
            </a:lvl1pPr>
            <a:lvl2pPr marL="609443" indent="0" algn="ctr">
              <a:buNone/>
              <a:defRPr>
                <a:solidFill>
                  <a:schemeClr val="tx1">
                    <a:tint val="75000"/>
                  </a:schemeClr>
                </a:solidFill>
              </a:defRPr>
            </a:lvl2pPr>
            <a:lvl3pPr marL="1218885" indent="0" algn="ctr">
              <a:buNone/>
              <a:defRPr>
                <a:solidFill>
                  <a:schemeClr val="tx1">
                    <a:tint val="75000"/>
                  </a:schemeClr>
                </a:solidFill>
              </a:defRPr>
            </a:lvl3pPr>
            <a:lvl4pPr marL="1828328" indent="0" algn="ctr">
              <a:buNone/>
              <a:defRPr>
                <a:solidFill>
                  <a:schemeClr val="tx1">
                    <a:tint val="75000"/>
                  </a:schemeClr>
                </a:solidFill>
              </a:defRPr>
            </a:lvl4pPr>
            <a:lvl5pPr marL="2437771" indent="0" algn="ctr">
              <a:buNone/>
              <a:defRPr>
                <a:solidFill>
                  <a:schemeClr val="tx1">
                    <a:tint val="75000"/>
                  </a:schemeClr>
                </a:solidFill>
              </a:defRPr>
            </a:lvl5pPr>
            <a:lvl6pPr marL="3047213" indent="0" algn="ctr">
              <a:buNone/>
              <a:defRPr>
                <a:solidFill>
                  <a:schemeClr val="tx1">
                    <a:tint val="75000"/>
                  </a:schemeClr>
                </a:solidFill>
              </a:defRPr>
            </a:lvl6pPr>
            <a:lvl7pPr marL="3656656" indent="0" algn="ctr">
              <a:buNone/>
              <a:defRPr>
                <a:solidFill>
                  <a:schemeClr val="tx1">
                    <a:tint val="75000"/>
                  </a:schemeClr>
                </a:solidFill>
              </a:defRPr>
            </a:lvl7pPr>
            <a:lvl8pPr marL="4266097" indent="0" algn="ctr">
              <a:buNone/>
              <a:defRPr>
                <a:solidFill>
                  <a:schemeClr val="tx1">
                    <a:tint val="75000"/>
                  </a:schemeClr>
                </a:solidFill>
              </a:defRPr>
            </a:lvl8pPr>
            <a:lvl9pPr marL="4875541" indent="0" algn="ctr">
              <a:buNone/>
              <a:defRPr>
                <a:solidFill>
                  <a:schemeClr val="tx1">
                    <a:tint val="75000"/>
                  </a:schemeClr>
                </a:solidFill>
              </a:defRPr>
            </a:lvl9pPr>
          </a:lstStyle>
          <a:p>
            <a:r>
              <a:rPr lang="en-US" dirty="0"/>
              <a:t>Click To Edit Optional Subtitle</a:t>
            </a:r>
          </a:p>
        </p:txBody>
      </p:sp>
      <p:sp>
        <p:nvSpPr>
          <p:cNvPr id="9" name="Slide Number Placeholder 5"/>
          <p:cNvSpPr>
            <a:spLocks noGrp="1"/>
          </p:cNvSpPr>
          <p:nvPr>
            <p:ph type="sldNum" sz="quarter" idx="4"/>
          </p:nvPr>
        </p:nvSpPr>
        <p:spPr>
          <a:xfrm>
            <a:off x="2329916" y="6476210"/>
            <a:ext cx="700737" cy="123111"/>
          </a:xfrm>
          <a:prstGeom prst="rect">
            <a:avLst/>
          </a:prstGeom>
        </p:spPr>
        <p:txBody>
          <a:bodyPr vert="horz" lIns="0" tIns="0" rIns="0" bIns="0" rtlCol="0" anchor="ctr">
            <a:spAutoFit/>
          </a:bodyPr>
          <a:lstStyle>
            <a:lvl1pPr algn="l" defTabSz="609421">
              <a:defRPr sz="8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1" name="Footer Placeholder 4"/>
          <p:cNvSpPr>
            <a:spLocks noGrp="1"/>
          </p:cNvSpPr>
          <p:nvPr>
            <p:ph type="ftr" sz="quarter" idx="3"/>
          </p:nvPr>
        </p:nvSpPr>
        <p:spPr>
          <a:xfrm>
            <a:off x="336465" y="6476209"/>
            <a:ext cx="2012498" cy="123111"/>
          </a:xfrm>
          <a:prstGeom prst="rect">
            <a:avLst/>
          </a:prstGeom>
        </p:spPr>
        <p:txBody>
          <a:bodyPr vert="horz" wrap="square" lIns="0" tIns="0" rIns="0" bIns="0" rtlCol="0" anchor="ctr">
            <a:spAutoFit/>
          </a:bodyPr>
          <a:lstStyle>
            <a:lvl1pPr algn="l" defTabSz="609421">
              <a:defRPr sz="800">
                <a:solidFill>
                  <a:schemeClr val="accent1"/>
                </a:solidFill>
                <a:latin typeface="Arial"/>
                <a:cs typeface="Arial"/>
              </a:defRPr>
            </a:lvl1pPr>
          </a:lstStyle>
          <a:p>
            <a:r>
              <a:rPr lang="en-US" dirty="0">
                <a:solidFill>
                  <a:srgbClr val="626469"/>
                </a:solidFill>
              </a:rPr>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9420258" y="5993331"/>
            <a:ext cx="2721688" cy="750604"/>
          </a:xfrm>
          <a:prstGeom prst="rect">
            <a:avLst/>
          </a:prstGeom>
        </p:spPr>
      </p:pic>
    </p:spTree>
    <p:extLst>
      <p:ext uri="{BB962C8B-B14F-4D97-AF65-F5344CB8AC3E}">
        <p14:creationId xmlns:p14="http://schemas.microsoft.com/office/powerpoint/2010/main" val="19199211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allout on SE Life Green">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36463" y="2284745"/>
            <a:ext cx="11526480" cy="1641475"/>
          </a:xfrm>
          <a:prstGeom prst="rect">
            <a:avLst/>
          </a:prstGeom>
        </p:spPr>
        <p:txBody>
          <a:bodyPr lIns="0" tIns="0" rIns="0" bIns="0" anchor="t">
            <a:noAutofit/>
          </a:bodyPr>
          <a:lstStyle>
            <a:lvl1pPr marL="0" indent="0" algn="ctr">
              <a:buFont typeface="Arial"/>
              <a:buNone/>
              <a:defRPr sz="5300">
                <a:solidFill>
                  <a:schemeClr val="bg1"/>
                </a:solidFill>
              </a:defRPr>
            </a:lvl1pPr>
          </a:lstStyle>
          <a:p>
            <a:r>
              <a:rPr lang="en-US" dirty="0"/>
              <a:t>CLICK TO EDIT QUOTE OR CALLOUT</a:t>
            </a:r>
          </a:p>
        </p:txBody>
      </p:sp>
      <p:sp>
        <p:nvSpPr>
          <p:cNvPr id="10" name="Subtitle 2"/>
          <p:cNvSpPr>
            <a:spLocks noGrp="1"/>
          </p:cNvSpPr>
          <p:nvPr>
            <p:ph type="subTitle" idx="1" hasCustomPrompt="1"/>
          </p:nvPr>
        </p:nvSpPr>
        <p:spPr>
          <a:xfrm>
            <a:off x="336466" y="3940609"/>
            <a:ext cx="11526479" cy="410369"/>
          </a:xfrm>
          <a:prstGeom prst="rect">
            <a:avLst/>
          </a:prstGeom>
        </p:spPr>
        <p:txBody>
          <a:bodyPr lIns="0" tIns="0" rIns="0" bIns="0">
            <a:noAutofit/>
          </a:bodyPr>
          <a:lstStyle>
            <a:lvl1pPr marL="0" indent="0" algn="ctr">
              <a:buNone/>
              <a:defRPr sz="2700">
                <a:solidFill>
                  <a:schemeClr val="bg1"/>
                </a:solidFill>
              </a:defRPr>
            </a:lvl1pPr>
            <a:lvl2pPr marL="609443" indent="0" algn="ctr">
              <a:buNone/>
              <a:defRPr>
                <a:solidFill>
                  <a:schemeClr val="tx1">
                    <a:tint val="75000"/>
                  </a:schemeClr>
                </a:solidFill>
              </a:defRPr>
            </a:lvl2pPr>
            <a:lvl3pPr marL="1218885" indent="0" algn="ctr">
              <a:buNone/>
              <a:defRPr>
                <a:solidFill>
                  <a:schemeClr val="tx1">
                    <a:tint val="75000"/>
                  </a:schemeClr>
                </a:solidFill>
              </a:defRPr>
            </a:lvl3pPr>
            <a:lvl4pPr marL="1828328" indent="0" algn="ctr">
              <a:buNone/>
              <a:defRPr>
                <a:solidFill>
                  <a:schemeClr val="tx1">
                    <a:tint val="75000"/>
                  </a:schemeClr>
                </a:solidFill>
              </a:defRPr>
            </a:lvl4pPr>
            <a:lvl5pPr marL="2437771" indent="0" algn="ctr">
              <a:buNone/>
              <a:defRPr>
                <a:solidFill>
                  <a:schemeClr val="tx1">
                    <a:tint val="75000"/>
                  </a:schemeClr>
                </a:solidFill>
              </a:defRPr>
            </a:lvl5pPr>
            <a:lvl6pPr marL="3047213" indent="0" algn="ctr">
              <a:buNone/>
              <a:defRPr>
                <a:solidFill>
                  <a:schemeClr val="tx1">
                    <a:tint val="75000"/>
                  </a:schemeClr>
                </a:solidFill>
              </a:defRPr>
            </a:lvl6pPr>
            <a:lvl7pPr marL="3656656" indent="0" algn="ctr">
              <a:buNone/>
              <a:defRPr>
                <a:solidFill>
                  <a:schemeClr val="tx1">
                    <a:tint val="75000"/>
                  </a:schemeClr>
                </a:solidFill>
              </a:defRPr>
            </a:lvl7pPr>
            <a:lvl8pPr marL="4266097" indent="0" algn="ctr">
              <a:buNone/>
              <a:defRPr>
                <a:solidFill>
                  <a:schemeClr val="tx1">
                    <a:tint val="75000"/>
                  </a:schemeClr>
                </a:solidFill>
              </a:defRPr>
            </a:lvl8pPr>
            <a:lvl9pPr marL="4875541" indent="0" algn="ctr">
              <a:buNone/>
              <a:defRPr>
                <a:solidFill>
                  <a:schemeClr val="tx1">
                    <a:tint val="75000"/>
                  </a:schemeClr>
                </a:solidFill>
              </a:defRPr>
            </a:lvl9pPr>
          </a:lstStyle>
          <a:p>
            <a:r>
              <a:rPr lang="en-US" dirty="0"/>
              <a:t>Click To Edit Optional Subtitle</a:t>
            </a:r>
          </a:p>
        </p:txBody>
      </p:sp>
      <p:sp>
        <p:nvSpPr>
          <p:cNvPr id="14" name="Slide Number Placeholder 5"/>
          <p:cNvSpPr>
            <a:spLocks noGrp="1"/>
          </p:cNvSpPr>
          <p:nvPr>
            <p:ph type="sldNum" sz="quarter" idx="4"/>
          </p:nvPr>
        </p:nvSpPr>
        <p:spPr>
          <a:xfrm>
            <a:off x="2329916" y="6476210"/>
            <a:ext cx="700737" cy="123111"/>
          </a:xfrm>
          <a:prstGeom prst="rect">
            <a:avLst/>
          </a:prstGeom>
        </p:spPr>
        <p:txBody>
          <a:bodyPr vert="horz" lIns="0" tIns="0" rIns="0" bIns="0" rtlCol="0" anchor="ctr">
            <a:spAutoFit/>
          </a:bodyPr>
          <a:lstStyle>
            <a:lvl1pPr algn="l" defTabSz="609421">
              <a:defRPr sz="8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15" name="Footer Placeholder 4"/>
          <p:cNvSpPr>
            <a:spLocks noGrp="1"/>
          </p:cNvSpPr>
          <p:nvPr>
            <p:ph type="ftr" sz="quarter" idx="3"/>
          </p:nvPr>
        </p:nvSpPr>
        <p:spPr>
          <a:xfrm>
            <a:off x="336465" y="6476209"/>
            <a:ext cx="2012498" cy="123111"/>
          </a:xfrm>
          <a:prstGeom prst="rect">
            <a:avLst/>
          </a:prstGeom>
        </p:spPr>
        <p:txBody>
          <a:bodyPr vert="horz" wrap="square" lIns="0" tIns="0" rIns="0" bIns="0" rtlCol="0" anchor="ctr">
            <a:spAutoFit/>
          </a:bodyPr>
          <a:lstStyle>
            <a:lvl1pPr algn="l" defTabSz="609421">
              <a:defRPr sz="800">
                <a:solidFill>
                  <a:srgbClr val="FFFFFF"/>
                </a:solidFill>
                <a:latin typeface="Arial"/>
                <a:cs typeface="Arial"/>
              </a:defRPr>
            </a:lvl1pPr>
          </a:lstStyle>
          <a:p>
            <a:r>
              <a:rPr lang="en-US" dirty="0"/>
              <a:t>Confidential Property of Schneider Electric |</a:t>
            </a:r>
          </a:p>
        </p:txBody>
      </p:sp>
      <p:pic>
        <p:nvPicPr>
          <p:cNvPr id="11" name="Picture 10" descr="schneider_LIO_White_RGB.png"/>
          <p:cNvPicPr>
            <a:picLocks noChangeAspect="1"/>
          </p:cNvPicPr>
          <p:nvPr userDrawn="1"/>
        </p:nvPicPr>
        <p:blipFill>
          <a:blip r:embed="rId2" cstate="print"/>
          <a:stretch>
            <a:fillRect/>
          </a:stretch>
        </p:blipFill>
        <p:spPr>
          <a:xfrm>
            <a:off x="9430948" y="6011369"/>
            <a:ext cx="2690908" cy="742115"/>
          </a:xfrm>
          <a:prstGeom prst="rect">
            <a:avLst/>
          </a:prstGeom>
        </p:spPr>
      </p:pic>
    </p:spTree>
    <p:extLst>
      <p:ext uri="{BB962C8B-B14F-4D97-AF65-F5344CB8AC3E}">
        <p14:creationId xmlns:p14="http://schemas.microsoft.com/office/powerpoint/2010/main" val="24510897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2329916" y="6476211"/>
            <a:ext cx="700737" cy="123111"/>
          </a:xfrm>
          <a:prstGeom prst="rect">
            <a:avLst/>
          </a:prstGeom>
        </p:spPr>
        <p:txBody>
          <a:bodyPr vert="horz" lIns="0" tIns="0" rIns="0" bIns="0" rtlCol="0" anchor="ctr">
            <a:spAutoFit/>
          </a:bodyPr>
          <a:lstStyle>
            <a:lvl1pPr algn="l" defTabSz="609421">
              <a:defRPr sz="800">
                <a:solidFill>
                  <a:srgbClr val="FFFFFF"/>
                </a:solidFill>
                <a:latin typeface="Arial"/>
                <a:cs typeface="Arial"/>
              </a:defRPr>
            </a:lvl1pPr>
          </a:lstStyle>
          <a:p>
            <a:r>
              <a:rPr lang="en-US" dirty="0"/>
              <a:t>Page </a:t>
            </a:r>
            <a:fld id="{5A9C12DC-491F-9444-86A2-13AC5C62A2FC}" type="slidenum">
              <a:rPr lang="en-US" smtClean="0"/>
              <a:pPr/>
              <a:t>‹#›</a:t>
            </a:fld>
            <a:endParaRPr lang="en-US" dirty="0"/>
          </a:p>
        </p:txBody>
      </p:sp>
      <p:sp>
        <p:nvSpPr>
          <p:cNvPr id="9" name="Footer Placeholder 4"/>
          <p:cNvSpPr>
            <a:spLocks noGrp="1"/>
          </p:cNvSpPr>
          <p:nvPr>
            <p:ph type="ftr" sz="quarter" idx="3"/>
          </p:nvPr>
        </p:nvSpPr>
        <p:spPr>
          <a:xfrm>
            <a:off x="336465" y="6476210"/>
            <a:ext cx="2012498" cy="123111"/>
          </a:xfrm>
          <a:prstGeom prst="rect">
            <a:avLst/>
          </a:prstGeom>
        </p:spPr>
        <p:txBody>
          <a:bodyPr vert="horz" wrap="square" lIns="0" tIns="0" rIns="0" bIns="0" rtlCol="0" anchor="ctr">
            <a:spAutoFit/>
          </a:bodyPr>
          <a:lstStyle>
            <a:lvl1pPr algn="l" defTabSz="609421">
              <a:defRPr sz="800">
                <a:solidFill>
                  <a:srgbClr val="FFFFFF"/>
                </a:solidFill>
                <a:latin typeface="Arial"/>
                <a:cs typeface="Arial"/>
              </a:defRPr>
            </a:lvl1pPr>
          </a:lstStyle>
          <a:p>
            <a:r>
              <a:rPr lang="en-US" dirty="0"/>
              <a:t>Confidential Property of Schneider Electric |</a:t>
            </a:r>
          </a:p>
        </p:txBody>
      </p:sp>
      <p:pic>
        <p:nvPicPr>
          <p:cNvPr id="7" name="Picture 6" descr="schneider_LIO_White_RGB.png"/>
          <p:cNvPicPr>
            <a:picLocks noChangeAspect="1"/>
          </p:cNvPicPr>
          <p:nvPr userDrawn="1"/>
        </p:nvPicPr>
        <p:blipFill>
          <a:blip r:embed="rId2" cstate="print"/>
          <a:stretch>
            <a:fillRect/>
          </a:stretch>
        </p:blipFill>
        <p:spPr>
          <a:xfrm>
            <a:off x="9472133" y="6013415"/>
            <a:ext cx="2542011" cy="701052"/>
          </a:xfrm>
          <a:prstGeom prst="rect">
            <a:avLst/>
          </a:prstGeom>
        </p:spPr>
      </p:pic>
      <p:sp>
        <p:nvSpPr>
          <p:cNvPr id="12" name="Title 1"/>
          <p:cNvSpPr>
            <a:spLocks noGrp="1"/>
          </p:cNvSpPr>
          <p:nvPr>
            <p:ph type="title" hasCustomPrompt="1"/>
          </p:nvPr>
        </p:nvSpPr>
        <p:spPr>
          <a:xfrm>
            <a:off x="0" y="2721428"/>
            <a:ext cx="12188825" cy="1156853"/>
          </a:xfrm>
          <a:prstGeom prst="rect">
            <a:avLst/>
          </a:prstGeom>
          <a:solidFill>
            <a:schemeClr val="tx2">
              <a:alpha val="80000"/>
            </a:schemeClr>
          </a:solidFill>
        </p:spPr>
        <p:txBody>
          <a:bodyPr lIns="335869" tIns="0" rIns="0" bIns="0" anchor="ctr" anchorCtr="0"/>
          <a:lstStyle>
            <a:lvl1pPr algn="l">
              <a:defRPr sz="3200" baseline="0">
                <a:solidFill>
                  <a:srgbClr val="FFFFFF"/>
                </a:solidFill>
              </a:defRPr>
            </a:lvl1pPr>
          </a:lstStyle>
          <a:p>
            <a:r>
              <a:rPr lang="en-US" dirty="0"/>
              <a:t>Click To Edit Section Title</a:t>
            </a:r>
          </a:p>
        </p:txBody>
      </p:sp>
      <p:sp>
        <p:nvSpPr>
          <p:cNvPr id="13" name="Text Placeholder 9"/>
          <p:cNvSpPr>
            <a:spLocks noGrp="1"/>
          </p:cNvSpPr>
          <p:nvPr>
            <p:ph type="body" sz="quarter" idx="11" hasCustomPrompt="1"/>
          </p:nvPr>
        </p:nvSpPr>
        <p:spPr>
          <a:xfrm>
            <a:off x="0" y="3867186"/>
            <a:ext cx="12188825" cy="497417"/>
          </a:xfrm>
          <a:prstGeom prst="rect">
            <a:avLst/>
          </a:prstGeom>
          <a:solidFill>
            <a:schemeClr val="tx2"/>
          </a:solidFill>
        </p:spPr>
        <p:txBody>
          <a:bodyPr lIns="335869" tIns="0" rIns="0" bIns="0" anchor="ctr" anchorCtr="0"/>
          <a:lstStyle>
            <a:lvl1pPr marL="0" indent="0">
              <a:buNone/>
              <a:defRPr sz="1600" baseline="0">
                <a:solidFill>
                  <a:schemeClr val="bg1"/>
                </a:solidFill>
              </a:defRPr>
            </a:lvl1pPr>
          </a:lstStyle>
          <a:p>
            <a:pPr lvl="0"/>
            <a:r>
              <a:rPr lang="en-US" dirty="0"/>
              <a:t>Click To Edit Optional Subtitle</a:t>
            </a:r>
          </a:p>
        </p:txBody>
      </p:sp>
      <p:sp>
        <p:nvSpPr>
          <p:cNvPr id="10" name="Picture Placeholder 5"/>
          <p:cNvSpPr>
            <a:spLocks noGrp="1"/>
          </p:cNvSpPr>
          <p:nvPr>
            <p:ph type="pic" sz="quarter" idx="10" hasCustomPrompt="1"/>
          </p:nvPr>
        </p:nvSpPr>
        <p:spPr>
          <a:xfrm>
            <a:off x="0" y="0"/>
            <a:ext cx="12188825" cy="6858000"/>
          </a:xfrm>
          <a:prstGeom prst="rect">
            <a:avLst/>
          </a:prstGeom>
          <a:solidFill>
            <a:srgbClr val="8E8F93">
              <a:alpha val="20000"/>
            </a:srgbClr>
          </a:solidFill>
        </p:spPr>
        <p:txBody>
          <a:bodyPr lIns="121888" tIns="60944" rIns="121888" bIns="60944"/>
          <a:lstStyle>
            <a:lvl1pPr marL="0" indent="0">
              <a:buNone/>
              <a:defRPr sz="1900" b="1">
                <a:solidFill>
                  <a:schemeClr val="accent6"/>
                </a:solidFill>
              </a:defRPr>
            </a:lvl1pPr>
          </a:lstStyle>
          <a:p>
            <a:r>
              <a:rPr lang="en-US" dirty="0"/>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52831822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losing Slide Master">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3691205" y="2611549"/>
            <a:ext cx="4744607" cy="1308496"/>
          </a:xfrm>
          <a:prstGeom prst="rect">
            <a:avLst/>
          </a:prstGeom>
        </p:spPr>
      </p:pic>
    </p:spTree>
    <p:extLst>
      <p:ext uri="{BB962C8B-B14F-4D97-AF65-F5344CB8AC3E}">
        <p14:creationId xmlns:p14="http://schemas.microsoft.com/office/powerpoint/2010/main" val="303704787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336465" y="5421737"/>
            <a:ext cx="7438144" cy="164148"/>
          </a:xfrm>
          <a:prstGeom prst="rect">
            <a:avLst/>
          </a:prstGeom>
        </p:spPr>
        <p:txBody>
          <a:bodyPr lIns="0" tIns="0" rIns="0" bIns="0" anchor="b" anchorCtr="0">
            <a:spAutoFit/>
          </a:bodyPr>
          <a:lstStyle>
            <a:lvl1pPr marL="21160" indent="0">
              <a:buNone/>
              <a:defRPr sz="1066" baseline="0">
                <a:solidFill>
                  <a:srgbClr val="8E8F93"/>
                </a:solidFill>
              </a:defRPr>
            </a:lvl1pPr>
          </a:lstStyle>
          <a:p>
            <a:pPr lvl="0"/>
            <a:r>
              <a:rPr lang="en-US" dirty="0"/>
              <a:t>Optional description / context goes here</a:t>
            </a:r>
          </a:p>
        </p:txBody>
      </p:sp>
      <p:sp>
        <p:nvSpPr>
          <p:cNvPr id="4" name="Content Placeholder 3"/>
          <p:cNvSpPr>
            <a:spLocks noGrp="1"/>
          </p:cNvSpPr>
          <p:nvPr>
            <p:ph sz="quarter" idx="17"/>
          </p:nvPr>
        </p:nvSpPr>
        <p:spPr>
          <a:xfrm>
            <a:off x="336463" y="1604435"/>
            <a:ext cx="7438145" cy="3622711"/>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29915" y="6476207"/>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a:t>
            </a:fld>
            <a:endParaRPr lang="en-US" dirty="0">
              <a:solidFill>
                <a:srgbClr val="3DCD58"/>
              </a:solidFill>
            </a:endParaRPr>
          </a:p>
        </p:txBody>
      </p:sp>
      <p:sp>
        <p:nvSpPr>
          <p:cNvPr id="10" name="Footer Placeholder 4"/>
          <p:cNvSpPr>
            <a:spLocks noGrp="1"/>
          </p:cNvSpPr>
          <p:nvPr>
            <p:ph type="ftr" sz="quarter" idx="3"/>
          </p:nvPr>
        </p:nvSpPr>
        <p:spPr>
          <a:xfrm>
            <a:off x="336464" y="6476207"/>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solidFill>
                  <a:srgbClr val="626469"/>
                </a:solidFill>
              </a:rPr>
              <a:t>Confidential Property of Schneider Electric |</a:t>
            </a:r>
          </a:p>
        </p:txBody>
      </p:sp>
      <p:sp>
        <p:nvSpPr>
          <p:cNvPr id="8" name="Text Placeholder 11"/>
          <p:cNvSpPr>
            <a:spLocks noGrp="1"/>
          </p:cNvSpPr>
          <p:nvPr>
            <p:ph type="body" sz="quarter" idx="32"/>
          </p:nvPr>
        </p:nvSpPr>
        <p:spPr>
          <a:xfrm>
            <a:off x="336463" y="306916"/>
            <a:ext cx="11526480" cy="492443"/>
          </a:xfrm>
        </p:spPr>
        <p:txBody>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1" name="Text Placeholder 13"/>
          <p:cNvSpPr>
            <a:spLocks noGrp="1"/>
          </p:cNvSpPr>
          <p:nvPr>
            <p:ph type="body" sz="quarter" idx="33"/>
          </p:nvPr>
        </p:nvSpPr>
        <p:spPr>
          <a:xfrm>
            <a:off x="336463" y="911155"/>
            <a:ext cx="11526480" cy="338555"/>
          </a:xfrm>
        </p:spPr>
        <p:txBody>
          <a:bodyPr/>
          <a:lstStyle>
            <a:lvl1pPr marL="478230" indent="-457070">
              <a:buFontTx/>
              <a:buNone/>
              <a:defRPr sz="2133" baseline="0">
                <a:solidFill>
                  <a:schemeClr val="accent1"/>
                </a:solidFill>
              </a:defRPr>
            </a:lvl1pPr>
            <a:lvl2pPr marL="543828" indent="-304713">
              <a:buFontTx/>
              <a:buNone/>
              <a:defRPr/>
            </a:lvl2pPr>
            <a:lvl3pPr marL="782943" indent="-304713">
              <a:buFontTx/>
              <a:buNone/>
              <a:defRPr/>
            </a:lvl3pPr>
            <a:lvl4pPr marL="1024175" indent="-304713">
              <a:buFontTx/>
              <a:buNone/>
              <a:defRPr/>
            </a:lvl4pPr>
            <a:lvl5pPr marL="1252709" indent="-304713">
              <a:buFontTx/>
              <a:buNone/>
              <a:defRPr/>
            </a:lvl5pPr>
          </a:lstStyle>
          <a:p>
            <a:pPr lvl="0"/>
            <a:r>
              <a:rPr lang="en-US" dirty="0"/>
              <a:t>Click to edit Master text styles</a:t>
            </a:r>
          </a:p>
        </p:txBody>
      </p:sp>
    </p:spTree>
    <p:extLst>
      <p:ext uri="{BB962C8B-B14F-4D97-AF65-F5344CB8AC3E}">
        <p14:creationId xmlns:p14="http://schemas.microsoft.com/office/powerpoint/2010/main" val="78123323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29916" y="6476210"/>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a:t>
            </a:fld>
            <a:endParaRPr lang="en-US">
              <a:solidFill>
                <a:srgbClr val="3DCD58"/>
              </a:solidFill>
            </a:endParaRPr>
          </a:p>
        </p:txBody>
      </p:sp>
      <p:sp>
        <p:nvSpPr>
          <p:cNvPr id="5" name="Footer Placeholder 4"/>
          <p:cNvSpPr>
            <a:spLocks noGrp="1"/>
          </p:cNvSpPr>
          <p:nvPr>
            <p:ph type="ftr" sz="quarter" idx="3"/>
          </p:nvPr>
        </p:nvSpPr>
        <p:spPr>
          <a:xfrm>
            <a:off x="336465" y="6476210"/>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solidFill>
                  <a:srgbClr val="626469"/>
                </a:solidFill>
              </a:rPr>
              <a:t>Confidential Property of Schneider Electric |</a:t>
            </a:r>
          </a:p>
        </p:txBody>
      </p:sp>
      <p:sp>
        <p:nvSpPr>
          <p:cNvPr id="8" name="Content Placeholder 2"/>
          <p:cNvSpPr>
            <a:spLocks noGrp="1"/>
          </p:cNvSpPr>
          <p:nvPr>
            <p:ph sz="quarter" idx="31"/>
          </p:nvPr>
        </p:nvSpPr>
        <p:spPr>
          <a:xfrm>
            <a:off x="343984" y="1604434"/>
            <a:ext cx="11569746" cy="4235452"/>
          </a:xfrm>
          <a:prstGeom prst="rect">
            <a:avLst/>
          </a:prstGeom>
        </p:spPr>
        <p:txBody>
          <a:bodyPr wrap="square" lIns="68589" tIns="34295" rIns="68589" bIns="34295">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336463" y="306917"/>
            <a:ext cx="11526480" cy="492443"/>
          </a:xfrm>
          <a:prstGeom prst="rect">
            <a:avLst/>
          </a:prstGeom>
        </p:spPr>
        <p:txBody>
          <a:bodyPr lIns="68589" tIns="34295" rIns="68589" bIns="34295"/>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463" y="911157"/>
            <a:ext cx="11526480" cy="338555"/>
          </a:xfrm>
          <a:prstGeom prst="rect">
            <a:avLst/>
          </a:prstGeom>
        </p:spPr>
        <p:txBody>
          <a:bodyPr lIns="68589" tIns="34295" rIns="68589" bIns="34295"/>
          <a:lstStyle>
            <a:lvl1pPr marL="478190" indent="-457031">
              <a:buFontTx/>
              <a:buNone/>
              <a:defRPr sz="2133" baseline="0">
                <a:solidFill>
                  <a:schemeClr val="accent1"/>
                </a:solidFill>
              </a:defRPr>
            </a:lvl1pPr>
            <a:lvl2pPr marL="543783" indent="-304688">
              <a:buFontTx/>
              <a:buNone/>
              <a:defRPr/>
            </a:lvl2pPr>
            <a:lvl3pPr marL="782879" indent="-304688">
              <a:buFontTx/>
              <a:buNone/>
              <a:defRPr/>
            </a:lvl3pPr>
            <a:lvl4pPr marL="1024089" indent="-304688">
              <a:buFontTx/>
              <a:buNone/>
              <a:defRPr/>
            </a:lvl4pPr>
            <a:lvl5pPr marL="1252605" indent="-304688">
              <a:buFontTx/>
              <a:buNone/>
              <a:defRPr/>
            </a:lvl5pPr>
          </a:lstStyle>
          <a:p>
            <a:pPr lvl="0"/>
            <a:r>
              <a:rPr lang="en-US" dirty="0"/>
              <a:t>Click to edit Master text styles</a:t>
            </a:r>
          </a:p>
        </p:txBody>
      </p:sp>
    </p:spTree>
    <p:extLst>
      <p:ext uri="{BB962C8B-B14F-4D97-AF65-F5344CB8AC3E}">
        <p14:creationId xmlns:p14="http://schemas.microsoft.com/office/powerpoint/2010/main" val="57298255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29916" y="6476208"/>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296">
              <a:defRPr/>
            </a:pPr>
            <a:r>
              <a:rPr lang="en-US">
                <a:solidFill>
                  <a:srgbClr val="3DCD58"/>
                </a:solidFill>
              </a:rPr>
              <a:t>Page </a:t>
            </a:r>
            <a:fld id="{5A9C12DC-491F-9444-86A2-13AC5C62A2FC}" type="slidenum">
              <a:rPr lang="en-US" smtClean="0">
                <a:solidFill>
                  <a:srgbClr val="3DCD58"/>
                </a:solidFill>
              </a:rPr>
              <a:pPr defTabSz="609296">
                <a:defRPr/>
              </a:pPr>
              <a:t>‹#›</a:t>
            </a:fld>
            <a:endParaRPr lang="en-US" dirty="0">
              <a:solidFill>
                <a:srgbClr val="3DCD58"/>
              </a:solidFill>
            </a:endParaRPr>
          </a:p>
        </p:txBody>
      </p:sp>
      <p:sp>
        <p:nvSpPr>
          <p:cNvPr id="5" name="Footer Placeholder 4"/>
          <p:cNvSpPr>
            <a:spLocks noGrp="1"/>
          </p:cNvSpPr>
          <p:nvPr>
            <p:ph type="ftr" sz="quarter" idx="3"/>
          </p:nvPr>
        </p:nvSpPr>
        <p:spPr>
          <a:xfrm>
            <a:off x="336465" y="6476209"/>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296">
              <a:defRPr/>
            </a:pPr>
            <a:r>
              <a:rPr lang="en-US">
                <a:solidFill>
                  <a:srgbClr val="626469"/>
                </a:solidFill>
              </a:rPr>
              <a:t>Confidential Property of Schneider Electric |</a:t>
            </a:r>
            <a:endParaRPr lang="en-US" dirty="0">
              <a:solidFill>
                <a:srgbClr val="626469"/>
              </a:solidFill>
            </a:endParaRPr>
          </a:p>
        </p:txBody>
      </p:sp>
    </p:spTree>
    <p:extLst>
      <p:ext uri="{BB962C8B-B14F-4D97-AF65-F5344CB8AC3E}">
        <p14:creationId xmlns:p14="http://schemas.microsoft.com/office/powerpoint/2010/main" val="6662047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arge Object White">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74"/>
            <a:ext cx="10969943" cy="1095375"/>
          </a:xfrm>
        </p:spPr>
        <p:txBody>
          <a:bodyPr/>
          <a:lstStyle/>
          <a:p>
            <a:r>
              <a:rPr lang="en-US" dirty="0"/>
              <a:t>Click to edit Master title style</a:t>
            </a:r>
          </a:p>
        </p:txBody>
      </p:sp>
      <p:sp>
        <p:nvSpPr>
          <p:cNvPr id="3" name="Content Placeholder 2"/>
          <p:cNvSpPr>
            <a:spLocks noGrp="1"/>
          </p:cNvSpPr>
          <p:nvPr>
            <p:ph sz="half" idx="1"/>
          </p:nvPr>
        </p:nvSpPr>
        <p:spPr>
          <a:xfrm>
            <a:off x="609441" y="1509715"/>
            <a:ext cx="10969943" cy="4762500"/>
          </a:xfrm>
        </p:spPr>
        <p:txBody>
          <a:bodyPr rIns="0">
            <a:noAutofit/>
          </a:bodyPr>
          <a:lstStyle>
            <a:lvl1pPr marL="0" indent="0" algn="l">
              <a:buNone/>
              <a:defRPr sz="2300">
                <a:solidFill>
                  <a:srgbClr val="626469"/>
                </a:solidFill>
              </a:defRPr>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dirty="0"/>
              <a:t>Click to edit Master text styles</a:t>
            </a:r>
          </a:p>
        </p:txBody>
      </p:sp>
      <p:sp>
        <p:nvSpPr>
          <p:cNvPr id="5" name="TextBox 4"/>
          <p:cNvSpPr txBox="1"/>
          <p:nvPr userDrawn="1"/>
        </p:nvSpPr>
        <p:spPr>
          <a:xfrm>
            <a:off x="608018" y="6345963"/>
            <a:ext cx="2839902" cy="123111"/>
          </a:xfrm>
          <a:prstGeom prst="rect">
            <a:avLst/>
          </a:prstGeom>
          <a:noFill/>
        </p:spPr>
        <p:txBody>
          <a:bodyPr wrap="square" lIns="0" tIns="0" rIns="0" bIns="0" rtlCol="0" anchor="b" anchorCtr="0">
            <a:spAutoFit/>
          </a:bodyPr>
          <a:lstStyle/>
          <a:p>
            <a:r>
              <a:rPr lang="en-US" sz="800" dirty="0">
                <a:solidFill>
                  <a:srgbClr val="626469"/>
                </a:solidFill>
                <a:latin typeface="Arial" pitchFamily="34" charset="0"/>
                <a:cs typeface="Arial" pitchFamily="34" charset="0"/>
              </a:rPr>
              <a:t>Confidential Property of Schneider Electric</a:t>
            </a:r>
          </a:p>
        </p:txBody>
      </p:sp>
    </p:spTree>
    <p:extLst>
      <p:ext uri="{BB962C8B-B14F-4D97-AF65-F5344CB8AC3E}">
        <p14:creationId xmlns:p14="http://schemas.microsoft.com/office/powerpoint/2010/main" val="119057984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12188825" cy="5842000"/>
          </a:xfrm>
          <a:prstGeom prst="rect">
            <a:avLst/>
          </a:prstGeom>
          <a:solidFill>
            <a:srgbClr val="8E8F93">
              <a:alpha val="20000"/>
            </a:srgbClr>
          </a:solidFill>
        </p:spPr>
        <p:txBody>
          <a:bodyPr lIns="121872" tIns="60936" rIns="121872" bIns="60936"/>
          <a:lstStyle>
            <a:lvl1pPr marL="0" indent="0">
              <a:buNone/>
              <a:defRPr sz="1500">
                <a:solidFill>
                  <a:schemeClr val="accent2">
                    <a:lumMod val="60000"/>
                    <a:lumOff val="40000"/>
                  </a:schemeClr>
                </a:solidFill>
              </a:defRPr>
            </a:lvl1pPr>
          </a:lstStyle>
          <a:p>
            <a:r>
              <a:rPr lang="en-US" dirty="0"/>
              <a:t>Drag Your Image Here</a:t>
            </a:r>
          </a:p>
        </p:txBody>
      </p:sp>
      <p:sp>
        <p:nvSpPr>
          <p:cNvPr id="8" name="Title 1"/>
          <p:cNvSpPr>
            <a:spLocks noGrp="1"/>
          </p:cNvSpPr>
          <p:nvPr>
            <p:ph type="ctrTitle" hasCustomPrompt="1"/>
          </p:nvPr>
        </p:nvSpPr>
        <p:spPr>
          <a:xfrm>
            <a:off x="336467" y="2628325"/>
            <a:ext cx="11562151" cy="738664"/>
          </a:xfrm>
          <a:prstGeom prst="rect">
            <a:avLst/>
          </a:prstGeom>
        </p:spPr>
        <p:txBody>
          <a:bodyPr lIns="0" tIns="0" rIns="0" bIns="0" anchor="ctr" anchorCtr="0">
            <a:spAutoFit/>
          </a:bodyPr>
          <a:lstStyle>
            <a:lvl1pPr marL="0" indent="0" algn="l">
              <a:buFont typeface="Arial"/>
              <a:buNone/>
              <a:defRPr sz="4800">
                <a:solidFill>
                  <a:schemeClr val="tx2"/>
                </a:solidFill>
              </a:defRPr>
            </a:lvl1pPr>
          </a:lstStyle>
          <a:p>
            <a:r>
              <a:rPr lang="en-US" dirty="0"/>
              <a:t>Click To Edit Master Title Style</a:t>
            </a:r>
          </a:p>
        </p:txBody>
      </p:sp>
      <p:sp>
        <p:nvSpPr>
          <p:cNvPr id="9" name="Subtitle 2"/>
          <p:cNvSpPr>
            <a:spLocks noGrp="1"/>
          </p:cNvSpPr>
          <p:nvPr>
            <p:ph type="subTitle" idx="1" hasCustomPrompt="1"/>
          </p:nvPr>
        </p:nvSpPr>
        <p:spPr>
          <a:xfrm>
            <a:off x="336467" y="3421689"/>
            <a:ext cx="11562151" cy="415499"/>
          </a:xfrm>
          <a:prstGeom prst="rect">
            <a:avLst/>
          </a:prstGeom>
        </p:spPr>
        <p:txBody>
          <a:bodyPr lIns="0" tIns="0" rIns="0" bIns="0">
            <a:spAutoFit/>
          </a:bodyPr>
          <a:lstStyle>
            <a:lvl1pPr marL="0" indent="0" algn="l">
              <a:buNone/>
              <a:defRPr sz="2700" baseline="0">
                <a:solidFill>
                  <a:schemeClr val="tx1">
                    <a:tint val="75000"/>
                  </a:schemeClr>
                </a:solidFill>
              </a:defRPr>
            </a:lvl1pPr>
            <a:lvl2pPr marL="609356" indent="0" algn="ctr">
              <a:buNone/>
              <a:defRPr>
                <a:solidFill>
                  <a:schemeClr val="tx1">
                    <a:tint val="75000"/>
                  </a:schemeClr>
                </a:solidFill>
              </a:defRPr>
            </a:lvl2pPr>
            <a:lvl3pPr marL="1218715" indent="0" algn="ctr">
              <a:buNone/>
              <a:defRPr>
                <a:solidFill>
                  <a:schemeClr val="tx1">
                    <a:tint val="75000"/>
                  </a:schemeClr>
                </a:solidFill>
              </a:defRPr>
            </a:lvl3pPr>
            <a:lvl4pPr marL="1828071" indent="0" algn="ctr">
              <a:buNone/>
              <a:defRPr>
                <a:solidFill>
                  <a:schemeClr val="tx1">
                    <a:tint val="75000"/>
                  </a:schemeClr>
                </a:solidFill>
              </a:defRPr>
            </a:lvl4pPr>
            <a:lvl5pPr marL="2437428" indent="0" algn="ctr">
              <a:buNone/>
              <a:defRPr>
                <a:solidFill>
                  <a:schemeClr val="tx1">
                    <a:tint val="75000"/>
                  </a:schemeClr>
                </a:solidFill>
              </a:defRPr>
            </a:lvl5pPr>
            <a:lvl6pPr marL="3046781" indent="0" algn="ctr">
              <a:buNone/>
              <a:defRPr>
                <a:solidFill>
                  <a:schemeClr val="tx1">
                    <a:tint val="75000"/>
                  </a:schemeClr>
                </a:solidFill>
              </a:defRPr>
            </a:lvl6pPr>
            <a:lvl7pPr marL="3656139" indent="0" algn="ctr">
              <a:buNone/>
              <a:defRPr>
                <a:solidFill>
                  <a:schemeClr val="tx1">
                    <a:tint val="75000"/>
                  </a:schemeClr>
                </a:solidFill>
              </a:defRPr>
            </a:lvl7pPr>
            <a:lvl8pPr marL="4265493" indent="0" algn="ctr">
              <a:buNone/>
              <a:defRPr>
                <a:solidFill>
                  <a:schemeClr val="tx1">
                    <a:tint val="75000"/>
                  </a:schemeClr>
                </a:solidFill>
              </a:defRPr>
            </a:lvl8pPr>
            <a:lvl9pPr marL="4874849" indent="0" algn="ctr">
              <a:buNone/>
              <a:defRPr>
                <a:solidFill>
                  <a:schemeClr val="tx1">
                    <a:tint val="75000"/>
                  </a:schemeClr>
                </a:solidFill>
              </a:defRPr>
            </a:lvl9pPr>
          </a:lstStyle>
          <a:p>
            <a:r>
              <a:rPr lang="en-US" dirty="0"/>
              <a:t>Click to Edit Optional Subtitle</a:t>
            </a:r>
          </a:p>
        </p:txBody>
      </p:sp>
      <p:sp>
        <p:nvSpPr>
          <p:cNvPr id="11" name="Rectangle 10"/>
          <p:cNvSpPr/>
          <p:nvPr userDrawn="1"/>
        </p:nvSpPr>
        <p:spPr>
          <a:xfrm flipV="1">
            <a:off x="0" y="4948913"/>
            <a:ext cx="12188825" cy="900425"/>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1872" tIns="60936" rIns="121872" bIns="60936" rtlCol="0" anchor="ctr"/>
          <a:lstStyle/>
          <a:p>
            <a:pPr algn="ctr" defTabSz="609356"/>
            <a:endParaRPr lang="en-US" sz="2400" dirty="0">
              <a:solidFill>
                <a:prstClr val="white"/>
              </a:solidFill>
            </a:endParaRPr>
          </a:p>
        </p:txBody>
      </p:sp>
      <p:sp>
        <p:nvSpPr>
          <p:cNvPr id="12" name="Text Placeholder 13"/>
          <p:cNvSpPr>
            <a:spLocks noGrp="1"/>
          </p:cNvSpPr>
          <p:nvPr>
            <p:ph type="body" sz="quarter" idx="11" hasCustomPrompt="1"/>
          </p:nvPr>
        </p:nvSpPr>
        <p:spPr>
          <a:xfrm>
            <a:off x="336466" y="5272340"/>
            <a:ext cx="5812968" cy="246221"/>
          </a:xfrm>
          <a:prstGeom prst="rect">
            <a:avLst/>
          </a:prstGeom>
        </p:spPr>
        <p:txBody>
          <a:bodyPr lIns="0" tIns="0" rIns="0" bIns="0" anchor="ctr" anchorCtr="0">
            <a:spAutoFit/>
          </a:bodyPr>
          <a:lstStyle>
            <a:lvl1pPr marL="0" indent="0">
              <a:buNone/>
              <a:defRPr sz="1600">
                <a:solidFill>
                  <a:schemeClr val="bg1"/>
                </a:solidFill>
              </a:defRPr>
            </a:lvl1pPr>
          </a:lstStyle>
          <a:p>
            <a:pPr lvl="0"/>
            <a:r>
              <a:rPr lang="en-US" dirty="0"/>
              <a:t>Presented by:</a:t>
            </a:r>
          </a:p>
        </p:txBody>
      </p:sp>
      <p:sp>
        <p:nvSpPr>
          <p:cNvPr id="13" name="Rectangle 12"/>
          <p:cNvSpPr/>
          <p:nvPr userDrawn="1"/>
        </p:nvSpPr>
        <p:spPr>
          <a:xfrm>
            <a:off x="0" y="5849328"/>
            <a:ext cx="12188825" cy="144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72" tIns="60936" rIns="121872" bIns="60936" rtlCol="0" anchor="ctr"/>
          <a:lstStyle/>
          <a:p>
            <a:pPr algn="ctr" defTabSz="609356"/>
            <a:endParaRPr lang="en-US" sz="2400" dirty="0">
              <a:solidFill>
                <a:prstClr val="white"/>
              </a:solidFill>
            </a:endParaRPr>
          </a:p>
        </p:txBody>
      </p:sp>
      <p:sp>
        <p:nvSpPr>
          <p:cNvPr id="18" name="Footer Placeholder 4"/>
          <p:cNvSpPr>
            <a:spLocks noGrp="1"/>
          </p:cNvSpPr>
          <p:nvPr>
            <p:ph type="ftr" sz="quarter" idx="3"/>
          </p:nvPr>
        </p:nvSpPr>
        <p:spPr>
          <a:xfrm>
            <a:off x="336470" y="6476215"/>
            <a:ext cx="2006852" cy="123111"/>
          </a:xfrm>
          <a:prstGeom prst="rect">
            <a:avLst/>
          </a:prstGeom>
        </p:spPr>
        <p:txBody>
          <a:bodyPr vert="horz" wrap="square" lIns="0" tIns="0" rIns="0" bIns="0" rtlCol="0" anchor="ctr">
            <a:spAutoFit/>
          </a:bodyPr>
          <a:lstStyle>
            <a:lvl1pPr algn="l">
              <a:defRPr sz="800">
                <a:solidFill>
                  <a:srgbClr val="4F5156"/>
                </a:solidFill>
                <a:latin typeface="Arial"/>
                <a:cs typeface="Arial"/>
              </a:defRPr>
            </a:lvl1pPr>
          </a:lstStyle>
          <a:p>
            <a:pPr defTabSz="609356"/>
            <a:r>
              <a:rPr lang="en-US"/>
              <a:t>Confidential Property of Schneider Electric |</a:t>
            </a:r>
            <a:endParaRPr lang="en-US" dirty="0"/>
          </a:p>
        </p:txBody>
      </p:sp>
      <p:pic>
        <p:nvPicPr>
          <p:cNvPr id="15" name="Picture 14"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5" y="6012788"/>
            <a:ext cx="2562395" cy="706672"/>
          </a:xfrm>
          <a:prstGeom prst="rect">
            <a:avLst/>
          </a:prstGeom>
        </p:spPr>
      </p:pic>
    </p:spTree>
    <p:extLst>
      <p:ext uri="{BB962C8B-B14F-4D97-AF65-F5344CB8AC3E}">
        <p14:creationId xmlns:p14="http://schemas.microsoft.com/office/powerpoint/2010/main" val="340194942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12188825" cy="3878280"/>
          </a:xfrm>
          <a:prstGeom prst="rect">
            <a:avLst/>
          </a:prstGeom>
          <a:solidFill>
            <a:schemeClr val="tx2">
              <a:alpha val="80000"/>
            </a:schemeClr>
          </a:solidFill>
        </p:spPr>
        <p:txBody>
          <a:bodyPr lIns="335867" tIns="0" rIns="0" bIns="335867" anchor="b" anchorCtr="0"/>
          <a:lstStyle>
            <a:lvl1pPr algn="l">
              <a:defRPr sz="3200" baseline="0">
                <a:solidFill>
                  <a:srgbClr val="FFFFFF"/>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0" y="3867192"/>
            <a:ext cx="12188825" cy="497417"/>
          </a:xfrm>
          <a:prstGeom prst="rect">
            <a:avLst/>
          </a:prstGeom>
          <a:solidFill>
            <a:schemeClr val="tx2"/>
          </a:solidFill>
        </p:spPr>
        <p:txBody>
          <a:bodyPr lIns="335867" tIns="0" rIns="0" bIns="0" anchor="ctr" anchorCtr="0"/>
          <a:lstStyle>
            <a:lvl1pPr marL="0" indent="0">
              <a:buNone/>
              <a:defRPr sz="1600" baseline="0">
                <a:solidFill>
                  <a:schemeClr val="bg1"/>
                </a:solidFill>
              </a:defRPr>
            </a:lvl1pPr>
          </a:lstStyle>
          <a:p>
            <a:pPr lvl="0"/>
            <a:r>
              <a:rPr lang="en-US" dirty="0"/>
              <a:t>Click To Edit Optional Subtitle</a:t>
            </a:r>
          </a:p>
        </p:txBody>
      </p:sp>
      <p:pic>
        <p:nvPicPr>
          <p:cNvPr id="11" name="Picture 10"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5" y="6012788"/>
            <a:ext cx="2562395" cy="706672"/>
          </a:xfrm>
          <a:prstGeom prst="rect">
            <a:avLst/>
          </a:prstGeom>
        </p:spPr>
      </p:pic>
      <p:sp>
        <p:nvSpPr>
          <p:cNvPr id="9" name="Slide Number Placeholder 5"/>
          <p:cNvSpPr>
            <a:spLocks noGrp="1"/>
          </p:cNvSpPr>
          <p:nvPr>
            <p:ph type="sldNum" sz="quarter" idx="4"/>
          </p:nvPr>
        </p:nvSpPr>
        <p:spPr>
          <a:xfrm>
            <a:off x="2329916" y="6476217"/>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356"/>
            <a:r>
              <a:rPr lang="en-US" dirty="0">
                <a:solidFill>
                  <a:srgbClr val="3DCD58"/>
                </a:solidFill>
              </a:rPr>
              <a:t>Page </a:t>
            </a:r>
            <a:fld id="{5A9C12DC-491F-9444-86A2-13AC5C62A2FC}" type="slidenum">
              <a:rPr lang="en-US" smtClean="0">
                <a:solidFill>
                  <a:srgbClr val="3DCD58"/>
                </a:solidFill>
              </a:rPr>
              <a:pPr defTabSz="609356"/>
              <a:t>‹#›</a:t>
            </a:fld>
            <a:endParaRPr lang="en-US" dirty="0">
              <a:solidFill>
                <a:srgbClr val="3DCD58"/>
              </a:solidFill>
            </a:endParaRPr>
          </a:p>
        </p:txBody>
      </p:sp>
      <p:sp>
        <p:nvSpPr>
          <p:cNvPr id="10" name="Footer Placeholder 4"/>
          <p:cNvSpPr>
            <a:spLocks noGrp="1"/>
          </p:cNvSpPr>
          <p:nvPr>
            <p:ph type="ftr" sz="quarter" idx="3"/>
          </p:nvPr>
        </p:nvSpPr>
        <p:spPr>
          <a:xfrm>
            <a:off x="336469" y="6476215"/>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356"/>
            <a:r>
              <a:rPr lang="en-US" dirty="0">
                <a:solidFill>
                  <a:srgbClr val="626469"/>
                </a:solidFill>
              </a:rPr>
              <a:t>Confidential Property of Schneider Electric |</a:t>
            </a:r>
          </a:p>
        </p:txBody>
      </p:sp>
    </p:spTree>
    <p:extLst>
      <p:ext uri="{BB962C8B-B14F-4D97-AF65-F5344CB8AC3E}">
        <p14:creationId xmlns:p14="http://schemas.microsoft.com/office/powerpoint/2010/main" val="21506743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12188825" cy="6858000"/>
          </a:xfrm>
          <a:prstGeom prst="rect">
            <a:avLst/>
          </a:prstGeom>
          <a:solidFill>
            <a:srgbClr val="8E8F93">
              <a:alpha val="20000"/>
            </a:srgbClr>
          </a:solidFill>
        </p:spPr>
        <p:txBody>
          <a:bodyPr lIns="121872" tIns="60936" rIns="121872" bIns="60936"/>
          <a:lstStyle>
            <a:lvl1pPr marL="0" indent="0">
              <a:buNone/>
              <a:defRPr sz="1500">
                <a:solidFill>
                  <a:schemeClr val="accent2">
                    <a:lumMod val="60000"/>
                    <a:lumOff val="40000"/>
                  </a:schemeClr>
                </a:solidFill>
              </a:defRPr>
            </a:lvl1pPr>
          </a:lstStyle>
          <a:p>
            <a:r>
              <a:rPr lang="en-US" dirty="0"/>
              <a:t>Drag Your Image Here</a:t>
            </a:r>
          </a:p>
        </p:txBody>
      </p:sp>
      <p:sp>
        <p:nvSpPr>
          <p:cNvPr id="5" name="Title 1"/>
          <p:cNvSpPr>
            <a:spLocks noGrp="1"/>
          </p:cNvSpPr>
          <p:nvPr>
            <p:ph type="title" hasCustomPrompt="1"/>
          </p:nvPr>
        </p:nvSpPr>
        <p:spPr>
          <a:xfrm>
            <a:off x="0" y="2721428"/>
            <a:ext cx="12188825" cy="1156853"/>
          </a:xfrm>
          <a:prstGeom prst="rect">
            <a:avLst/>
          </a:prstGeom>
          <a:solidFill>
            <a:schemeClr val="tx2">
              <a:alpha val="80000"/>
            </a:schemeClr>
          </a:solidFill>
        </p:spPr>
        <p:txBody>
          <a:bodyPr lIns="335867" tIns="0" rIns="0" bIns="0" anchor="ctr" anchorCtr="0"/>
          <a:lstStyle>
            <a:lvl1pPr algn="l">
              <a:defRPr sz="3200" baseline="0">
                <a:solidFill>
                  <a:srgbClr val="FFFFFF"/>
                </a:solidFill>
              </a:defRPr>
            </a:lvl1pPr>
          </a:lstStyle>
          <a:p>
            <a:r>
              <a:rPr lang="en-US" dirty="0"/>
              <a:t>Click To Edit Section Title</a:t>
            </a:r>
          </a:p>
        </p:txBody>
      </p:sp>
      <p:sp>
        <p:nvSpPr>
          <p:cNvPr id="6" name="Text Placeholder 9"/>
          <p:cNvSpPr>
            <a:spLocks noGrp="1"/>
          </p:cNvSpPr>
          <p:nvPr>
            <p:ph type="body" sz="quarter" idx="11" hasCustomPrompt="1"/>
          </p:nvPr>
        </p:nvSpPr>
        <p:spPr>
          <a:xfrm>
            <a:off x="0" y="3867192"/>
            <a:ext cx="12188825" cy="497417"/>
          </a:xfrm>
          <a:prstGeom prst="rect">
            <a:avLst/>
          </a:prstGeom>
          <a:solidFill>
            <a:schemeClr val="tx2"/>
          </a:solidFill>
        </p:spPr>
        <p:txBody>
          <a:bodyPr lIns="335867" tIns="0" rIns="0" bIns="0" anchor="ctr" anchorCtr="0"/>
          <a:lstStyle>
            <a:lvl1pPr marL="0" indent="0">
              <a:buNone/>
              <a:defRPr sz="1600" baseline="0">
                <a:solidFill>
                  <a:schemeClr val="bg1"/>
                </a:solidFill>
              </a:defRPr>
            </a:lvl1pPr>
          </a:lstStyle>
          <a:p>
            <a:pPr lvl="0"/>
            <a:r>
              <a:rPr lang="en-US" dirty="0"/>
              <a:t>Click To Edit Optional Subtitle</a:t>
            </a:r>
          </a:p>
        </p:txBody>
      </p:sp>
      <p:pic>
        <p:nvPicPr>
          <p:cNvPr id="13" name="Picture 12"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5" y="6012788"/>
            <a:ext cx="2562395" cy="706672"/>
          </a:xfrm>
          <a:prstGeom prst="rect">
            <a:avLst/>
          </a:prstGeom>
        </p:spPr>
      </p:pic>
      <p:sp>
        <p:nvSpPr>
          <p:cNvPr id="10" name="Slide Number Placeholder 5"/>
          <p:cNvSpPr>
            <a:spLocks noGrp="1"/>
          </p:cNvSpPr>
          <p:nvPr>
            <p:ph type="sldNum" sz="quarter" idx="4"/>
          </p:nvPr>
        </p:nvSpPr>
        <p:spPr>
          <a:xfrm>
            <a:off x="2329916" y="647621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56"/>
            <a:r>
              <a:rPr lang="en-US" dirty="0"/>
              <a:t>Page </a:t>
            </a:r>
            <a:fld id="{5A9C12DC-491F-9444-86A2-13AC5C62A2FC}" type="slidenum">
              <a:rPr lang="en-US" smtClean="0"/>
              <a:pPr defTabSz="609356"/>
              <a:t>‹#›</a:t>
            </a:fld>
            <a:endParaRPr lang="en-US" dirty="0"/>
          </a:p>
        </p:txBody>
      </p:sp>
      <p:sp>
        <p:nvSpPr>
          <p:cNvPr id="12" name="Footer Placeholder 4"/>
          <p:cNvSpPr>
            <a:spLocks noGrp="1"/>
          </p:cNvSpPr>
          <p:nvPr>
            <p:ph type="ftr" sz="quarter" idx="3"/>
          </p:nvPr>
        </p:nvSpPr>
        <p:spPr>
          <a:xfrm>
            <a:off x="336469" y="6476215"/>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56"/>
            <a:r>
              <a:rPr lang="en-US" dirty="0"/>
              <a:t>Confidential Property of Schneider Electric |</a:t>
            </a:r>
          </a:p>
        </p:txBody>
      </p:sp>
    </p:spTree>
    <p:extLst>
      <p:ext uri="{BB962C8B-B14F-4D97-AF65-F5344CB8AC3E}">
        <p14:creationId xmlns:p14="http://schemas.microsoft.com/office/powerpoint/2010/main" val="69506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w/ Image 2">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12188825" cy="2641744"/>
          </a:xfrm>
          <a:prstGeom prst="rect">
            <a:avLst/>
          </a:prstGeom>
          <a:solidFill>
            <a:srgbClr val="8E8F93">
              <a:alpha val="20000"/>
            </a:srgbClr>
          </a:solidFill>
        </p:spPr>
        <p:txBody>
          <a:bodyPr lIns="121872" tIns="60936" rIns="121872" bIns="60936"/>
          <a:lstStyle>
            <a:lvl1pPr marL="0" indent="0">
              <a:buNone/>
              <a:defRPr sz="1500">
                <a:solidFill>
                  <a:schemeClr val="accent2">
                    <a:lumMod val="60000"/>
                    <a:lumOff val="40000"/>
                  </a:schemeClr>
                </a:solidFill>
              </a:defRPr>
            </a:lvl1pPr>
          </a:lstStyle>
          <a:p>
            <a:r>
              <a:rPr lang="en-US" dirty="0"/>
              <a:t>Drag Your Image Here</a:t>
            </a:r>
          </a:p>
        </p:txBody>
      </p:sp>
      <p:sp>
        <p:nvSpPr>
          <p:cNvPr id="3" name="Title 1"/>
          <p:cNvSpPr>
            <a:spLocks noGrp="1"/>
          </p:cNvSpPr>
          <p:nvPr>
            <p:ph type="title" hasCustomPrompt="1"/>
          </p:nvPr>
        </p:nvSpPr>
        <p:spPr>
          <a:xfrm>
            <a:off x="0" y="2641754"/>
            <a:ext cx="12188825" cy="4216255"/>
          </a:xfrm>
          <a:prstGeom prst="rect">
            <a:avLst/>
          </a:prstGeom>
          <a:solidFill>
            <a:schemeClr val="tx2"/>
          </a:solidFill>
        </p:spPr>
        <p:txBody>
          <a:bodyPr lIns="335867" tIns="335867" rIns="335867" bIns="335867" anchor="t" anchorCtr="0"/>
          <a:lstStyle>
            <a:lvl1pPr algn="l">
              <a:defRPr sz="3200" baseline="0">
                <a:solidFill>
                  <a:srgbClr val="FFFFFF"/>
                </a:solidFill>
              </a:defRPr>
            </a:lvl1pPr>
          </a:lstStyle>
          <a:p>
            <a:r>
              <a:rPr lang="en-US" dirty="0"/>
              <a:t>Click To Edit Section Title</a:t>
            </a:r>
          </a:p>
        </p:txBody>
      </p:sp>
      <p:sp>
        <p:nvSpPr>
          <p:cNvPr id="4" name="Text Placeholder 9"/>
          <p:cNvSpPr>
            <a:spLocks noGrp="1"/>
          </p:cNvSpPr>
          <p:nvPr>
            <p:ph type="body" sz="quarter" idx="11" hasCustomPrompt="1"/>
          </p:nvPr>
        </p:nvSpPr>
        <p:spPr>
          <a:xfrm>
            <a:off x="0" y="2144337"/>
            <a:ext cx="12188825" cy="497417"/>
          </a:xfrm>
          <a:prstGeom prst="rect">
            <a:avLst/>
          </a:prstGeom>
          <a:solidFill>
            <a:schemeClr val="tx2">
              <a:alpha val="80000"/>
            </a:schemeClr>
          </a:solidFill>
        </p:spPr>
        <p:txBody>
          <a:bodyPr lIns="335867" tIns="0" rIns="335867" bIns="0" anchor="ctr" anchorCtr="0"/>
          <a:lstStyle>
            <a:lvl1pPr marL="0" indent="0">
              <a:buNone/>
              <a:defRPr sz="1600" baseline="0">
                <a:solidFill>
                  <a:schemeClr val="bg1"/>
                </a:solidFill>
              </a:defRPr>
            </a:lvl1pPr>
          </a:lstStyle>
          <a:p>
            <a:pPr lvl="0"/>
            <a:r>
              <a:rPr lang="en-US" dirty="0"/>
              <a:t>Click To Edit Optional 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97925" y="6135831"/>
            <a:ext cx="2400696" cy="595528"/>
          </a:xfrm>
          <a:prstGeom prst="rect">
            <a:avLst/>
          </a:prstGeom>
        </p:spPr>
      </p:pic>
      <p:sp>
        <p:nvSpPr>
          <p:cNvPr id="12" name="Slide Number Placeholder 5"/>
          <p:cNvSpPr>
            <a:spLocks noGrp="1"/>
          </p:cNvSpPr>
          <p:nvPr>
            <p:ph type="sldNum" sz="quarter" idx="4"/>
          </p:nvPr>
        </p:nvSpPr>
        <p:spPr>
          <a:xfrm>
            <a:off x="2329916" y="647621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56"/>
            <a:r>
              <a:rPr lang="en-US" dirty="0"/>
              <a:t>Page </a:t>
            </a:r>
            <a:fld id="{5A9C12DC-491F-9444-86A2-13AC5C62A2FC}" type="slidenum">
              <a:rPr lang="en-US" smtClean="0"/>
              <a:pPr defTabSz="609356"/>
              <a:t>‹#›</a:t>
            </a:fld>
            <a:endParaRPr lang="en-US" dirty="0"/>
          </a:p>
        </p:txBody>
      </p:sp>
      <p:sp>
        <p:nvSpPr>
          <p:cNvPr id="13" name="Footer Placeholder 4"/>
          <p:cNvSpPr>
            <a:spLocks noGrp="1"/>
          </p:cNvSpPr>
          <p:nvPr>
            <p:ph type="ftr" sz="quarter" idx="3"/>
          </p:nvPr>
        </p:nvSpPr>
        <p:spPr>
          <a:xfrm>
            <a:off x="336469" y="6476215"/>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56"/>
            <a:r>
              <a:rPr lang="en-US" dirty="0"/>
              <a:t>Confidential Property of Schneider Electric |</a:t>
            </a:r>
          </a:p>
        </p:txBody>
      </p:sp>
    </p:spTree>
    <p:extLst>
      <p:ext uri="{BB962C8B-B14F-4D97-AF65-F5344CB8AC3E}">
        <p14:creationId xmlns:p14="http://schemas.microsoft.com/office/powerpoint/2010/main" val="294583713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w/ Image 3">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6149436" y="7"/>
            <a:ext cx="6039396" cy="6857999"/>
          </a:xfrm>
          <a:prstGeom prst="rect">
            <a:avLst/>
          </a:prstGeom>
          <a:solidFill>
            <a:schemeClr val="accent2">
              <a:alpha val="20000"/>
            </a:schemeClr>
          </a:solidFill>
        </p:spPr>
        <p:txBody>
          <a:bodyPr vert="horz" lIns="335867" tIns="335867" rIns="335867" bIns="335867"/>
          <a:lstStyle>
            <a:lvl1pPr marL="0" indent="0">
              <a:buNone/>
              <a:defRPr sz="1500">
                <a:solidFill>
                  <a:schemeClr val="accent2">
                    <a:lumMod val="60000"/>
                    <a:lumOff val="40000"/>
                  </a:schemeClr>
                </a:solidFill>
              </a:defRPr>
            </a:lvl1pPr>
            <a:lvl2pPr marL="590317" indent="-353345">
              <a:buFont typeface="Arial"/>
              <a:buChar char="•"/>
              <a:defRPr sz="2400">
                <a:solidFill>
                  <a:schemeClr val="accent1"/>
                </a:solidFill>
              </a:defRPr>
            </a:lvl2pPr>
            <a:lvl3pPr marL="943653" indent="-304679">
              <a:buFont typeface="Lucida Grande"/>
              <a:buChar char="–"/>
              <a:defRPr sz="2100">
                <a:solidFill>
                  <a:schemeClr val="accent1"/>
                </a:solidFill>
              </a:defRPr>
            </a:lvl3pPr>
            <a:lvl4pPr marL="1301232" indent="-304679">
              <a:buFont typeface="Lucida Grande"/>
              <a:buChar char="–"/>
              <a:defRPr sz="1900">
                <a:solidFill>
                  <a:schemeClr val="accent1"/>
                </a:solidFill>
              </a:defRPr>
            </a:lvl4pPr>
            <a:lvl5pPr marL="1677846" indent="-308913" defTabSz="418935">
              <a:buFont typeface="Lucida Grande"/>
              <a:buChar char="–"/>
              <a:defRPr sz="1900">
                <a:solidFill>
                  <a:schemeClr val="accent1"/>
                </a:solidFill>
              </a:defRPr>
            </a:lvl5pPr>
          </a:lstStyle>
          <a:p>
            <a:pPr lvl="0"/>
            <a:r>
              <a:rPr lang="en-US" dirty="0"/>
              <a:t>Insert Your Content Here</a:t>
            </a:r>
          </a:p>
        </p:txBody>
      </p:sp>
      <p:sp>
        <p:nvSpPr>
          <p:cNvPr id="15" name="Rectangle 14"/>
          <p:cNvSpPr/>
          <p:nvPr userDrawn="1"/>
        </p:nvSpPr>
        <p:spPr>
          <a:xfrm rot="5400000">
            <a:off x="-383395" y="325176"/>
            <a:ext cx="6858000" cy="620765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72" tIns="60936" rIns="121872" bIns="60936" rtlCol="0" anchor="ctr"/>
          <a:lstStyle/>
          <a:p>
            <a:pPr algn="ctr" defTabSz="609356"/>
            <a:endParaRPr lang="en-US" sz="2400" dirty="0">
              <a:solidFill>
                <a:prstClr val="white"/>
              </a:solidFill>
            </a:endParaRPr>
          </a:p>
        </p:txBody>
      </p:sp>
      <p:sp>
        <p:nvSpPr>
          <p:cNvPr id="16" name="Content Placeholder 12"/>
          <p:cNvSpPr>
            <a:spLocks noGrp="1"/>
          </p:cNvSpPr>
          <p:nvPr>
            <p:ph sz="quarter" idx="11"/>
          </p:nvPr>
        </p:nvSpPr>
        <p:spPr>
          <a:xfrm>
            <a:off x="-58221" y="-3"/>
            <a:ext cx="6704939" cy="6858003"/>
          </a:xfrm>
          <a:prstGeom prst="rect">
            <a:avLst/>
          </a:prstGeom>
          <a:solidFill>
            <a:schemeClr val="tx2">
              <a:alpha val="80000"/>
            </a:schemeClr>
          </a:solidFill>
        </p:spPr>
        <p:txBody>
          <a:bodyPr vert="horz" lIns="335867" tIns="335867" rIns="335867" bIns="335867"/>
          <a:lstStyle>
            <a:lvl1pPr marL="0" indent="0">
              <a:buNone/>
              <a:defRPr sz="3200">
                <a:solidFill>
                  <a:schemeClr val="bg1"/>
                </a:solidFill>
              </a:defRPr>
            </a:lvl1pPr>
            <a:lvl2pPr marL="590317" indent="-353345">
              <a:buFont typeface="Arial"/>
              <a:buChar char="•"/>
              <a:defRPr sz="2700">
                <a:solidFill>
                  <a:schemeClr val="bg1"/>
                </a:solidFill>
              </a:defRPr>
            </a:lvl2pPr>
            <a:lvl3pPr marL="943653" indent="-304679">
              <a:buFont typeface="Lucida Grande"/>
              <a:buChar char="–"/>
              <a:defRPr sz="2400">
                <a:solidFill>
                  <a:schemeClr val="bg1"/>
                </a:solidFill>
              </a:defRPr>
            </a:lvl3pPr>
            <a:lvl4pPr marL="1301232" indent="-304679">
              <a:buFont typeface="Lucida Grande"/>
              <a:buChar char="–"/>
              <a:defRPr sz="2100">
                <a:solidFill>
                  <a:schemeClr val="bg1"/>
                </a:solidFill>
              </a:defRPr>
            </a:lvl4pPr>
            <a:lvl5pPr marL="1677846" indent="-308913" defTabSz="418935">
              <a:buFont typeface="Lucida Grande"/>
              <a:buChar char="–"/>
              <a:defRPr sz="21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2329916" y="647621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56"/>
            <a:r>
              <a:rPr lang="en-US" dirty="0"/>
              <a:t>Page </a:t>
            </a:r>
            <a:fld id="{5A9C12DC-491F-9444-86A2-13AC5C62A2FC}" type="slidenum">
              <a:rPr lang="en-US" smtClean="0"/>
              <a:pPr defTabSz="609356"/>
              <a:t>‹#›</a:t>
            </a:fld>
            <a:endParaRPr lang="en-US" dirty="0"/>
          </a:p>
        </p:txBody>
      </p:sp>
      <p:sp>
        <p:nvSpPr>
          <p:cNvPr id="8" name="Footer Placeholder 4"/>
          <p:cNvSpPr>
            <a:spLocks noGrp="1"/>
          </p:cNvSpPr>
          <p:nvPr>
            <p:ph type="ftr" sz="quarter" idx="3"/>
          </p:nvPr>
        </p:nvSpPr>
        <p:spPr>
          <a:xfrm>
            <a:off x="336469" y="6476215"/>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56"/>
            <a:r>
              <a:rPr lang="en-US" dirty="0"/>
              <a:t>Confidential Property of Schneider Electric |</a:t>
            </a:r>
          </a:p>
        </p:txBody>
      </p:sp>
      <p:pic>
        <p:nvPicPr>
          <p:cNvPr id="10" name="Picture 9"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5" y="6012788"/>
            <a:ext cx="2562395" cy="706672"/>
          </a:xfrm>
          <a:prstGeom prst="rect">
            <a:avLst/>
          </a:prstGeom>
        </p:spPr>
      </p:pic>
    </p:spTree>
    <p:extLst>
      <p:ext uri="{BB962C8B-B14F-4D97-AF65-F5344CB8AC3E}">
        <p14:creationId xmlns:p14="http://schemas.microsoft.com/office/powerpoint/2010/main" val="19894344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w/ Image 4">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6149436" y="10"/>
            <a:ext cx="6039396" cy="6857999"/>
          </a:xfrm>
          <a:prstGeom prst="rect">
            <a:avLst/>
          </a:prstGeom>
          <a:solidFill>
            <a:schemeClr val="accent2">
              <a:alpha val="20000"/>
            </a:schemeClr>
          </a:solidFill>
        </p:spPr>
        <p:txBody>
          <a:bodyPr vert="horz" lIns="335867" tIns="335867" rIns="335867" bIns="335867"/>
          <a:lstStyle>
            <a:lvl1pPr marL="0" indent="0">
              <a:buNone/>
              <a:defRPr sz="1500">
                <a:solidFill>
                  <a:schemeClr val="accent2">
                    <a:lumMod val="60000"/>
                    <a:lumOff val="40000"/>
                  </a:schemeClr>
                </a:solidFill>
              </a:defRPr>
            </a:lvl1pPr>
            <a:lvl2pPr marL="590317" indent="-353345">
              <a:buFont typeface="Arial"/>
              <a:buChar char="•"/>
              <a:defRPr sz="2400">
                <a:solidFill>
                  <a:schemeClr val="accent1"/>
                </a:solidFill>
              </a:defRPr>
            </a:lvl2pPr>
            <a:lvl3pPr marL="943653" indent="-304679">
              <a:buFont typeface="Lucida Grande"/>
              <a:buChar char="–"/>
              <a:defRPr sz="2100">
                <a:solidFill>
                  <a:schemeClr val="accent1"/>
                </a:solidFill>
              </a:defRPr>
            </a:lvl3pPr>
            <a:lvl4pPr marL="1301232" indent="-304679">
              <a:buFont typeface="Lucida Grande"/>
              <a:buChar char="–"/>
              <a:defRPr sz="1900">
                <a:solidFill>
                  <a:schemeClr val="accent1"/>
                </a:solidFill>
              </a:defRPr>
            </a:lvl4pPr>
            <a:lvl5pPr marL="1677846" indent="-308913" defTabSz="418935">
              <a:buFont typeface="Lucida Grande"/>
              <a:buChar char="–"/>
              <a:defRPr sz="1900">
                <a:solidFill>
                  <a:schemeClr val="accent1"/>
                </a:solidFill>
              </a:defRPr>
            </a:lvl5pPr>
          </a:lstStyle>
          <a:p>
            <a:pPr lvl="0"/>
            <a:r>
              <a:rPr lang="en-US" dirty="0"/>
              <a:t>Insert Your Content Here</a:t>
            </a:r>
          </a:p>
        </p:txBody>
      </p:sp>
      <p:sp>
        <p:nvSpPr>
          <p:cNvPr id="3" name="Content Placeholder 12"/>
          <p:cNvSpPr>
            <a:spLocks noGrp="1"/>
          </p:cNvSpPr>
          <p:nvPr>
            <p:ph sz="quarter" idx="11"/>
          </p:nvPr>
        </p:nvSpPr>
        <p:spPr>
          <a:xfrm>
            <a:off x="336464" y="1310603"/>
            <a:ext cx="4998647" cy="1936940"/>
          </a:xfrm>
          <a:prstGeom prst="rect">
            <a:avLst/>
          </a:prstGeom>
          <a:noFill/>
        </p:spPr>
        <p:txBody>
          <a:bodyPr vert="horz" wrap="square" lIns="0" tIns="0" rIns="0" bIns="0">
            <a:spAutoFit/>
          </a:bodyPr>
          <a:lstStyle>
            <a:lvl1pPr marL="315257" indent="-315257">
              <a:buClr>
                <a:schemeClr val="tx2"/>
              </a:buClr>
              <a:buFont typeface="Arial" panose="020B0604020202020204" pitchFamily="34" charset="0"/>
              <a:buChar char="•"/>
              <a:defRPr sz="2700">
                <a:solidFill>
                  <a:schemeClr val="accent1"/>
                </a:solidFill>
              </a:defRPr>
            </a:lvl1pPr>
            <a:lvl2pPr marL="609356" indent="-294099">
              <a:buClr>
                <a:schemeClr val="tx2"/>
              </a:buClr>
              <a:buFont typeface="Arial" panose="020B0604020202020204" pitchFamily="34" charset="0"/>
              <a:buChar char="•"/>
              <a:defRPr sz="2400">
                <a:solidFill>
                  <a:schemeClr val="accent1"/>
                </a:solidFill>
              </a:defRPr>
            </a:lvl2pPr>
            <a:lvl3pPr marL="839984" indent="-230628">
              <a:buClr>
                <a:schemeClr val="tx2"/>
              </a:buClr>
              <a:buFont typeface="Arial" panose="020B0604020202020204" pitchFamily="34" charset="0"/>
              <a:buChar char="•"/>
              <a:defRPr sz="2100">
                <a:solidFill>
                  <a:schemeClr val="accent1"/>
                </a:solidFill>
              </a:defRPr>
            </a:lvl3pPr>
            <a:lvl4pPr marL="1070606" indent="-230628">
              <a:buClr>
                <a:schemeClr val="tx2"/>
              </a:buClr>
              <a:buFont typeface="Arial" panose="020B0604020202020204" pitchFamily="34" charset="0"/>
              <a:buChar char="•"/>
              <a:defRPr sz="1900">
                <a:solidFill>
                  <a:schemeClr val="accent1"/>
                </a:solidFill>
              </a:defRPr>
            </a:lvl4pPr>
            <a:lvl5pPr marL="1303349" indent="-232743" defTabSz="418935">
              <a:buClr>
                <a:schemeClr val="tx2"/>
              </a:buClr>
              <a:buFont typeface="Arial" panose="020B0604020202020204" pitchFamily="34" charset="0"/>
              <a:buChar char="•"/>
              <a:defRPr sz="19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p:cNvSpPr>
            <a:spLocks noGrp="1"/>
          </p:cNvSpPr>
          <p:nvPr>
            <p:ph type="title" hasCustomPrompt="1"/>
          </p:nvPr>
        </p:nvSpPr>
        <p:spPr>
          <a:xfrm>
            <a:off x="336464" y="464445"/>
            <a:ext cx="4998647" cy="492443"/>
          </a:xfrm>
          <a:prstGeom prst="rect">
            <a:avLst/>
          </a:prstGeom>
        </p:spPr>
        <p:txBody>
          <a:bodyPr wrap="square" lIns="0" tIns="0" rIns="0" bIns="0" anchor="ctr" anchorCtr="0">
            <a:spAutoFit/>
          </a:bodyPr>
          <a:lstStyle>
            <a:lvl1pPr algn="l">
              <a:defRPr sz="3200" baseline="0">
                <a:solidFill>
                  <a:schemeClr val="tx2"/>
                </a:solidFill>
              </a:defRPr>
            </a:lvl1pPr>
          </a:lstStyle>
          <a:p>
            <a:r>
              <a:rPr lang="en-US" dirty="0"/>
              <a:t>Click To Edit Section Title</a:t>
            </a:r>
          </a:p>
        </p:txBody>
      </p:sp>
      <p:sp>
        <p:nvSpPr>
          <p:cNvPr id="23" name="Rectangle 22"/>
          <p:cNvSpPr/>
          <p:nvPr userDrawn="1"/>
        </p:nvSpPr>
        <p:spPr>
          <a:xfrm rot="5400000">
            <a:off x="2471787" y="3180361"/>
            <a:ext cx="6857997" cy="4972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72" tIns="60936" rIns="121872" bIns="60936" rtlCol="0" anchor="ctr"/>
          <a:lstStyle/>
          <a:p>
            <a:pPr algn="ctr" defTabSz="609356"/>
            <a:endParaRPr lang="en-US" sz="2400" dirty="0">
              <a:solidFill>
                <a:prstClr val="white"/>
              </a:solidFill>
            </a:endParaRPr>
          </a:p>
        </p:txBody>
      </p:sp>
      <p:pic>
        <p:nvPicPr>
          <p:cNvPr id="11" name="Picture 10"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5" y="6012788"/>
            <a:ext cx="2562395" cy="706672"/>
          </a:xfrm>
          <a:prstGeom prst="rect">
            <a:avLst/>
          </a:prstGeom>
        </p:spPr>
      </p:pic>
      <p:sp>
        <p:nvSpPr>
          <p:cNvPr id="4" name="Text Placeholder 3"/>
          <p:cNvSpPr>
            <a:spLocks noGrp="1"/>
          </p:cNvSpPr>
          <p:nvPr>
            <p:ph type="body" sz="quarter" idx="14" hasCustomPrompt="1"/>
          </p:nvPr>
        </p:nvSpPr>
        <p:spPr>
          <a:xfrm>
            <a:off x="5652143" y="0"/>
            <a:ext cx="994577" cy="6858000"/>
          </a:xfrm>
          <a:prstGeom prst="rect">
            <a:avLst/>
          </a:prstGeom>
          <a:solidFill>
            <a:schemeClr val="tx2">
              <a:alpha val="80000"/>
            </a:schemeClr>
          </a:solidFill>
          <a:ln>
            <a:noFill/>
          </a:ln>
        </p:spPr>
        <p:txBody>
          <a:bodyPr lIns="121872" tIns="60936" rIns="121872" bIns="60936"/>
          <a:lstStyle>
            <a:lvl1pPr marL="0" indent="0">
              <a:buNone/>
              <a:defRPr/>
            </a:lvl1pPr>
          </a:lstStyle>
          <a:p>
            <a:pPr lvl="0"/>
            <a:r>
              <a:rPr lang="en-US" dirty="0"/>
              <a:t> </a:t>
            </a:r>
          </a:p>
        </p:txBody>
      </p:sp>
      <p:sp>
        <p:nvSpPr>
          <p:cNvPr id="15" name="Slide Number Placeholder 5"/>
          <p:cNvSpPr>
            <a:spLocks noGrp="1"/>
          </p:cNvSpPr>
          <p:nvPr>
            <p:ph type="sldNum" sz="quarter" idx="4"/>
          </p:nvPr>
        </p:nvSpPr>
        <p:spPr>
          <a:xfrm>
            <a:off x="2329916" y="6476217"/>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356"/>
            <a:r>
              <a:rPr lang="en-US" dirty="0">
                <a:solidFill>
                  <a:srgbClr val="3DCD58"/>
                </a:solidFill>
              </a:rPr>
              <a:t>Page </a:t>
            </a:r>
            <a:fld id="{5A9C12DC-491F-9444-86A2-13AC5C62A2FC}" type="slidenum">
              <a:rPr lang="en-US" smtClean="0">
                <a:solidFill>
                  <a:srgbClr val="3DCD58"/>
                </a:solidFill>
              </a:rPr>
              <a:pPr defTabSz="609356"/>
              <a:t>‹#›</a:t>
            </a:fld>
            <a:endParaRPr lang="en-US" dirty="0">
              <a:solidFill>
                <a:srgbClr val="3DCD58"/>
              </a:solidFill>
            </a:endParaRPr>
          </a:p>
        </p:txBody>
      </p:sp>
      <p:sp>
        <p:nvSpPr>
          <p:cNvPr id="16" name="Footer Placeholder 4"/>
          <p:cNvSpPr>
            <a:spLocks noGrp="1"/>
          </p:cNvSpPr>
          <p:nvPr>
            <p:ph type="ftr" sz="quarter" idx="3"/>
          </p:nvPr>
        </p:nvSpPr>
        <p:spPr>
          <a:xfrm>
            <a:off x="336469" y="6476215"/>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356"/>
            <a:r>
              <a:rPr lang="en-US" dirty="0">
                <a:solidFill>
                  <a:srgbClr val="626469"/>
                </a:solidFill>
              </a:rPr>
              <a:t>Confidential Property of Schneider Electric |</a:t>
            </a:r>
          </a:p>
        </p:txBody>
      </p:sp>
    </p:spTree>
    <p:extLst>
      <p:ext uri="{BB962C8B-B14F-4D97-AF65-F5344CB8AC3E}">
        <p14:creationId xmlns:p14="http://schemas.microsoft.com/office/powerpoint/2010/main" val="351857808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3995" y="2900205"/>
            <a:ext cx="11508377" cy="492443"/>
          </a:xfrm>
          <a:prstGeom prst="rect">
            <a:avLst/>
          </a:prstGeom>
        </p:spPr>
        <p:txBody>
          <a:bodyPr lIns="0" tIns="0" rIns="0" bIns="0" anchor="ctr" anchorCtr="0">
            <a:spAutoFit/>
          </a:bodyPr>
          <a:lstStyle>
            <a:lvl1pPr algn="l">
              <a:defRPr sz="3200" baseline="0">
                <a:solidFill>
                  <a:schemeClr val="tx2"/>
                </a:solidFill>
              </a:defRPr>
            </a:lvl1pPr>
          </a:lstStyle>
          <a:p>
            <a:r>
              <a:rPr lang="en-US" dirty="0"/>
              <a:t>Click To Edit Section Title</a:t>
            </a:r>
          </a:p>
        </p:txBody>
      </p:sp>
      <p:sp>
        <p:nvSpPr>
          <p:cNvPr id="8" name="Text Placeholder 9"/>
          <p:cNvSpPr>
            <a:spLocks noGrp="1"/>
          </p:cNvSpPr>
          <p:nvPr>
            <p:ph type="body" sz="quarter" idx="11" hasCustomPrompt="1"/>
          </p:nvPr>
        </p:nvSpPr>
        <p:spPr>
          <a:xfrm>
            <a:off x="343995" y="3510099"/>
            <a:ext cx="11508377" cy="292388"/>
          </a:xfrm>
          <a:prstGeom prst="rect">
            <a:avLst/>
          </a:prstGeom>
        </p:spPr>
        <p:txBody>
          <a:bodyPr lIns="0" tIns="0" rIns="0" bIns="0" anchor="ctr" anchorCtr="0">
            <a:spAutoFit/>
          </a:bodyPr>
          <a:lstStyle>
            <a:lvl1pPr marL="0" indent="0">
              <a:buNone/>
              <a:defRPr sz="1900" baseline="0">
                <a:solidFill>
                  <a:schemeClr val="accent1"/>
                </a:solidFill>
              </a:defRPr>
            </a:lvl1pPr>
          </a:lstStyle>
          <a:p>
            <a:pPr lvl="0"/>
            <a:r>
              <a:rPr lang="en-US" dirty="0"/>
              <a:t>Click To Edit Optional Subtitle</a:t>
            </a:r>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5" y="6012788"/>
            <a:ext cx="2562395" cy="706672"/>
          </a:xfrm>
          <a:prstGeom prst="rect">
            <a:avLst/>
          </a:prstGeom>
        </p:spPr>
      </p:pic>
      <p:sp>
        <p:nvSpPr>
          <p:cNvPr id="13" name="Slide Number Placeholder 5"/>
          <p:cNvSpPr>
            <a:spLocks noGrp="1"/>
          </p:cNvSpPr>
          <p:nvPr>
            <p:ph type="sldNum" sz="quarter" idx="4"/>
          </p:nvPr>
        </p:nvSpPr>
        <p:spPr>
          <a:xfrm>
            <a:off x="2329916" y="6476217"/>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356"/>
            <a:r>
              <a:rPr lang="en-US" dirty="0">
                <a:solidFill>
                  <a:srgbClr val="3DCD58"/>
                </a:solidFill>
              </a:rPr>
              <a:t>Page </a:t>
            </a:r>
            <a:fld id="{5A9C12DC-491F-9444-86A2-13AC5C62A2FC}" type="slidenum">
              <a:rPr lang="en-US" smtClean="0">
                <a:solidFill>
                  <a:srgbClr val="3DCD58"/>
                </a:solidFill>
              </a:rPr>
              <a:pPr defTabSz="609356"/>
              <a:t>‹#›</a:t>
            </a:fld>
            <a:endParaRPr lang="en-US" dirty="0">
              <a:solidFill>
                <a:srgbClr val="3DCD58"/>
              </a:solidFill>
            </a:endParaRPr>
          </a:p>
        </p:txBody>
      </p:sp>
      <p:sp>
        <p:nvSpPr>
          <p:cNvPr id="14" name="Footer Placeholder 4"/>
          <p:cNvSpPr>
            <a:spLocks noGrp="1"/>
          </p:cNvSpPr>
          <p:nvPr>
            <p:ph type="ftr" sz="quarter" idx="3"/>
          </p:nvPr>
        </p:nvSpPr>
        <p:spPr>
          <a:xfrm>
            <a:off x="336469" y="6476215"/>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356"/>
            <a:r>
              <a:rPr lang="en-US" dirty="0">
                <a:solidFill>
                  <a:srgbClr val="626469"/>
                </a:solidFill>
              </a:rPr>
              <a:t>Confidential Property of Schneider Electric |</a:t>
            </a:r>
          </a:p>
        </p:txBody>
      </p:sp>
    </p:spTree>
    <p:extLst>
      <p:ext uri="{BB962C8B-B14F-4D97-AF65-F5344CB8AC3E}">
        <p14:creationId xmlns:p14="http://schemas.microsoft.com/office/powerpoint/2010/main" val="355483945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12188825" cy="6858000"/>
          </a:xfrm>
          <a:prstGeom prst="rect">
            <a:avLst/>
          </a:prstGeom>
          <a:solidFill>
            <a:srgbClr val="8E8F93">
              <a:alpha val="20000"/>
            </a:srgbClr>
          </a:solidFill>
        </p:spPr>
        <p:txBody>
          <a:bodyPr lIns="121872" tIns="60936" rIns="121872" bIns="60936"/>
          <a:lstStyle>
            <a:lvl1pPr marL="0" indent="0">
              <a:buNone/>
              <a:defRPr sz="1500">
                <a:solidFill>
                  <a:schemeClr val="accent2">
                    <a:lumMod val="60000"/>
                    <a:lumOff val="40000"/>
                  </a:schemeClr>
                </a:solidFill>
              </a:defRPr>
            </a:lvl1pPr>
          </a:lstStyle>
          <a:p>
            <a:r>
              <a:rPr lang="en-US" dirty="0"/>
              <a:t>Drag Your Image Here</a:t>
            </a:r>
          </a:p>
        </p:txBody>
      </p:sp>
      <p:sp>
        <p:nvSpPr>
          <p:cNvPr id="4" name="Title 1"/>
          <p:cNvSpPr>
            <a:spLocks noGrp="1"/>
          </p:cNvSpPr>
          <p:nvPr>
            <p:ph type="ctrTitle" hasCustomPrompt="1"/>
          </p:nvPr>
        </p:nvSpPr>
        <p:spPr>
          <a:xfrm>
            <a:off x="336469" y="2284745"/>
            <a:ext cx="11434116" cy="1641475"/>
          </a:xfrm>
          <a:prstGeom prst="rect">
            <a:avLst/>
          </a:prstGeom>
        </p:spPr>
        <p:txBody>
          <a:bodyPr lIns="0" tIns="0" rIns="0" bIns="0" anchor="t">
            <a:spAutoFit/>
          </a:bodyPr>
          <a:lstStyle>
            <a:lvl1pPr marL="0" indent="0" algn="ctr">
              <a:buFont typeface="Arial"/>
              <a:buNone/>
              <a:defRPr sz="5300">
                <a:solidFill>
                  <a:schemeClr val="bg1"/>
                </a:solidFill>
              </a:defRPr>
            </a:lvl1pPr>
          </a:lstStyle>
          <a:p>
            <a:r>
              <a:rPr lang="en-US" dirty="0"/>
              <a:t>CLICK TO EDIT QUOTE OR CALLOUT</a:t>
            </a:r>
          </a:p>
        </p:txBody>
      </p:sp>
      <p:sp>
        <p:nvSpPr>
          <p:cNvPr id="5" name="Subtitle 2"/>
          <p:cNvSpPr>
            <a:spLocks noGrp="1"/>
          </p:cNvSpPr>
          <p:nvPr>
            <p:ph type="subTitle" idx="1" hasCustomPrompt="1"/>
          </p:nvPr>
        </p:nvSpPr>
        <p:spPr>
          <a:xfrm>
            <a:off x="336464" y="3940605"/>
            <a:ext cx="11434115" cy="415499"/>
          </a:xfrm>
          <a:prstGeom prst="rect">
            <a:avLst/>
          </a:prstGeom>
        </p:spPr>
        <p:txBody>
          <a:bodyPr lIns="0" tIns="0" rIns="0" bIns="0">
            <a:spAutoFit/>
          </a:bodyPr>
          <a:lstStyle>
            <a:lvl1pPr marL="0" indent="0" algn="ctr">
              <a:buNone/>
              <a:defRPr sz="2700">
                <a:solidFill>
                  <a:schemeClr val="accent2"/>
                </a:solidFill>
              </a:defRPr>
            </a:lvl1pPr>
            <a:lvl2pPr marL="609356" indent="0" algn="ctr">
              <a:buNone/>
              <a:defRPr>
                <a:solidFill>
                  <a:schemeClr val="tx1">
                    <a:tint val="75000"/>
                  </a:schemeClr>
                </a:solidFill>
              </a:defRPr>
            </a:lvl2pPr>
            <a:lvl3pPr marL="1218715" indent="0" algn="ctr">
              <a:buNone/>
              <a:defRPr>
                <a:solidFill>
                  <a:schemeClr val="tx1">
                    <a:tint val="75000"/>
                  </a:schemeClr>
                </a:solidFill>
              </a:defRPr>
            </a:lvl3pPr>
            <a:lvl4pPr marL="1828071" indent="0" algn="ctr">
              <a:buNone/>
              <a:defRPr>
                <a:solidFill>
                  <a:schemeClr val="tx1">
                    <a:tint val="75000"/>
                  </a:schemeClr>
                </a:solidFill>
              </a:defRPr>
            </a:lvl4pPr>
            <a:lvl5pPr marL="2437428" indent="0" algn="ctr">
              <a:buNone/>
              <a:defRPr>
                <a:solidFill>
                  <a:schemeClr val="tx1">
                    <a:tint val="75000"/>
                  </a:schemeClr>
                </a:solidFill>
              </a:defRPr>
            </a:lvl5pPr>
            <a:lvl6pPr marL="3046781" indent="0" algn="ctr">
              <a:buNone/>
              <a:defRPr>
                <a:solidFill>
                  <a:schemeClr val="tx1">
                    <a:tint val="75000"/>
                  </a:schemeClr>
                </a:solidFill>
              </a:defRPr>
            </a:lvl6pPr>
            <a:lvl7pPr marL="3656139" indent="0" algn="ctr">
              <a:buNone/>
              <a:defRPr>
                <a:solidFill>
                  <a:schemeClr val="tx1">
                    <a:tint val="75000"/>
                  </a:schemeClr>
                </a:solidFill>
              </a:defRPr>
            </a:lvl7pPr>
            <a:lvl8pPr marL="4265493" indent="0" algn="ctr">
              <a:buNone/>
              <a:defRPr>
                <a:solidFill>
                  <a:schemeClr val="tx1">
                    <a:tint val="75000"/>
                  </a:schemeClr>
                </a:solidFill>
              </a:defRPr>
            </a:lvl8pPr>
            <a:lvl9pPr marL="4874849" indent="0" algn="ctr">
              <a:buNone/>
              <a:defRPr>
                <a:solidFill>
                  <a:schemeClr val="tx1">
                    <a:tint val="75000"/>
                  </a:schemeClr>
                </a:solidFill>
              </a:defRPr>
            </a:lvl9pPr>
          </a:lstStyle>
          <a:p>
            <a:r>
              <a:rPr lang="en-US" dirty="0"/>
              <a:t>Click To Edit Optional Subtitle</a:t>
            </a:r>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5" y="6012788"/>
            <a:ext cx="2562395" cy="706672"/>
          </a:xfrm>
          <a:prstGeom prst="rect">
            <a:avLst/>
          </a:prstGeom>
        </p:spPr>
      </p:pic>
      <p:sp>
        <p:nvSpPr>
          <p:cNvPr id="10" name="Slide Number Placeholder 5"/>
          <p:cNvSpPr>
            <a:spLocks noGrp="1"/>
          </p:cNvSpPr>
          <p:nvPr>
            <p:ph type="sldNum" sz="quarter" idx="4"/>
          </p:nvPr>
        </p:nvSpPr>
        <p:spPr>
          <a:xfrm>
            <a:off x="2329916" y="6476217"/>
            <a:ext cx="700737"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defTabSz="609356"/>
            <a:r>
              <a:rPr lang="en-US" dirty="0"/>
              <a:t>Page </a:t>
            </a:r>
            <a:fld id="{5A9C12DC-491F-9444-86A2-13AC5C62A2FC}" type="slidenum">
              <a:rPr lang="en-US" smtClean="0"/>
              <a:pPr defTabSz="609356"/>
              <a:t>‹#›</a:t>
            </a:fld>
            <a:endParaRPr lang="en-US" dirty="0"/>
          </a:p>
        </p:txBody>
      </p:sp>
      <p:sp>
        <p:nvSpPr>
          <p:cNvPr id="11" name="Footer Placeholder 4"/>
          <p:cNvSpPr>
            <a:spLocks noGrp="1"/>
          </p:cNvSpPr>
          <p:nvPr>
            <p:ph type="ftr" sz="quarter" idx="3"/>
          </p:nvPr>
        </p:nvSpPr>
        <p:spPr>
          <a:xfrm>
            <a:off x="336469" y="6476215"/>
            <a:ext cx="2012498"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defTabSz="609356"/>
            <a:r>
              <a:rPr lang="en-US" dirty="0"/>
              <a:t>Confidential Property of Schneider Electric |</a:t>
            </a:r>
          </a:p>
        </p:txBody>
      </p:sp>
    </p:spTree>
    <p:extLst>
      <p:ext uri="{BB962C8B-B14F-4D97-AF65-F5344CB8AC3E}">
        <p14:creationId xmlns:p14="http://schemas.microsoft.com/office/powerpoint/2010/main" val="252164217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12188825" cy="6858000"/>
          </a:xfrm>
          <a:prstGeom prst="rect">
            <a:avLst/>
          </a:prstGeom>
          <a:solidFill>
            <a:srgbClr val="8E8F93">
              <a:alpha val="20000"/>
            </a:srgbClr>
          </a:solidFill>
        </p:spPr>
        <p:txBody>
          <a:bodyPr lIns="121872" tIns="60936" rIns="121872" bIns="60936"/>
          <a:lstStyle>
            <a:lvl1pPr marL="0" indent="0">
              <a:buNone/>
              <a:defRPr sz="1500">
                <a:solidFill>
                  <a:schemeClr val="accent2">
                    <a:lumMod val="60000"/>
                    <a:lumOff val="40000"/>
                  </a:schemeClr>
                </a:solidFill>
              </a:defRPr>
            </a:lvl1pPr>
          </a:lstStyle>
          <a:p>
            <a:r>
              <a:rPr lang="en-US" dirty="0"/>
              <a:t>Drag Your Image Here</a:t>
            </a:r>
          </a:p>
        </p:txBody>
      </p:sp>
      <p:sp>
        <p:nvSpPr>
          <p:cNvPr id="4" name="Title 1"/>
          <p:cNvSpPr>
            <a:spLocks noGrp="1"/>
          </p:cNvSpPr>
          <p:nvPr>
            <p:ph type="ctrTitle" hasCustomPrompt="1"/>
          </p:nvPr>
        </p:nvSpPr>
        <p:spPr>
          <a:xfrm>
            <a:off x="336469" y="2284745"/>
            <a:ext cx="11434116" cy="1641475"/>
          </a:xfrm>
          <a:prstGeom prst="rect">
            <a:avLst/>
          </a:prstGeom>
        </p:spPr>
        <p:txBody>
          <a:bodyPr lIns="0" tIns="0" rIns="0" bIns="0" anchor="t">
            <a:spAutoFit/>
          </a:bodyPr>
          <a:lstStyle>
            <a:lvl1pPr marL="0" indent="0" algn="ctr">
              <a:buFont typeface="Arial"/>
              <a:buNone/>
              <a:defRPr sz="53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336464" y="3940605"/>
            <a:ext cx="11434115" cy="415499"/>
          </a:xfrm>
          <a:prstGeom prst="rect">
            <a:avLst/>
          </a:prstGeom>
        </p:spPr>
        <p:txBody>
          <a:bodyPr lIns="0" tIns="0" rIns="0" bIns="0">
            <a:spAutoFit/>
          </a:bodyPr>
          <a:lstStyle>
            <a:lvl1pPr marL="0" indent="0" algn="ctr">
              <a:buNone/>
              <a:defRPr sz="2700">
                <a:solidFill>
                  <a:schemeClr val="accent2"/>
                </a:solidFill>
              </a:defRPr>
            </a:lvl1pPr>
            <a:lvl2pPr marL="609356" indent="0" algn="ctr">
              <a:buNone/>
              <a:defRPr>
                <a:solidFill>
                  <a:schemeClr val="tx1">
                    <a:tint val="75000"/>
                  </a:schemeClr>
                </a:solidFill>
              </a:defRPr>
            </a:lvl2pPr>
            <a:lvl3pPr marL="1218715" indent="0" algn="ctr">
              <a:buNone/>
              <a:defRPr>
                <a:solidFill>
                  <a:schemeClr val="tx1">
                    <a:tint val="75000"/>
                  </a:schemeClr>
                </a:solidFill>
              </a:defRPr>
            </a:lvl3pPr>
            <a:lvl4pPr marL="1828071" indent="0" algn="ctr">
              <a:buNone/>
              <a:defRPr>
                <a:solidFill>
                  <a:schemeClr val="tx1">
                    <a:tint val="75000"/>
                  </a:schemeClr>
                </a:solidFill>
              </a:defRPr>
            </a:lvl4pPr>
            <a:lvl5pPr marL="2437428" indent="0" algn="ctr">
              <a:buNone/>
              <a:defRPr>
                <a:solidFill>
                  <a:schemeClr val="tx1">
                    <a:tint val="75000"/>
                  </a:schemeClr>
                </a:solidFill>
              </a:defRPr>
            </a:lvl5pPr>
            <a:lvl6pPr marL="3046781" indent="0" algn="ctr">
              <a:buNone/>
              <a:defRPr>
                <a:solidFill>
                  <a:schemeClr val="tx1">
                    <a:tint val="75000"/>
                  </a:schemeClr>
                </a:solidFill>
              </a:defRPr>
            </a:lvl6pPr>
            <a:lvl7pPr marL="3656139" indent="0" algn="ctr">
              <a:buNone/>
              <a:defRPr>
                <a:solidFill>
                  <a:schemeClr val="tx1">
                    <a:tint val="75000"/>
                  </a:schemeClr>
                </a:solidFill>
              </a:defRPr>
            </a:lvl7pPr>
            <a:lvl8pPr marL="4265493" indent="0" algn="ctr">
              <a:buNone/>
              <a:defRPr>
                <a:solidFill>
                  <a:schemeClr val="tx1">
                    <a:tint val="75000"/>
                  </a:schemeClr>
                </a:solidFill>
              </a:defRPr>
            </a:lvl8pPr>
            <a:lvl9pPr marL="4874849" indent="0" algn="ctr">
              <a:buNone/>
              <a:defRPr>
                <a:solidFill>
                  <a:schemeClr val="tx1">
                    <a:tint val="75000"/>
                  </a:schemeClr>
                </a:solidFill>
              </a:defRPr>
            </a:lvl9pPr>
          </a:lstStyle>
          <a:p>
            <a:r>
              <a:rPr lang="en-US" dirty="0"/>
              <a:t>Click To Edit Optional Subtitle</a:t>
            </a:r>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5" y="6012788"/>
            <a:ext cx="2562395" cy="706672"/>
          </a:xfrm>
          <a:prstGeom prst="rect">
            <a:avLst/>
          </a:prstGeom>
        </p:spPr>
      </p:pic>
      <p:sp>
        <p:nvSpPr>
          <p:cNvPr id="10" name="Slide Number Placeholder 5"/>
          <p:cNvSpPr>
            <a:spLocks noGrp="1"/>
          </p:cNvSpPr>
          <p:nvPr>
            <p:ph type="sldNum" sz="quarter" idx="4"/>
          </p:nvPr>
        </p:nvSpPr>
        <p:spPr>
          <a:xfrm>
            <a:off x="2329916" y="6476217"/>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356"/>
            <a:r>
              <a:rPr lang="en-US" dirty="0">
                <a:solidFill>
                  <a:srgbClr val="3DCD58"/>
                </a:solidFill>
              </a:rPr>
              <a:t>Page </a:t>
            </a:r>
            <a:fld id="{5A9C12DC-491F-9444-86A2-13AC5C62A2FC}" type="slidenum">
              <a:rPr lang="en-US" smtClean="0">
                <a:solidFill>
                  <a:srgbClr val="3DCD58"/>
                </a:solidFill>
              </a:rPr>
              <a:pPr defTabSz="609356"/>
              <a:t>‹#›</a:t>
            </a:fld>
            <a:endParaRPr lang="en-US" dirty="0">
              <a:solidFill>
                <a:srgbClr val="3DCD58"/>
              </a:solidFill>
            </a:endParaRPr>
          </a:p>
        </p:txBody>
      </p:sp>
      <p:sp>
        <p:nvSpPr>
          <p:cNvPr id="14" name="Footer Placeholder 4"/>
          <p:cNvSpPr>
            <a:spLocks noGrp="1"/>
          </p:cNvSpPr>
          <p:nvPr>
            <p:ph type="ftr" sz="quarter" idx="3"/>
          </p:nvPr>
        </p:nvSpPr>
        <p:spPr>
          <a:xfrm>
            <a:off x="336469" y="6476215"/>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356"/>
            <a:r>
              <a:rPr lang="en-US" dirty="0">
                <a:solidFill>
                  <a:srgbClr val="626469"/>
                </a:solidFill>
              </a:rPr>
              <a:t>Confidential Property of Schneider Electric |</a:t>
            </a:r>
          </a:p>
        </p:txBody>
      </p:sp>
    </p:spTree>
    <p:extLst>
      <p:ext uri="{BB962C8B-B14F-4D97-AF65-F5344CB8AC3E}">
        <p14:creationId xmlns:p14="http://schemas.microsoft.com/office/powerpoint/2010/main" val="294746813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469" y="2284745"/>
            <a:ext cx="11434116" cy="1641475"/>
          </a:xfrm>
          <a:prstGeom prst="rect">
            <a:avLst/>
          </a:prstGeom>
        </p:spPr>
        <p:txBody>
          <a:bodyPr lIns="0" tIns="0" rIns="0" bIns="0" anchor="t">
            <a:spAutoFit/>
          </a:bodyPr>
          <a:lstStyle>
            <a:lvl1pPr marL="0" indent="0" algn="ctr">
              <a:buFont typeface="Arial"/>
              <a:buNone/>
              <a:defRPr sz="5300">
                <a:solidFill>
                  <a:schemeClr val="accent1"/>
                </a:solidFill>
              </a:defRPr>
            </a:lvl1pPr>
          </a:lstStyle>
          <a:p>
            <a:r>
              <a:rPr lang="en-US" dirty="0"/>
              <a:t>CLICK TO EDIT QUOTE OR CALLOUT</a:t>
            </a:r>
          </a:p>
        </p:txBody>
      </p:sp>
      <p:sp>
        <p:nvSpPr>
          <p:cNvPr id="5" name="Subtitle 2"/>
          <p:cNvSpPr>
            <a:spLocks noGrp="1"/>
          </p:cNvSpPr>
          <p:nvPr>
            <p:ph type="subTitle" idx="1" hasCustomPrompt="1"/>
          </p:nvPr>
        </p:nvSpPr>
        <p:spPr>
          <a:xfrm>
            <a:off x="336464" y="3940605"/>
            <a:ext cx="11434115" cy="415499"/>
          </a:xfrm>
          <a:prstGeom prst="rect">
            <a:avLst/>
          </a:prstGeom>
        </p:spPr>
        <p:txBody>
          <a:bodyPr lIns="0" tIns="0" rIns="0" bIns="0">
            <a:spAutoFit/>
          </a:bodyPr>
          <a:lstStyle>
            <a:lvl1pPr marL="0" indent="0" algn="ctr">
              <a:buNone/>
              <a:defRPr sz="2700">
                <a:solidFill>
                  <a:schemeClr val="accent2"/>
                </a:solidFill>
              </a:defRPr>
            </a:lvl1pPr>
            <a:lvl2pPr marL="609356" indent="0" algn="ctr">
              <a:buNone/>
              <a:defRPr>
                <a:solidFill>
                  <a:schemeClr val="tx1">
                    <a:tint val="75000"/>
                  </a:schemeClr>
                </a:solidFill>
              </a:defRPr>
            </a:lvl2pPr>
            <a:lvl3pPr marL="1218715" indent="0" algn="ctr">
              <a:buNone/>
              <a:defRPr>
                <a:solidFill>
                  <a:schemeClr val="tx1">
                    <a:tint val="75000"/>
                  </a:schemeClr>
                </a:solidFill>
              </a:defRPr>
            </a:lvl3pPr>
            <a:lvl4pPr marL="1828071" indent="0" algn="ctr">
              <a:buNone/>
              <a:defRPr>
                <a:solidFill>
                  <a:schemeClr val="tx1">
                    <a:tint val="75000"/>
                  </a:schemeClr>
                </a:solidFill>
              </a:defRPr>
            </a:lvl4pPr>
            <a:lvl5pPr marL="2437428" indent="0" algn="ctr">
              <a:buNone/>
              <a:defRPr>
                <a:solidFill>
                  <a:schemeClr val="tx1">
                    <a:tint val="75000"/>
                  </a:schemeClr>
                </a:solidFill>
              </a:defRPr>
            </a:lvl5pPr>
            <a:lvl6pPr marL="3046781" indent="0" algn="ctr">
              <a:buNone/>
              <a:defRPr>
                <a:solidFill>
                  <a:schemeClr val="tx1">
                    <a:tint val="75000"/>
                  </a:schemeClr>
                </a:solidFill>
              </a:defRPr>
            </a:lvl6pPr>
            <a:lvl7pPr marL="3656139" indent="0" algn="ctr">
              <a:buNone/>
              <a:defRPr>
                <a:solidFill>
                  <a:schemeClr val="tx1">
                    <a:tint val="75000"/>
                  </a:schemeClr>
                </a:solidFill>
              </a:defRPr>
            </a:lvl7pPr>
            <a:lvl8pPr marL="4265493" indent="0" algn="ctr">
              <a:buNone/>
              <a:defRPr>
                <a:solidFill>
                  <a:schemeClr val="tx1">
                    <a:tint val="75000"/>
                  </a:schemeClr>
                </a:solidFill>
              </a:defRPr>
            </a:lvl8pPr>
            <a:lvl9pPr marL="4874849" indent="0" algn="ctr">
              <a:buNone/>
              <a:defRPr>
                <a:solidFill>
                  <a:schemeClr val="tx1">
                    <a:tint val="75000"/>
                  </a:schemeClr>
                </a:solidFill>
              </a:defRPr>
            </a:lvl9pPr>
          </a:lstStyle>
          <a:p>
            <a:r>
              <a:rPr lang="en-US" dirty="0"/>
              <a:t>Click To Edit Optional Subtitle</a:t>
            </a:r>
          </a:p>
        </p:txBody>
      </p:sp>
      <p:pic>
        <p:nvPicPr>
          <p:cNvPr id="10" name="Picture 9" descr="schneider_LIO_Life-Green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67145" y="6012788"/>
            <a:ext cx="2562395" cy="706672"/>
          </a:xfrm>
          <a:prstGeom prst="rect">
            <a:avLst/>
          </a:prstGeom>
        </p:spPr>
      </p:pic>
      <p:sp>
        <p:nvSpPr>
          <p:cNvPr id="9" name="Slide Number Placeholder 5"/>
          <p:cNvSpPr>
            <a:spLocks noGrp="1"/>
          </p:cNvSpPr>
          <p:nvPr>
            <p:ph type="sldNum" sz="quarter" idx="4"/>
          </p:nvPr>
        </p:nvSpPr>
        <p:spPr>
          <a:xfrm>
            <a:off x="2329916" y="6476217"/>
            <a:ext cx="700737"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356"/>
            <a:r>
              <a:rPr lang="en-US" dirty="0">
                <a:solidFill>
                  <a:srgbClr val="3DCD58"/>
                </a:solidFill>
              </a:rPr>
              <a:t>Page </a:t>
            </a:r>
            <a:fld id="{5A9C12DC-491F-9444-86A2-13AC5C62A2FC}" type="slidenum">
              <a:rPr lang="en-US" smtClean="0">
                <a:solidFill>
                  <a:srgbClr val="3DCD58"/>
                </a:solidFill>
              </a:rPr>
              <a:pPr defTabSz="609356"/>
              <a:t>‹#›</a:t>
            </a:fld>
            <a:endParaRPr lang="en-US" dirty="0">
              <a:solidFill>
                <a:srgbClr val="3DCD58"/>
              </a:solidFill>
            </a:endParaRPr>
          </a:p>
        </p:txBody>
      </p:sp>
      <p:sp>
        <p:nvSpPr>
          <p:cNvPr id="11" name="Footer Placeholder 4"/>
          <p:cNvSpPr>
            <a:spLocks noGrp="1"/>
          </p:cNvSpPr>
          <p:nvPr>
            <p:ph type="ftr" sz="quarter" idx="3"/>
          </p:nvPr>
        </p:nvSpPr>
        <p:spPr>
          <a:xfrm>
            <a:off x="336469" y="6476215"/>
            <a:ext cx="2012498"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356"/>
            <a:r>
              <a:rPr lang="en-US" dirty="0">
                <a:solidFill>
                  <a:srgbClr val="626469"/>
                </a:solidFill>
              </a:rPr>
              <a:t>Confidential Property of Schneider Electric |</a:t>
            </a:r>
          </a:p>
        </p:txBody>
      </p:sp>
    </p:spTree>
    <p:extLst>
      <p:ext uri="{BB962C8B-B14F-4D97-AF65-F5344CB8AC3E}">
        <p14:creationId xmlns:p14="http://schemas.microsoft.com/office/powerpoint/2010/main" val="1919921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theme" Target="../theme/theme2.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theme" Target="../theme/theme3.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theme" Target="../theme/theme4.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theme" Target="../theme/theme5.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theme" Target="../theme/theme6.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oleObject" Target="../embeddings/oleObject1.bin"/><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tags" Target="../tags/tag1.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vmlDrawing" Target="../drawings/vmlDrawing1.vml"/><Relationship Id="rId5" Type="http://schemas.openxmlformats.org/officeDocument/2006/relationships/slideLayout" Target="../slideLayouts/slideLayout147.xml"/><Relationship Id="rId10" Type="http://schemas.openxmlformats.org/officeDocument/2006/relationships/theme" Target="../theme/theme7.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image" Target="../media/image18.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65113"/>
            <a:ext cx="10969943" cy="1096963"/>
          </a:xfrm>
          <a:prstGeom prst="rect">
            <a:avLst/>
          </a:prstGeom>
        </p:spPr>
        <p:txBody>
          <a:bodyPr vert="horz" lIns="0" tIns="0" rIns="0" bIns="0" rtlCol="0" anchor="t" anchorCtr="0">
            <a:noAutofit/>
          </a:bodyPr>
          <a:lstStyle/>
          <a:p>
            <a:r>
              <a:rPr lang="en-US" noProof="0" dirty="0"/>
              <a:t>Headline</a:t>
            </a:r>
            <a:br>
              <a:rPr lang="en-US" noProof="0" dirty="0"/>
            </a:br>
            <a:endParaRPr lang="en-US" noProof="0" dirty="0"/>
          </a:p>
        </p:txBody>
      </p:sp>
      <p:sp>
        <p:nvSpPr>
          <p:cNvPr id="3" name="Text Placeholder 2"/>
          <p:cNvSpPr>
            <a:spLocks noGrp="1"/>
          </p:cNvSpPr>
          <p:nvPr>
            <p:ph type="body" idx="1"/>
          </p:nvPr>
        </p:nvSpPr>
        <p:spPr>
          <a:xfrm>
            <a:off x="609441" y="1509722"/>
            <a:ext cx="10969943" cy="4649553"/>
          </a:xfrm>
          <a:prstGeom prst="rect">
            <a:avLst/>
          </a:prstGeom>
        </p:spPr>
        <p:txBody>
          <a:bodyPr vert="horz" lIns="0" tIns="45717" rIns="91432" bIns="45717" rtlCol="0">
            <a:noAutofit/>
          </a:bodyPr>
          <a:lstStyle/>
          <a:p>
            <a:pPr lvl="0"/>
            <a:r>
              <a:rPr lang="en-US" noProof="0" dirty="0"/>
              <a:t>Sub Headline</a:t>
            </a:r>
          </a:p>
          <a:p>
            <a:pPr lvl="1"/>
            <a:r>
              <a:rPr lang="en-US" noProof="0" dirty="0"/>
              <a:t>Paragraph or Body Copy</a:t>
            </a:r>
          </a:p>
          <a:p>
            <a:pPr lvl="2"/>
            <a:r>
              <a:rPr lang="en-US" noProof="0" dirty="0"/>
              <a:t>First Level Bullet</a:t>
            </a:r>
          </a:p>
          <a:p>
            <a:pPr lvl="3"/>
            <a:r>
              <a:rPr lang="en-US" noProof="0" dirty="0"/>
              <a:t>Second Level Bullet</a:t>
            </a:r>
          </a:p>
          <a:p>
            <a:pPr lvl="4"/>
            <a:r>
              <a:rPr lang="en-US" noProof="0" dirty="0"/>
              <a:t>Third Level Bullet</a:t>
            </a:r>
          </a:p>
          <a:p>
            <a:pPr lvl="5"/>
            <a:r>
              <a:rPr lang="en-US" noProof="0" dirty="0"/>
              <a:t>Fourth Level Bullet</a:t>
            </a:r>
          </a:p>
        </p:txBody>
      </p:sp>
      <p:sp>
        <p:nvSpPr>
          <p:cNvPr id="10" name="Slide Number Placeholder 3"/>
          <p:cNvSpPr txBox="1">
            <a:spLocks/>
          </p:cNvSpPr>
          <p:nvPr/>
        </p:nvSpPr>
        <p:spPr>
          <a:xfrm>
            <a:off x="11182354" y="6278563"/>
            <a:ext cx="396875" cy="190500"/>
          </a:xfrm>
          <a:prstGeom prst="rect">
            <a:avLst/>
          </a:prstGeom>
        </p:spPr>
        <p:txBody>
          <a:bodyPr vert="horz" wrap="square" lIns="0" tIns="0" rIns="0" bIns="0" numCol="1" anchor="b" anchorCtr="0" compatLnSpc="1">
            <a:prstTxWarp prst="textNoShape">
              <a:avLst/>
            </a:prstTxWarp>
          </a:bodyPr>
          <a:lstStyle/>
          <a:p>
            <a:pPr algn="r" fontAlgn="base">
              <a:spcBef>
                <a:spcPct val="0"/>
              </a:spcBef>
              <a:spcAft>
                <a:spcPct val="0"/>
              </a:spcAft>
              <a:defRPr/>
            </a:pPr>
            <a:fld id="{B71EA597-8D80-41E5-B030-69B08F708DA5}" type="slidenum">
              <a:rPr lang="en-US" sz="1200">
                <a:solidFill>
                  <a:srgbClr val="626469"/>
                </a:solidFill>
                <a:latin typeface="Arial" pitchFamily="34" charset="0"/>
                <a:ea typeface="ＭＳ Ｐゴシック" pitchFamily="34" charset="-128"/>
                <a:cs typeface="Arial" pitchFamily="34" charset="0"/>
              </a:rPr>
              <a:pPr algn="r" fontAlgn="base">
                <a:spcBef>
                  <a:spcPct val="0"/>
                </a:spcBef>
                <a:spcAft>
                  <a:spcPct val="0"/>
                </a:spcAft>
                <a:defRPr/>
              </a:pPr>
              <a:t>‹#›</a:t>
            </a:fld>
            <a:endParaRPr lang="en-US" sz="1200" dirty="0">
              <a:solidFill>
                <a:srgbClr val="626469"/>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417507434"/>
      </p:ext>
    </p:extLst>
  </p:cSld>
  <p:clrMap bg1="lt1" tx1="dk1" bg2="lt2" tx2="dk2" accent1="accent1" accent2="accent2" accent3="accent3" accent4="accent4" accent5="accent5" accent6="accent6" hlink="hlink" folHlink="folHlink"/>
  <p:sldLayoutIdLst>
    <p:sldLayoutId id="2147483649" r:id="rId1"/>
    <p:sldLayoutId id="2147483692" r:id="rId2"/>
    <p:sldLayoutId id="2147483706" r:id="rId3"/>
    <p:sldLayoutId id="2147483707" r:id="rId4"/>
    <p:sldLayoutId id="2147483708" r:id="rId5"/>
    <p:sldLayoutId id="2147483650" r:id="rId6"/>
    <p:sldLayoutId id="2147483688" r:id="rId7"/>
    <p:sldLayoutId id="2147483657" r:id="rId8"/>
    <p:sldLayoutId id="2147483652" r:id="rId9"/>
    <p:sldLayoutId id="2147483663" r:id="rId10"/>
    <p:sldLayoutId id="2147483691" r:id="rId11"/>
    <p:sldLayoutId id="2147483709" r:id="rId12"/>
    <p:sldLayoutId id="2147483711" r:id="rId13"/>
    <p:sldLayoutId id="2147483702" r:id="rId14"/>
    <p:sldLayoutId id="2147483703" r:id="rId15"/>
    <p:sldLayoutId id="2147483656" r:id="rId16"/>
    <p:sldLayoutId id="2147483658" r:id="rId17"/>
    <p:sldLayoutId id="2147483679" r:id="rId18"/>
    <p:sldLayoutId id="2147483693" r:id="rId19"/>
    <p:sldLayoutId id="2147483662" r:id="rId20"/>
    <p:sldLayoutId id="2147483654" r:id="rId21"/>
    <p:sldLayoutId id="2147483671" r:id="rId22"/>
    <p:sldLayoutId id="2147483672" r:id="rId23"/>
    <p:sldLayoutId id="2147483704" r:id="rId24"/>
    <p:sldLayoutId id="2147483705" r:id="rId25"/>
    <p:sldLayoutId id="2147483687" r:id="rId26"/>
    <p:sldLayoutId id="2147483695" r:id="rId27"/>
    <p:sldLayoutId id="2147483676" r:id="rId28"/>
    <p:sldLayoutId id="2147483677" r:id="rId29"/>
    <p:sldLayoutId id="2147483696" r:id="rId30"/>
    <p:sldLayoutId id="2147483701" r:id="rId31"/>
    <p:sldLayoutId id="2147483697" r:id="rId32"/>
    <p:sldLayoutId id="2147483699" r:id="rId33"/>
    <p:sldLayoutId id="2147483853" r:id="rId34"/>
    <p:sldLayoutId id="2147483858" r:id="rId35"/>
    <p:sldLayoutId id="2147483881" r:id="rId36"/>
  </p:sldLayoutIdLst>
  <p:txStyles>
    <p:titleStyle>
      <a:lvl1pPr algn="l" defTabSz="914323" rtl="0" eaLnBrk="1" latinLnBrk="0" hangingPunct="1">
        <a:spcBef>
          <a:spcPct val="0"/>
        </a:spcBef>
        <a:buNone/>
        <a:defRPr sz="3600" b="1" kern="1200">
          <a:solidFill>
            <a:srgbClr val="009530"/>
          </a:solidFill>
          <a:latin typeface="Arial" pitchFamily="34" charset="0"/>
          <a:ea typeface="+mj-ea"/>
          <a:cs typeface="Arial" pitchFamily="34" charset="0"/>
        </a:defRPr>
      </a:lvl1pPr>
    </p:titleStyle>
    <p:bodyStyle>
      <a:lvl1pPr marL="225406" indent="-225406" algn="l" defTabSz="914323" rtl="0" eaLnBrk="1" latinLnBrk="0" hangingPunct="1">
        <a:spcBef>
          <a:spcPct val="20000"/>
        </a:spcBef>
        <a:buClr>
          <a:srgbClr val="009530"/>
        </a:buClr>
        <a:buFont typeface="Arial" pitchFamily="34" charset="0"/>
        <a:buChar char="&gt;"/>
        <a:defRPr sz="2300" kern="1200">
          <a:solidFill>
            <a:srgbClr val="009530"/>
          </a:solidFill>
          <a:latin typeface="Arial" pitchFamily="34" charset="0"/>
          <a:ea typeface="+mn-ea"/>
          <a:cs typeface="Arial" pitchFamily="34" charset="0"/>
        </a:defRPr>
      </a:lvl1pPr>
      <a:lvl2pPr marL="457161" indent="-228581" algn="l" defTabSz="914323" rtl="0" eaLnBrk="1" latinLnBrk="0" hangingPunct="1">
        <a:spcBef>
          <a:spcPct val="20000"/>
        </a:spcBef>
        <a:buClr>
          <a:srgbClr val="626469"/>
        </a:buClr>
        <a:buFont typeface="Arial" pitchFamily="34" charset="0"/>
        <a:buChar char="&gt;"/>
        <a:defRPr sz="2000" kern="1200">
          <a:solidFill>
            <a:srgbClr val="626469"/>
          </a:solidFill>
          <a:latin typeface="Arial" pitchFamily="34" charset="0"/>
          <a:ea typeface="+mn-ea"/>
          <a:cs typeface="Arial" pitchFamily="34" charset="0"/>
        </a:defRPr>
      </a:lvl2pPr>
      <a:lvl3pPr marL="685744" indent="-228581" algn="l" defTabSz="914323" rtl="0" eaLnBrk="1" latinLnBrk="0" hangingPunct="1">
        <a:spcBef>
          <a:spcPct val="20000"/>
        </a:spcBef>
        <a:buClr>
          <a:srgbClr val="626469"/>
        </a:buClr>
        <a:buFont typeface="Arial" pitchFamily="34" charset="0"/>
        <a:buChar char="-"/>
        <a:defRPr sz="1900" kern="1200">
          <a:solidFill>
            <a:srgbClr val="626469"/>
          </a:solidFill>
          <a:latin typeface="Arial" pitchFamily="34" charset="0"/>
          <a:ea typeface="+mn-ea"/>
          <a:cs typeface="Arial" pitchFamily="34" charset="0"/>
        </a:defRPr>
      </a:lvl3pPr>
      <a:lvl4pPr marL="914323" indent="-228581" algn="l" defTabSz="914323" rtl="0" eaLnBrk="1" latinLnBrk="0" hangingPunct="1">
        <a:spcBef>
          <a:spcPct val="20000"/>
        </a:spcBef>
        <a:buClr>
          <a:srgbClr val="626469"/>
        </a:buClr>
        <a:buFont typeface="Arial" pitchFamily="34" charset="0"/>
        <a:buChar char="-"/>
        <a:defRPr sz="1600" kern="1200">
          <a:solidFill>
            <a:srgbClr val="626469"/>
          </a:solidFill>
          <a:latin typeface="Arial" pitchFamily="34" charset="0"/>
          <a:ea typeface="+mn-ea"/>
          <a:cs typeface="Arial" pitchFamily="34" charset="0"/>
        </a:defRPr>
      </a:lvl4pPr>
      <a:lvl5pPr marL="1142904" indent="-228581" algn="l" defTabSz="914323" rtl="0" eaLnBrk="1" latinLnBrk="0" hangingPunct="1">
        <a:spcBef>
          <a:spcPct val="20000"/>
        </a:spcBef>
        <a:buClr>
          <a:srgbClr val="626469"/>
        </a:buClr>
        <a:buFont typeface="Arial" pitchFamily="34" charset="0"/>
        <a:buChar char="-"/>
        <a:defRPr sz="1500" kern="1200" baseline="0">
          <a:solidFill>
            <a:srgbClr val="626469"/>
          </a:solidFill>
          <a:latin typeface="Arial" pitchFamily="34" charset="0"/>
          <a:ea typeface="+mn-ea"/>
          <a:cs typeface="Arial" pitchFamily="34" charset="0"/>
        </a:defRPr>
      </a:lvl5pPr>
      <a:lvl6pPr marL="1371485" indent="-228581" algn="l" defTabSz="914323" rtl="0" eaLnBrk="1" latinLnBrk="0" hangingPunct="1">
        <a:spcBef>
          <a:spcPct val="20000"/>
        </a:spcBef>
        <a:buFont typeface="Arial" pitchFamily="34" charset="0"/>
        <a:buChar char="-"/>
        <a:defRPr sz="1200" kern="1200">
          <a:solidFill>
            <a:srgbClr val="626469"/>
          </a:solidFill>
          <a:latin typeface="+mn-lt"/>
          <a:ea typeface="+mn-ea"/>
          <a:cs typeface="+mn-cs"/>
        </a:defRPr>
      </a:lvl6pPr>
      <a:lvl7pPr marL="2971552" indent="-228581" algn="l" defTabSz="91432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715" indent="-228581" algn="l" defTabSz="91432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876" indent="-228581" algn="l" defTabSz="91432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23" rtl="0" eaLnBrk="1" latinLnBrk="0" hangingPunct="1">
        <a:defRPr sz="1900" kern="1200">
          <a:solidFill>
            <a:schemeClr val="tx1"/>
          </a:solidFill>
          <a:latin typeface="+mn-lt"/>
          <a:ea typeface="+mn-ea"/>
          <a:cs typeface="+mn-cs"/>
        </a:defRPr>
      </a:lvl1pPr>
      <a:lvl2pPr marL="457161" algn="l" defTabSz="914323" rtl="0" eaLnBrk="1" latinLnBrk="0" hangingPunct="1">
        <a:defRPr sz="1900" kern="1200">
          <a:solidFill>
            <a:schemeClr val="tx1"/>
          </a:solidFill>
          <a:latin typeface="+mn-lt"/>
          <a:ea typeface="+mn-ea"/>
          <a:cs typeface="+mn-cs"/>
        </a:defRPr>
      </a:lvl2pPr>
      <a:lvl3pPr marL="914323" algn="l" defTabSz="914323" rtl="0" eaLnBrk="1" latinLnBrk="0" hangingPunct="1">
        <a:defRPr sz="1900" kern="1200">
          <a:solidFill>
            <a:schemeClr val="tx1"/>
          </a:solidFill>
          <a:latin typeface="+mn-lt"/>
          <a:ea typeface="+mn-ea"/>
          <a:cs typeface="+mn-cs"/>
        </a:defRPr>
      </a:lvl3pPr>
      <a:lvl4pPr marL="1371485" algn="l" defTabSz="914323" rtl="0" eaLnBrk="1" latinLnBrk="0" hangingPunct="1">
        <a:defRPr sz="1900" kern="1200">
          <a:solidFill>
            <a:schemeClr val="tx1"/>
          </a:solidFill>
          <a:latin typeface="+mn-lt"/>
          <a:ea typeface="+mn-ea"/>
          <a:cs typeface="+mn-cs"/>
        </a:defRPr>
      </a:lvl4pPr>
      <a:lvl5pPr marL="1828648" algn="l" defTabSz="914323" rtl="0" eaLnBrk="1" latinLnBrk="0" hangingPunct="1">
        <a:defRPr sz="1900" kern="1200">
          <a:solidFill>
            <a:schemeClr val="tx1"/>
          </a:solidFill>
          <a:latin typeface="+mn-lt"/>
          <a:ea typeface="+mn-ea"/>
          <a:cs typeface="+mn-cs"/>
        </a:defRPr>
      </a:lvl5pPr>
      <a:lvl6pPr marL="2285809" algn="l" defTabSz="914323" rtl="0" eaLnBrk="1" latinLnBrk="0" hangingPunct="1">
        <a:defRPr sz="1900" kern="1200">
          <a:solidFill>
            <a:schemeClr val="tx1"/>
          </a:solidFill>
          <a:latin typeface="+mn-lt"/>
          <a:ea typeface="+mn-ea"/>
          <a:cs typeface="+mn-cs"/>
        </a:defRPr>
      </a:lvl6pPr>
      <a:lvl7pPr marL="2742971" algn="l" defTabSz="914323" rtl="0" eaLnBrk="1" latinLnBrk="0" hangingPunct="1">
        <a:defRPr sz="1900" kern="1200">
          <a:solidFill>
            <a:schemeClr val="tx1"/>
          </a:solidFill>
          <a:latin typeface="+mn-lt"/>
          <a:ea typeface="+mn-ea"/>
          <a:cs typeface="+mn-cs"/>
        </a:defRPr>
      </a:lvl7pPr>
      <a:lvl8pPr marL="3200133" algn="l" defTabSz="914323" rtl="0" eaLnBrk="1" latinLnBrk="0" hangingPunct="1">
        <a:defRPr sz="1900" kern="1200">
          <a:solidFill>
            <a:schemeClr val="tx1"/>
          </a:solidFill>
          <a:latin typeface="+mn-lt"/>
          <a:ea typeface="+mn-ea"/>
          <a:cs typeface="+mn-cs"/>
        </a:defRPr>
      </a:lvl8pPr>
      <a:lvl9pPr marL="3657296" algn="l" defTabSz="914323"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65113"/>
            <a:ext cx="10969943" cy="1096963"/>
          </a:xfrm>
          <a:prstGeom prst="rect">
            <a:avLst/>
          </a:prstGeom>
        </p:spPr>
        <p:txBody>
          <a:bodyPr vert="horz" lIns="0" tIns="0" rIns="0" bIns="0" rtlCol="0" anchor="t" anchorCtr="0">
            <a:noAutofit/>
          </a:bodyPr>
          <a:lstStyle/>
          <a:p>
            <a:r>
              <a:rPr lang="en-US" noProof="0" dirty="0"/>
              <a:t>Headline</a:t>
            </a:r>
            <a:br>
              <a:rPr lang="en-US" noProof="0" dirty="0"/>
            </a:br>
            <a:endParaRPr lang="en-US" noProof="0" dirty="0"/>
          </a:p>
        </p:txBody>
      </p:sp>
      <p:sp>
        <p:nvSpPr>
          <p:cNvPr id="3" name="Text Placeholder 2"/>
          <p:cNvSpPr>
            <a:spLocks noGrp="1"/>
          </p:cNvSpPr>
          <p:nvPr>
            <p:ph type="body" idx="1"/>
          </p:nvPr>
        </p:nvSpPr>
        <p:spPr>
          <a:xfrm>
            <a:off x="609441" y="1509722"/>
            <a:ext cx="10969943" cy="4649553"/>
          </a:xfrm>
          <a:prstGeom prst="rect">
            <a:avLst/>
          </a:prstGeom>
        </p:spPr>
        <p:txBody>
          <a:bodyPr vert="horz" lIns="0" tIns="45717" rIns="91432" bIns="45717" rtlCol="0">
            <a:noAutofit/>
          </a:bodyPr>
          <a:lstStyle/>
          <a:p>
            <a:pPr lvl="0"/>
            <a:r>
              <a:rPr lang="en-US" noProof="0" dirty="0"/>
              <a:t>Sub Headline</a:t>
            </a:r>
          </a:p>
          <a:p>
            <a:pPr lvl="1"/>
            <a:r>
              <a:rPr lang="en-US" noProof="0" dirty="0"/>
              <a:t>Paragraph or Body Copy</a:t>
            </a:r>
          </a:p>
          <a:p>
            <a:pPr lvl="2"/>
            <a:r>
              <a:rPr lang="en-US" noProof="0" dirty="0"/>
              <a:t>First Level Bullet</a:t>
            </a:r>
          </a:p>
          <a:p>
            <a:pPr lvl="3"/>
            <a:r>
              <a:rPr lang="en-US" noProof="0" dirty="0"/>
              <a:t>Second Level Bullet</a:t>
            </a:r>
          </a:p>
          <a:p>
            <a:pPr lvl="4"/>
            <a:r>
              <a:rPr lang="en-US" noProof="0" dirty="0"/>
              <a:t>Third Level Bullet</a:t>
            </a:r>
          </a:p>
          <a:p>
            <a:pPr lvl="5"/>
            <a:r>
              <a:rPr lang="en-US" noProof="0" dirty="0"/>
              <a:t>Fourth Level Bullet</a:t>
            </a:r>
          </a:p>
        </p:txBody>
      </p:sp>
      <p:sp>
        <p:nvSpPr>
          <p:cNvPr id="10" name="Slide Number Placeholder 3"/>
          <p:cNvSpPr txBox="1">
            <a:spLocks/>
          </p:cNvSpPr>
          <p:nvPr/>
        </p:nvSpPr>
        <p:spPr>
          <a:xfrm>
            <a:off x="11182354" y="6278563"/>
            <a:ext cx="396875" cy="190500"/>
          </a:xfrm>
          <a:prstGeom prst="rect">
            <a:avLst/>
          </a:prstGeom>
        </p:spPr>
        <p:txBody>
          <a:bodyPr vert="horz" wrap="square" lIns="0" tIns="0" rIns="0" bIns="0" numCol="1" anchor="b" anchorCtr="0" compatLnSpc="1">
            <a:prstTxWarp prst="textNoShape">
              <a:avLst/>
            </a:prstTxWarp>
          </a:bodyPr>
          <a:lstStyle/>
          <a:p>
            <a:pPr algn="r" fontAlgn="base">
              <a:spcBef>
                <a:spcPct val="0"/>
              </a:spcBef>
              <a:spcAft>
                <a:spcPct val="0"/>
              </a:spcAft>
              <a:defRPr/>
            </a:pPr>
            <a:fld id="{B71EA597-8D80-41E5-B030-69B08F708DA5}" type="slidenum">
              <a:rPr lang="en-US" sz="1200">
                <a:solidFill>
                  <a:srgbClr val="626469"/>
                </a:solidFill>
                <a:ea typeface="ＭＳ Ｐゴシック" pitchFamily="34" charset="-128"/>
                <a:cs typeface="Arial" pitchFamily="34" charset="0"/>
              </a:rPr>
              <a:pPr algn="r" fontAlgn="base">
                <a:spcBef>
                  <a:spcPct val="0"/>
                </a:spcBef>
                <a:spcAft>
                  <a:spcPct val="0"/>
                </a:spcAft>
                <a:defRPr/>
              </a:pPr>
              <a:t>‹#›</a:t>
            </a:fld>
            <a:endParaRPr lang="en-US" sz="1200" dirty="0">
              <a:solidFill>
                <a:srgbClr val="626469"/>
              </a:solidFill>
              <a:ea typeface="ＭＳ Ｐゴシック" pitchFamily="34" charset="-128"/>
              <a:cs typeface="Arial" pitchFamily="34" charset="0"/>
            </a:endParaRPr>
          </a:p>
        </p:txBody>
      </p:sp>
    </p:spTree>
    <p:extLst>
      <p:ext uri="{BB962C8B-B14F-4D97-AF65-F5344CB8AC3E}">
        <p14:creationId xmlns:p14="http://schemas.microsoft.com/office/powerpoint/2010/main" val="241750743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 id="2147483748" r:id="rId33"/>
    <p:sldLayoutId id="2147483749" r:id="rId34"/>
    <p:sldLayoutId id="2147483750" r:id="rId35"/>
    <p:sldLayoutId id="2147483751" r:id="rId36"/>
  </p:sldLayoutIdLst>
  <p:txStyles>
    <p:titleStyle>
      <a:lvl1pPr algn="l" defTabSz="914323" rtl="0" eaLnBrk="1" latinLnBrk="0" hangingPunct="1">
        <a:spcBef>
          <a:spcPct val="0"/>
        </a:spcBef>
        <a:buNone/>
        <a:defRPr sz="3600" b="1" kern="1200">
          <a:solidFill>
            <a:srgbClr val="009530"/>
          </a:solidFill>
          <a:latin typeface="Arial" pitchFamily="34" charset="0"/>
          <a:ea typeface="+mj-ea"/>
          <a:cs typeface="Arial" pitchFamily="34" charset="0"/>
        </a:defRPr>
      </a:lvl1pPr>
    </p:titleStyle>
    <p:bodyStyle>
      <a:lvl1pPr marL="225406" indent="-225406" algn="l" defTabSz="914323" rtl="0" eaLnBrk="1" latinLnBrk="0" hangingPunct="1">
        <a:spcBef>
          <a:spcPct val="20000"/>
        </a:spcBef>
        <a:buClr>
          <a:srgbClr val="009530"/>
        </a:buClr>
        <a:buFont typeface="Arial" pitchFamily="34" charset="0"/>
        <a:buChar char="&gt;"/>
        <a:defRPr sz="2300" kern="1200">
          <a:solidFill>
            <a:srgbClr val="009530"/>
          </a:solidFill>
          <a:latin typeface="Arial" pitchFamily="34" charset="0"/>
          <a:ea typeface="+mn-ea"/>
          <a:cs typeface="Arial" pitchFamily="34" charset="0"/>
        </a:defRPr>
      </a:lvl1pPr>
      <a:lvl2pPr marL="457161" indent="-228581" algn="l" defTabSz="914323" rtl="0" eaLnBrk="1" latinLnBrk="0" hangingPunct="1">
        <a:spcBef>
          <a:spcPct val="20000"/>
        </a:spcBef>
        <a:buClr>
          <a:srgbClr val="626469"/>
        </a:buClr>
        <a:buFont typeface="Arial" pitchFamily="34" charset="0"/>
        <a:buChar char="&gt;"/>
        <a:defRPr sz="2000" kern="1200">
          <a:solidFill>
            <a:srgbClr val="626469"/>
          </a:solidFill>
          <a:latin typeface="Arial" pitchFamily="34" charset="0"/>
          <a:ea typeface="+mn-ea"/>
          <a:cs typeface="Arial" pitchFamily="34" charset="0"/>
        </a:defRPr>
      </a:lvl2pPr>
      <a:lvl3pPr marL="685744" indent="-228581" algn="l" defTabSz="914323" rtl="0" eaLnBrk="1" latinLnBrk="0" hangingPunct="1">
        <a:spcBef>
          <a:spcPct val="20000"/>
        </a:spcBef>
        <a:buClr>
          <a:srgbClr val="626469"/>
        </a:buClr>
        <a:buFont typeface="Arial" pitchFamily="34" charset="0"/>
        <a:buChar char="-"/>
        <a:defRPr sz="1900" kern="1200">
          <a:solidFill>
            <a:srgbClr val="626469"/>
          </a:solidFill>
          <a:latin typeface="Arial" pitchFamily="34" charset="0"/>
          <a:ea typeface="+mn-ea"/>
          <a:cs typeface="Arial" pitchFamily="34" charset="0"/>
        </a:defRPr>
      </a:lvl3pPr>
      <a:lvl4pPr marL="914323" indent="-228581" algn="l" defTabSz="914323" rtl="0" eaLnBrk="1" latinLnBrk="0" hangingPunct="1">
        <a:spcBef>
          <a:spcPct val="20000"/>
        </a:spcBef>
        <a:buClr>
          <a:srgbClr val="626469"/>
        </a:buClr>
        <a:buFont typeface="Arial" pitchFamily="34" charset="0"/>
        <a:buChar char="-"/>
        <a:defRPr sz="1600" kern="1200">
          <a:solidFill>
            <a:srgbClr val="626469"/>
          </a:solidFill>
          <a:latin typeface="Arial" pitchFamily="34" charset="0"/>
          <a:ea typeface="+mn-ea"/>
          <a:cs typeface="Arial" pitchFamily="34" charset="0"/>
        </a:defRPr>
      </a:lvl4pPr>
      <a:lvl5pPr marL="1142904" indent="-228581" algn="l" defTabSz="914323" rtl="0" eaLnBrk="1" latinLnBrk="0" hangingPunct="1">
        <a:spcBef>
          <a:spcPct val="20000"/>
        </a:spcBef>
        <a:buClr>
          <a:srgbClr val="626469"/>
        </a:buClr>
        <a:buFont typeface="Arial" pitchFamily="34" charset="0"/>
        <a:buChar char="-"/>
        <a:defRPr sz="1500" kern="1200" baseline="0">
          <a:solidFill>
            <a:srgbClr val="626469"/>
          </a:solidFill>
          <a:latin typeface="Arial" pitchFamily="34" charset="0"/>
          <a:ea typeface="+mn-ea"/>
          <a:cs typeface="Arial" pitchFamily="34" charset="0"/>
        </a:defRPr>
      </a:lvl5pPr>
      <a:lvl6pPr marL="1371485" indent="-228581" algn="l" defTabSz="914323" rtl="0" eaLnBrk="1" latinLnBrk="0" hangingPunct="1">
        <a:spcBef>
          <a:spcPct val="20000"/>
        </a:spcBef>
        <a:buFont typeface="Arial" pitchFamily="34" charset="0"/>
        <a:buChar char="-"/>
        <a:defRPr sz="1200" kern="1200">
          <a:solidFill>
            <a:srgbClr val="626469"/>
          </a:solidFill>
          <a:latin typeface="+mn-lt"/>
          <a:ea typeface="+mn-ea"/>
          <a:cs typeface="+mn-cs"/>
        </a:defRPr>
      </a:lvl6pPr>
      <a:lvl7pPr marL="2971552" indent="-228581" algn="l" defTabSz="91432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715" indent="-228581" algn="l" defTabSz="91432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876" indent="-228581" algn="l" defTabSz="91432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23" rtl="0" eaLnBrk="1" latinLnBrk="0" hangingPunct="1">
        <a:defRPr sz="1900" kern="1200">
          <a:solidFill>
            <a:schemeClr val="tx1"/>
          </a:solidFill>
          <a:latin typeface="+mn-lt"/>
          <a:ea typeface="+mn-ea"/>
          <a:cs typeface="+mn-cs"/>
        </a:defRPr>
      </a:lvl1pPr>
      <a:lvl2pPr marL="457161" algn="l" defTabSz="914323" rtl="0" eaLnBrk="1" latinLnBrk="0" hangingPunct="1">
        <a:defRPr sz="1900" kern="1200">
          <a:solidFill>
            <a:schemeClr val="tx1"/>
          </a:solidFill>
          <a:latin typeface="+mn-lt"/>
          <a:ea typeface="+mn-ea"/>
          <a:cs typeface="+mn-cs"/>
        </a:defRPr>
      </a:lvl2pPr>
      <a:lvl3pPr marL="914323" algn="l" defTabSz="914323" rtl="0" eaLnBrk="1" latinLnBrk="0" hangingPunct="1">
        <a:defRPr sz="1900" kern="1200">
          <a:solidFill>
            <a:schemeClr val="tx1"/>
          </a:solidFill>
          <a:latin typeface="+mn-lt"/>
          <a:ea typeface="+mn-ea"/>
          <a:cs typeface="+mn-cs"/>
        </a:defRPr>
      </a:lvl3pPr>
      <a:lvl4pPr marL="1371485" algn="l" defTabSz="914323" rtl="0" eaLnBrk="1" latinLnBrk="0" hangingPunct="1">
        <a:defRPr sz="1900" kern="1200">
          <a:solidFill>
            <a:schemeClr val="tx1"/>
          </a:solidFill>
          <a:latin typeface="+mn-lt"/>
          <a:ea typeface="+mn-ea"/>
          <a:cs typeface="+mn-cs"/>
        </a:defRPr>
      </a:lvl4pPr>
      <a:lvl5pPr marL="1828648" algn="l" defTabSz="914323" rtl="0" eaLnBrk="1" latinLnBrk="0" hangingPunct="1">
        <a:defRPr sz="1900" kern="1200">
          <a:solidFill>
            <a:schemeClr val="tx1"/>
          </a:solidFill>
          <a:latin typeface="+mn-lt"/>
          <a:ea typeface="+mn-ea"/>
          <a:cs typeface="+mn-cs"/>
        </a:defRPr>
      </a:lvl5pPr>
      <a:lvl6pPr marL="2285809" algn="l" defTabSz="914323" rtl="0" eaLnBrk="1" latinLnBrk="0" hangingPunct="1">
        <a:defRPr sz="1900" kern="1200">
          <a:solidFill>
            <a:schemeClr val="tx1"/>
          </a:solidFill>
          <a:latin typeface="+mn-lt"/>
          <a:ea typeface="+mn-ea"/>
          <a:cs typeface="+mn-cs"/>
        </a:defRPr>
      </a:lvl6pPr>
      <a:lvl7pPr marL="2742971" algn="l" defTabSz="914323" rtl="0" eaLnBrk="1" latinLnBrk="0" hangingPunct="1">
        <a:defRPr sz="1900" kern="1200">
          <a:solidFill>
            <a:schemeClr val="tx1"/>
          </a:solidFill>
          <a:latin typeface="+mn-lt"/>
          <a:ea typeface="+mn-ea"/>
          <a:cs typeface="+mn-cs"/>
        </a:defRPr>
      </a:lvl7pPr>
      <a:lvl8pPr marL="3200133" algn="l" defTabSz="914323" rtl="0" eaLnBrk="1" latinLnBrk="0" hangingPunct="1">
        <a:defRPr sz="1900" kern="1200">
          <a:solidFill>
            <a:schemeClr val="tx1"/>
          </a:solidFill>
          <a:latin typeface="+mn-lt"/>
          <a:ea typeface="+mn-ea"/>
          <a:cs typeface="+mn-cs"/>
        </a:defRPr>
      </a:lvl8pPr>
      <a:lvl9pPr marL="3657296" algn="l" defTabSz="914323"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865921"/>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52" r:id="rId15"/>
    <p:sldLayoutId id="2147483882" r:id="rId16"/>
    <p:sldLayoutId id="2147483885" r:id="rId17"/>
  </p:sldLayoutIdLst>
  <p:hf hdr="0" dt="0"/>
  <p:txStyles>
    <p:titleStyle>
      <a:lvl1pPr algn="ctr" defTabSz="609421" rtl="0" eaLnBrk="1" latinLnBrk="0" hangingPunct="1">
        <a:spcBef>
          <a:spcPct val="0"/>
        </a:spcBef>
        <a:buNone/>
        <a:defRPr sz="5900" kern="1200">
          <a:solidFill>
            <a:schemeClr val="tx1"/>
          </a:solidFill>
          <a:latin typeface="+mj-lt"/>
          <a:ea typeface="+mj-ea"/>
          <a:cs typeface="+mj-cs"/>
        </a:defRPr>
      </a:lvl1pPr>
    </p:titleStyle>
    <p:bodyStyle>
      <a:lvl1pPr marL="457065" indent="-457065" algn="l" defTabSz="609421" rtl="0" eaLnBrk="1" latinLnBrk="0" hangingPunct="1">
        <a:spcBef>
          <a:spcPct val="20000"/>
        </a:spcBef>
        <a:buFont typeface="Arial"/>
        <a:buChar char="•"/>
        <a:defRPr sz="4300" kern="1200">
          <a:solidFill>
            <a:schemeClr val="tx1"/>
          </a:solidFill>
          <a:latin typeface="+mn-lt"/>
          <a:ea typeface="+mn-ea"/>
          <a:cs typeface="+mn-cs"/>
        </a:defRPr>
      </a:lvl1pPr>
      <a:lvl2pPr marL="990309" indent="-380888" algn="l" defTabSz="609421" rtl="0" eaLnBrk="1" latinLnBrk="0" hangingPunct="1">
        <a:spcBef>
          <a:spcPct val="20000"/>
        </a:spcBef>
        <a:buFont typeface="Arial"/>
        <a:buChar char="–"/>
        <a:defRPr sz="3700" kern="1200">
          <a:solidFill>
            <a:schemeClr val="tx1"/>
          </a:solidFill>
          <a:latin typeface="+mn-lt"/>
          <a:ea typeface="+mn-ea"/>
          <a:cs typeface="+mn-cs"/>
        </a:defRPr>
      </a:lvl2pPr>
      <a:lvl3pPr marL="1523552" indent="-304711" algn="l" defTabSz="609421" rtl="0" eaLnBrk="1" latinLnBrk="0" hangingPunct="1">
        <a:spcBef>
          <a:spcPct val="20000"/>
        </a:spcBef>
        <a:buFont typeface="Arial"/>
        <a:buChar char="•"/>
        <a:defRPr sz="3200" kern="1200">
          <a:solidFill>
            <a:schemeClr val="tx1"/>
          </a:solidFill>
          <a:latin typeface="+mn-lt"/>
          <a:ea typeface="+mn-ea"/>
          <a:cs typeface="+mn-cs"/>
        </a:defRPr>
      </a:lvl3pPr>
      <a:lvl4pPr marL="2132975" indent="-304711" algn="l" defTabSz="609421" rtl="0" eaLnBrk="1" latinLnBrk="0" hangingPunct="1">
        <a:spcBef>
          <a:spcPct val="20000"/>
        </a:spcBef>
        <a:buFont typeface="Arial"/>
        <a:buChar char="–"/>
        <a:defRPr sz="2700" kern="1200">
          <a:solidFill>
            <a:schemeClr val="tx1"/>
          </a:solidFill>
          <a:latin typeface="+mn-lt"/>
          <a:ea typeface="+mn-ea"/>
          <a:cs typeface="+mn-cs"/>
        </a:defRPr>
      </a:lvl4pPr>
      <a:lvl5pPr marL="2742395" indent="-304711" algn="l" defTabSz="609421" rtl="0" eaLnBrk="1" latinLnBrk="0" hangingPunct="1">
        <a:spcBef>
          <a:spcPct val="20000"/>
        </a:spcBef>
        <a:buFont typeface="Arial"/>
        <a:buChar char="»"/>
        <a:defRPr sz="2700" kern="1200">
          <a:solidFill>
            <a:schemeClr val="tx1"/>
          </a:solidFill>
          <a:latin typeface="+mn-lt"/>
          <a:ea typeface="+mn-ea"/>
          <a:cs typeface="+mn-cs"/>
        </a:defRPr>
      </a:lvl5pPr>
      <a:lvl6pPr marL="3351815" indent="-304711" algn="l" defTabSz="609421" rtl="0" eaLnBrk="1" latinLnBrk="0" hangingPunct="1">
        <a:spcBef>
          <a:spcPct val="20000"/>
        </a:spcBef>
        <a:buFont typeface="Arial"/>
        <a:buChar char="•"/>
        <a:defRPr sz="2700" kern="1200">
          <a:solidFill>
            <a:schemeClr val="tx1"/>
          </a:solidFill>
          <a:latin typeface="+mn-lt"/>
          <a:ea typeface="+mn-ea"/>
          <a:cs typeface="+mn-cs"/>
        </a:defRPr>
      </a:lvl6pPr>
      <a:lvl7pPr marL="3961236" indent="-304711" algn="l" defTabSz="609421" rtl="0" eaLnBrk="1" latinLnBrk="0" hangingPunct="1">
        <a:spcBef>
          <a:spcPct val="20000"/>
        </a:spcBef>
        <a:buFont typeface="Arial"/>
        <a:buChar char="•"/>
        <a:defRPr sz="2700" kern="1200">
          <a:solidFill>
            <a:schemeClr val="tx1"/>
          </a:solidFill>
          <a:latin typeface="+mn-lt"/>
          <a:ea typeface="+mn-ea"/>
          <a:cs typeface="+mn-cs"/>
        </a:defRPr>
      </a:lvl7pPr>
      <a:lvl8pPr marL="4570657" indent="-304711" algn="l" defTabSz="609421" rtl="0" eaLnBrk="1" latinLnBrk="0" hangingPunct="1">
        <a:spcBef>
          <a:spcPct val="20000"/>
        </a:spcBef>
        <a:buFont typeface="Arial"/>
        <a:buChar char="•"/>
        <a:defRPr sz="2700" kern="1200">
          <a:solidFill>
            <a:schemeClr val="tx1"/>
          </a:solidFill>
          <a:latin typeface="+mn-lt"/>
          <a:ea typeface="+mn-ea"/>
          <a:cs typeface="+mn-cs"/>
        </a:defRPr>
      </a:lvl8pPr>
      <a:lvl9pPr marL="5180079" indent="-304711" algn="l" defTabSz="609421"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421" rtl="0" eaLnBrk="1" latinLnBrk="0" hangingPunct="1">
        <a:defRPr sz="2400" kern="1200">
          <a:solidFill>
            <a:schemeClr val="tx1"/>
          </a:solidFill>
          <a:latin typeface="+mn-lt"/>
          <a:ea typeface="+mn-ea"/>
          <a:cs typeface="+mn-cs"/>
        </a:defRPr>
      </a:lvl1pPr>
      <a:lvl2pPr marL="609421" algn="l" defTabSz="609421" rtl="0" eaLnBrk="1" latinLnBrk="0" hangingPunct="1">
        <a:defRPr sz="2400" kern="1200">
          <a:solidFill>
            <a:schemeClr val="tx1"/>
          </a:solidFill>
          <a:latin typeface="+mn-lt"/>
          <a:ea typeface="+mn-ea"/>
          <a:cs typeface="+mn-cs"/>
        </a:defRPr>
      </a:lvl2pPr>
      <a:lvl3pPr marL="1218841" algn="l" defTabSz="609421" rtl="0" eaLnBrk="1" latinLnBrk="0" hangingPunct="1">
        <a:defRPr sz="2400" kern="1200">
          <a:solidFill>
            <a:schemeClr val="tx1"/>
          </a:solidFill>
          <a:latin typeface="+mn-lt"/>
          <a:ea typeface="+mn-ea"/>
          <a:cs typeface="+mn-cs"/>
        </a:defRPr>
      </a:lvl3pPr>
      <a:lvl4pPr marL="1828264" algn="l" defTabSz="609421" rtl="0" eaLnBrk="1" latinLnBrk="0" hangingPunct="1">
        <a:defRPr sz="2400" kern="1200">
          <a:solidFill>
            <a:schemeClr val="tx1"/>
          </a:solidFill>
          <a:latin typeface="+mn-lt"/>
          <a:ea typeface="+mn-ea"/>
          <a:cs typeface="+mn-cs"/>
        </a:defRPr>
      </a:lvl4pPr>
      <a:lvl5pPr marL="2437685" algn="l" defTabSz="609421" rtl="0" eaLnBrk="1" latinLnBrk="0" hangingPunct="1">
        <a:defRPr sz="2400" kern="1200">
          <a:solidFill>
            <a:schemeClr val="tx1"/>
          </a:solidFill>
          <a:latin typeface="+mn-lt"/>
          <a:ea typeface="+mn-ea"/>
          <a:cs typeface="+mn-cs"/>
        </a:defRPr>
      </a:lvl5pPr>
      <a:lvl6pPr marL="3047105" algn="l" defTabSz="609421" rtl="0" eaLnBrk="1" latinLnBrk="0" hangingPunct="1">
        <a:defRPr sz="2400" kern="1200">
          <a:solidFill>
            <a:schemeClr val="tx1"/>
          </a:solidFill>
          <a:latin typeface="+mn-lt"/>
          <a:ea typeface="+mn-ea"/>
          <a:cs typeface="+mn-cs"/>
        </a:defRPr>
      </a:lvl6pPr>
      <a:lvl7pPr marL="3656527" algn="l" defTabSz="609421" rtl="0" eaLnBrk="1" latinLnBrk="0" hangingPunct="1">
        <a:defRPr sz="2400" kern="1200">
          <a:solidFill>
            <a:schemeClr val="tx1"/>
          </a:solidFill>
          <a:latin typeface="+mn-lt"/>
          <a:ea typeface="+mn-ea"/>
          <a:cs typeface="+mn-cs"/>
        </a:defRPr>
      </a:lvl7pPr>
      <a:lvl8pPr marL="4265947" algn="l" defTabSz="609421" rtl="0" eaLnBrk="1" latinLnBrk="0" hangingPunct="1">
        <a:defRPr sz="2400" kern="1200">
          <a:solidFill>
            <a:schemeClr val="tx1"/>
          </a:solidFill>
          <a:latin typeface="+mn-lt"/>
          <a:ea typeface="+mn-ea"/>
          <a:cs typeface="+mn-cs"/>
        </a:defRPr>
      </a:lvl8pPr>
      <a:lvl9pPr marL="4875369" algn="l" defTabSz="609421"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865921"/>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 id="2147483831" r:id="rId17"/>
    <p:sldLayoutId id="2147483832" r:id="rId18"/>
  </p:sldLayoutIdLst>
  <p:hf hdr="0" dt="0"/>
  <p:txStyles>
    <p:titleStyle>
      <a:lvl1pPr algn="ctr" defTabSz="609356" rtl="0" eaLnBrk="1" latinLnBrk="0" hangingPunct="1">
        <a:spcBef>
          <a:spcPct val="0"/>
        </a:spcBef>
        <a:buNone/>
        <a:defRPr sz="5900" kern="1200">
          <a:solidFill>
            <a:schemeClr val="tx1"/>
          </a:solidFill>
          <a:latin typeface="+mj-lt"/>
          <a:ea typeface="+mj-ea"/>
          <a:cs typeface="+mj-cs"/>
        </a:defRPr>
      </a:lvl1pPr>
    </p:titleStyle>
    <p:bodyStyle>
      <a:lvl1pPr marL="457017" indent="-457017" algn="l" defTabSz="609356" rtl="0" eaLnBrk="1" latinLnBrk="0" hangingPunct="1">
        <a:spcBef>
          <a:spcPct val="20000"/>
        </a:spcBef>
        <a:buFont typeface="Arial"/>
        <a:buChar char="•"/>
        <a:defRPr sz="4300" kern="1200">
          <a:solidFill>
            <a:schemeClr val="tx1"/>
          </a:solidFill>
          <a:latin typeface="+mn-lt"/>
          <a:ea typeface="+mn-ea"/>
          <a:cs typeface="+mn-cs"/>
        </a:defRPr>
      </a:lvl1pPr>
      <a:lvl2pPr marL="990205" indent="-380848" algn="l" defTabSz="609356" rtl="0" eaLnBrk="1" latinLnBrk="0" hangingPunct="1">
        <a:spcBef>
          <a:spcPct val="20000"/>
        </a:spcBef>
        <a:buFont typeface="Arial"/>
        <a:buChar char="–"/>
        <a:defRPr sz="3700" kern="1200">
          <a:solidFill>
            <a:schemeClr val="tx1"/>
          </a:solidFill>
          <a:latin typeface="+mn-lt"/>
          <a:ea typeface="+mn-ea"/>
          <a:cs typeface="+mn-cs"/>
        </a:defRPr>
      </a:lvl2pPr>
      <a:lvl3pPr marL="1523392" indent="-304679" algn="l" defTabSz="609356" rtl="0" eaLnBrk="1" latinLnBrk="0" hangingPunct="1">
        <a:spcBef>
          <a:spcPct val="20000"/>
        </a:spcBef>
        <a:buFont typeface="Arial"/>
        <a:buChar char="•"/>
        <a:defRPr sz="3200" kern="1200">
          <a:solidFill>
            <a:schemeClr val="tx1"/>
          </a:solidFill>
          <a:latin typeface="+mn-lt"/>
          <a:ea typeface="+mn-ea"/>
          <a:cs typeface="+mn-cs"/>
        </a:defRPr>
      </a:lvl3pPr>
      <a:lvl4pPr marL="2132747" indent="-304679" algn="l" defTabSz="609356" rtl="0" eaLnBrk="1" latinLnBrk="0" hangingPunct="1">
        <a:spcBef>
          <a:spcPct val="20000"/>
        </a:spcBef>
        <a:buFont typeface="Arial"/>
        <a:buChar char="–"/>
        <a:defRPr sz="2700" kern="1200">
          <a:solidFill>
            <a:schemeClr val="tx1"/>
          </a:solidFill>
          <a:latin typeface="+mn-lt"/>
          <a:ea typeface="+mn-ea"/>
          <a:cs typeface="+mn-cs"/>
        </a:defRPr>
      </a:lvl4pPr>
      <a:lvl5pPr marL="2742103" indent="-304679" algn="l" defTabSz="609356" rtl="0" eaLnBrk="1" latinLnBrk="0" hangingPunct="1">
        <a:spcBef>
          <a:spcPct val="20000"/>
        </a:spcBef>
        <a:buFont typeface="Arial"/>
        <a:buChar char="»"/>
        <a:defRPr sz="2700" kern="1200">
          <a:solidFill>
            <a:schemeClr val="tx1"/>
          </a:solidFill>
          <a:latin typeface="+mn-lt"/>
          <a:ea typeface="+mn-ea"/>
          <a:cs typeface="+mn-cs"/>
        </a:defRPr>
      </a:lvl5pPr>
      <a:lvl6pPr marL="3351457" indent="-304679" algn="l" defTabSz="609356" rtl="0" eaLnBrk="1" latinLnBrk="0" hangingPunct="1">
        <a:spcBef>
          <a:spcPct val="20000"/>
        </a:spcBef>
        <a:buFont typeface="Arial"/>
        <a:buChar char="•"/>
        <a:defRPr sz="2700" kern="1200">
          <a:solidFill>
            <a:schemeClr val="tx1"/>
          </a:solidFill>
          <a:latin typeface="+mn-lt"/>
          <a:ea typeface="+mn-ea"/>
          <a:cs typeface="+mn-cs"/>
        </a:defRPr>
      </a:lvl6pPr>
      <a:lvl7pPr marL="3960816" indent="-304679" algn="l" defTabSz="609356" rtl="0" eaLnBrk="1" latinLnBrk="0" hangingPunct="1">
        <a:spcBef>
          <a:spcPct val="20000"/>
        </a:spcBef>
        <a:buFont typeface="Arial"/>
        <a:buChar char="•"/>
        <a:defRPr sz="2700" kern="1200">
          <a:solidFill>
            <a:schemeClr val="tx1"/>
          </a:solidFill>
          <a:latin typeface="+mn-lt"/>
          <a:ea typeface="+mn-ea"/>
          <a:cs typeface="+mn-cs"/>
        </a:defRPr>
      </a:lvl7pPr>
      <a:lvl8pPr marL="4570172" indent="-304679" algn="l" defTabSz="609356" rtl="0" eaLnBrk="1" latinLnBrk="0" hangingPunct="1">
        <a:spcBef>
          <a:spcPct val="20000"/>
        </a:spcBef>
        <a:buFont typeface="Arial"/>
        <a:buChar char="•"/>
        <a:defRPr sz="2700" kern="1200">
          <a:solidFill>
            <a:schemeClr val="tx1"/>
          </a:solidFill>
          <a:latin typeface="+mn-lt"/>
          <a:ea typeface="+mn-ea"/>
          <a:cs typeface="+mn-cs"/>
        </a:defRPr>
      </a:lvl8pPr>
      <a:lvl9pPr marL="5179528" indent="-304679" algn="l" defTabSz="609356"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356" rtl="0" eaLnBrk="1" latinLnBrk="0" hangingPunct="1">
        <a:defRPr sz="2400" kern="1200">
          <a:solidFill>
            <a:schemeClr val="tx1"/>
          </a:solidFill>
          <a:latin typeface="+mn-lt"/>
          <a:ea typeface="+mn-ea"/>
          <a:cs typeface="+mn-cs"/>
        </a:defRPr>
      </a:lvl1pPr>
      <a:lvl2pPr marL="609356" algn="l" defTabSz="609356" rtl="0" eaLnBrk="1" latinLnBrk="0" hangingPunct="1">
        <a:defRPr sz="2400" kern="1200">
          <a:solidFill>
            <a:schemeClr val="tx1"/>
          </a:solidFill>
          <a:latin typeface="+mn-lt"/>
          <a:ea typeface="+mn-ea"/>
          <a:cs typeface="+mn-cs"/>
        </a:defRPr>
      </a:lvl2pPr>
      <a:lvl3pPr marL="1218715" algn="l" defTabSz="609356" rtl="0" eaLnBrk="1" latinLnBrk="0" hangingPunct="1">
        <a:defRPr sz="2400" kern="1200">
          <a:solidFill>
            <a:schemeClr val="tx1"/>
          </a:solidFill>
          <a:latin typeface="+mn-lt"/>
          <a:ea typeface="+mn-ea"/>
          <a:cs typeface="+mn-cs"/>
        </a:defRPr>
      </a:lvl3pPr>
      <a:lvl4pPr marL="1828071" algn="l" defTabSz="609356" rtl="0" eaLnBrk="1" latinLnBrk="0" hangingPunct="1">
        <a:defRPr sz="2400" kern="1200">
          <a:solidFill>
            <a:schemeClr val="tx1"/>
          </a:solidFill>
          <a:latin typeface="+mn-lt"/>
          <a:ea typeface="+mn-ea"/>
          <a:cs typeface="+mn-cs"/>
        </a:defRPr>
      </a:lvl4pPr>
      <a:lvl5pPr marL="2437428" algn="l" defTabSz="609356" rtl="0" eaLnBrk="1" latinLnBrk="0" hangingPunct="1">
        <a:defRPr sz="2400" kern="1200">
          <a:solidFill>
            <a:schemeClr val="tx1"/>
          </a:solidFill>
          <a:latin typeface="+mn-lt"/>
          <a:ea typeface="+mn-ea"/>
          <a:cs typeface="+mn-cs"/>
        </a:defRPr>
      </a:lvl5pPr>
      <a:lvl6pPr marL="3046781" algn="l" defTabSz="609356" rtl="0" eaLnBrk="1" latinLnBrk="0" hangingPunct="1">
        <a:defRPr sz="2400" kern="1200">
          <a:solidFill>
            <a:schemeClr val="tx1"/>
          </a:solidFill>
          <a:latin typeface="+mn-lt"/>
          <a:ea typeface="+mn-ea"/>
          <a:cs typeface="+mn-cs"/>
        </a:defRPr>
      </a:lvl6pPr>
      <a:lvl7pPr marL="3656139" algn="l" defTabSz="609356" rtl="0" eaLnBrk="1" latinLnBrk="0" hangingPunct="1">
        <a:defRPr sz="2400" kern="1200">
          <a:solidFill>
            <a:schemeClr val="tx1"/>
          </a:solidFill>
          <a:latin typeface="+mn-lt"/>
          <a:ea typeface="+mn-ea"/>
          <a:cs typeface="+mn-cs"/>
        </a:defRPr>
      </a:lvl7pPr>
      <a:lvl8pPr marL="4265493" algn="l" defTabSz="609356" rtl="0" eaLnBrk="1" latinLnBrk="0" hangingPunct="1">
        <a:defRPr sz="2400" kern="1200">
          <a:solidFill>
            <a:schemeClr val="tx1"/>
          </a:solidFill>
          <a:latin typeface="+mn-lt"/>
          <a:ea typeface="+mn-ea"/>
          <a:cs typeface="+mn-cs"/>
        </a:defRPr>
      </a:lvl8pPr>
      <a:lvl9pPr marL="4874849" algn="l" defTabSz="609356"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7818325"/>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Lst>
  <p:hf hdr="0" dt="0"/>
  <p:txStyles>
    <p:titleStyle>
      <a:lvl1pPr algn="ctr" defTabSz="609426" rtl="0" eaLnBrk="1" latinLnBrk="0" hangingPunct="1">
        <a:spcBef>
          <a:spcPct val="0"/>
        </a:spcBef>
        <a:buNone/>
        <a:defRPr sz="5865" kern="1200">
          <a:solidFill>
            <a:schemeClr val="tx1"/>
          </a:solidFill>
          <a:latin typeface="+mj-lt"/>
          <a:ea typeface="+mj-ea"/>
          <a:cs typeface="+mj-cs"/>
        </a:defRPr>
      </a:lvl1pPr>
    </p:titleStyle>
    <p:bodyStyle>
      <a:lvl1pPr marL="457070" indent="-457070" algn="l" defTabSz="609426" rtl="0" eaLnBrk="1" latinLnBrk="0" hangingPunct="1">
        <a:spcBef>
          <a:spcPct val="20000"/>
        </a:spcBef>
        <a:buFont typeface="Arial"/>
        <a:buChar char="•"/>
        <a:defRPr sz="4266" kern="1200">
          <a:solidFill>
            <a:schemeClr val="tx1"/>
          </a:solidFill>
          <a:latin typeface="+mn-lt"/>
          <a:ea typeface="+mn-ea"/>
          <a:cs typeface="+mn-cs"/>
        </a:defRPr>
      </a:lvl1pPr>
      <a:lvl2pPr marL="990318" indent="-380891" algn="l" defTabSz="609426" rtl="0" eaLnBrk="1" latinLnBrk="0" hangingPunct="1">
        <a:spcBef>
          <a:spcPct val="20000"/>
        </a:spcBef>
        <a:buFont typeface="Arial"/>
        <a:buChar char="–"/>
        <a:defRPr sz="3732" kern="1200">
          <a:solidFill>
            <a:schemeClr val="tx1"/>
          </a:solidFill>
          <a:latin typeface="+mn-lt"/>
          <a:ea typeface="+mn-ea"/>
          <a:cs typeface="+mn-cs"/>
        </a:defRPr>
      </a:lvl2pPr>
      <a:lvl3pPr marL="1523566" indent="-304713" algn="l" defTabSz="609426" rtl="0" eaLnBrk="1" latinLnBrk="0" hangingPunct="1">
        <a:spcBef>
          <a:spcPct val="20000"/>
        </a:spcBef>
        <a:buFont typeface="Arial"/>
        <a:buChar char="•"/>
        <a:defRPr sz="3199" kern="1200">
          <a:solidFill>
            <a:schemeClr val="tx1"/>
          </a:solidFill>
          <a:latin typeface="+mn-lt"/>
          <a:ea typeface="+mn-ea"/>
          <a:cs typeface="+mn-cs"/>
        </a:defRPr>
      </a:lvl3pPr>
      <a:lvl4pPr marL="2132992" indent="-304713" algn="l" defTabSz="609426" rtl="0" eaLnBrk="1" latinLnBrk="0" hangingPunct="1">
        <a:spcBef>
          <a:spcPct val="20000"/>
        </a:spcBef>
        <a:buFont typeface="Arial"/>
        <a:buChar char="–"/>
        <a:defRPr sz="2666" kern="1200">
          <a:solidFill>
            <a:schemeClr val="tx1"/>
          </a:solidFill>
          <a:latin typeface="+mn-lt"/>
          <a:ea typeface="+mn-ea"/>
          <a:cs typeface="+mn-cs"/>
        </a:defRPr>
      </a:lvl4pPr>
      <a:lvl5pPr marL="2742418" indent="-304713" algn="l" defTabSz="609426" rtl="0" eaLnBrk="1" latinLnBrk="0" hangingPunct="1">
        <a:spcBef>
          <a:spcPct val="20000"/>
        </a:spcBef>
        <a:buFont typeface="Arial"/>
        <a:buChar char="»"/>
        <a:defRPr sz="2666" kern="1200">
          <a:solidFill>
            <a:schemeClr val="tx1"/>
          </a:solidFill>
          <a:latin typeface="+mn-lt"/>
          <a:ea typeface="+mn-ea"/>
          <a:cs typeface="+mn-cs"/>
        </a:defRPr>
      </a:lvl5pPr>
      <a:lvl6pPr marL="3351843" indent="-304713" algn="l" defTabSz="609426" rtl="0" eaLnBrk="1" latinLnBrk="0" hangingPunct="1">
        <a:spcBef>
          <a:spcPct val="20000"/>
        </a:spcBef>
        <a:buFont typeface="Arial"/>
        <a:buChar char="•"/>
        <a:defRPr sz="2666" kern="1200">
          <a:solidFill>
            <a:schemeClr val="tx1"/>
          </a:solidFill>
          <a:latin typeface="+mn-lt"/>
          <a:ea typeface="+mn-ea"/>
          <a:cs typeface="+mn-cs"/>
        </a:defRPr>
      </a:lvl6pPr>
      <a:lvl7pPr marL="3961269" indent="-304713" algn="l" defTabSz="609426" rtl="0" eaLnBrk="1" latinLnBrk="0" hangingPunct="1">
        <a:spcBef>
          <a:spcPct val="20000"/>
        </a:spcBef>
        <a:buFont typeface="Arial"/>
        <a:buChar char="•"/>
        <a:defRPr sz="2666" kern="1200">
          <a:solidFill>
            <a:schemeClr val="tx1"/>
          </a:solidFill>
          <a:latin typeface="+mn-lt"/>
          <a:ea typeface="+mn-ea"/>
          <a:cs typeface="+mn-cs"/>
        </a:defRPr>
      </a:lvl7pPr>
      <a:lvl8pPr marL="4570696" indent="-304713" algn="l" defTabSz="609426" rtl="0" eaLnBrk="1" latinLnBrk="0" hangingPunct="1">
        <a:spcBef>
          <a:spcPct val="20000"/>
        </a:spcBef>
        <a:buFont typeface="Arial"/>
        <a:buChar char="•"/>
        <a:defRPr sz="2666" kern="1200">
          <a:solidFill>
            <a:schemeClr val="tx1"/>
          </a:solidFill>
          <a:latin typeface="+mn-lt"/>
          <a:ea typeface="+mn-ea"/>
          <a:cs typeface="+mn-cs"/>
        </a:defRPr>
      </a:lvl8pPr>
      <a:lvl9pPr marL="5180122" indent="-304713" algn="l" defTabSz="609426" rtl="0" eaLnBrk="1" latinLnBrk="0" hangingPunct="1">
        <a:spcBef>
          <a:spcPct val="20000"/>
        </a:spcBef>
        <a:buFont typeface="Arial"/>
        <a:buChar char="•"/>
        <a:defRPr sz="2666" kern="1200">
          <a:solidFill>
            <a:schemeClr val="tx1"/>
          </a:solidFill>
          <a:latin typeface="+mn-lt"/>
          <a:ea typeface="+mn-ea"/>
          <a:cs typeface="+mn-cs"/>
        </a:defRPr>
      </a:lvl9pPr>
    </p:bodyStyle>
    <p:otherStyle>
      <a:defPPr>
        <a:defRPr lang="en-US"/>
      </a:defPPr>
      <a:lvl1pPr marL="0" algn="l" defTabSz="609426" rtl="0" eaLnBrk="1" latinLnBrk="0" hangingPunct="1">
        <a:defRPr sz="2399" kern="1200">
          <a:solidFill>
            <a:schemeClr val="tx1"/>
          </a:solidFill>
          <a:latin typeface="+mn-lt"/>
          <a:ea typeface="+mn-ea"/>
          <a:cs typeface="+mn-cs"/>
        </a:defRPr>
      </a:lvl1pPr>
      <a:lvl2pPr marL="609426" algn="l" defTabSz="609426" rtl="0" eaLnBrk="1" latinLnBrk="0" hangingPunct="1">
        <a:defRPr sz="2399" kern="1200">
          <a:solidFill>
            <a:schemeClr val="tx1"/>
          </a:solidFill>
          <a:latin typeface="+mn-lt"/>
          <a:ea typeface="+mn-ea"/>
          <a:cs typeface="+mn-cs"/>
        </a:defRPr>
      </a:lvl2pPr>
      <a:lvl3pPr marL="1218851" algn="l" defTabSz="609426" rtl="0" eaLnBrk="1" latinLnBrk="0" hangingPunct="1">
        <a:defRPr sz="2399" kern="1200">
          <a:solidFill>
            <a:schemeClr val="tx1"/>
          </a:solidFill>
          <a:latin typeface="+mn-lt"/>
          <a:ea typeface="+mn-ea"/>
          <a:cs typeface="+mn-cs"/>
        </a:defRPr>
      </a:lvl3pPr>
      <a:lvl4pPr marL="1828279" algn="l" defTabSz="609426" rtl="0" eaLnBrk="1" latinLnBrk="0" hangingPunct="1">
        <a:defRPr sz="2399" kern="1200">
          <a:solidFill>
            <a:schemeClr val="tx1"/>
          </a:solidFill>
          <a:latin typeface="+mn-lt"/>
          <a:ea typeface="+mn-ea"/>
          <a:cs typeface="+mn-cs"/>
        </a:defRPr>
      </a:lvl4pPr>
      <a:lvl5pPr marL="2437705" algn="l" defTabSz="609426" rtl="0" eaLnBrk="1" latinLnBrk="0" hangingPunct="1">
        <a:defRPr sz="2399" kern="1200">
          <a:solidFill>
            <a:schemeClr val="tx1"/>
          </a:solidFill>
          <a:latin typeface="+mn-lt"/>
          <a:ea typeface="+mn-ea"/>
          <a:cs typeface="+mn-cs"/>
        </a:defRPr>
      </a:lvl5pPr>
      <a:lvl6pPr marL="3047130" algn="l" defTabSz="609426" rtl="0" eaLnBrk="1" latinLnBrk="0" hangingPunct="1">
        <a:defRPr sz="2399" kern="1200">
          <a:solidFill>
            <a:schemeClr val="tx1"/>
          </a:solidFill>
          <a:latin typeface="+mn-lt"/>
          <a:ea typeface="+mn-ea"/>
          <a:cs typeface="+mn-cs"/>
        </a:defRPr>
      </a:lvl6pPr>
      <a:lvl7pPr marL="3656556" algn="l" defTabSz="609426" rtl="0" eaLnBrk="1" latinLnBrk="0" hangingPunct="1">
        <a:defRPr sz="2399" kern="1200">
          <a:solidFill>
            <a:schemeClr val="tx1"/>
          </a:solidFill>
          <a:latin typeface="+mn-lt"/>
          <a:ea typeface="+mn-ea"/>
          <a:cs typeface="+mn-cs"/>
        </a:defRPr>
      </a:lvl7pPr>
      <a:lvl8pPr marL="4265983" algn="l" defTabSz="609426" rtl="0" eaLnBrk="1" latinLnBrk="0" hangingPunct="1">
        <a:defRPr sz="2399" kern="1200">
          <a:solidFill>
            <a:schemeClr val="tx1"/>
          </a:solidFill>
          <a:latin typeface="+mn-lt"/>
          <a:ea typeface="+mn-ea"/>
          <a:cs typeface="+mn-cs"/>
        </a:defRPr>
      </a:lvl8pPr>
      <a:lvl9pPr marL="4875409" algn="l" defTabSz="609426" rtl="0" eaLnBrk="1" latinLnBrk="0" hangingPunct="1">
        <a:defRPr sz="23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797293"/>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98" r:id="rId19"/>
  </p:sldLayoutIdLst>
  <p:hf hdr="0" dt="0"/>
  <p:txStyles>
    <p:titleStyle>
      <a:lvl1pPr algn="ctr" defTabSz="609336" rtl="0" eaLnBrk="1" latinLnBrk="0" hangingPunct="1">
        <a:spcBef>
          <a:spcPct val="0"/>
        </a:spcBef>
        <a:buNone/>
        <a:defRPr sz="5865" kern="1200">
          <a:solidFill>
            <a:schemeClr val="tx1"/>
          </a:solidFill>
          <a:latin typeface="+mj-lt"/>
          <a:ea typeface="+mj-ea"/>
          <a:cs typeface="+mj-cs"/>
        </a:defRPr>
      </a:lvl1pPr>
    </p:titleStyle>
    <p:bodyStyle>
      <a:lvl1pPr marL="457003" indent="-457003" algn="l" defTabSz="609336" rtl="0" eaLnBrk="1" latinLnBrk="0" hangingPunct="1">
        <a:spcBef>
          <a:spcPct val="20000"/>
        </a:spcBef>
        <a:buFont typeface="Arial"/>
        <a:buChar char="•"/>
        <a:defRPr sz="4266" kern="1200">
          <a:solidFill>
            <a:schemeClr val="tx1"/>
          </a:solidFill>
          <a:latin typeface="+mn-lt"/>
          <a:ea typeface="+mn-ea"/>
          <a:cs typeface="+mn-cs"/>
        </a:defRPr>
      </a:lvl1pPr>
      <a:lvl2pPr marL="990172" indent="-380835" algn="l" defTabSz="609336" rtl="0" eaLnBrk="1" latinLnBrk="0" hangingPunct="1">
        <a:spcBef>
          <a:spcPct val="20000"/>
        </a:spcBef>
        <a:buFont typeface="Arial"/>
        <a:buChar char="–"/>
        <a:defRPr sz="3732" kern="1200">
          <a:solidFill>
            <a:schemeClr val="tx1"/>
          </a:solidFill>
          <a:latin typeface="+mn-lt"/>
          <a:ea typeface="+mn-ea"/>
          <a:cs typeface="+mn-cs"/>
        </a:defRPr>
      </a:lvl2pPr>
      <a:lvl3pPr marL="1523342" indent="-304668" algn="l" defTabSz="609336" rtl="0" eaLnBrk="1" latinLnBrk="0" hangingPunct="1">
        <a:spcBef>
          <a:spcPct val="20000"/>
        </a:spcBef>
        <a:buFont typeface="Arial"/>
        <a:buChar char="•"/>
        <a:defRPr sz="3199" kern="1200">
          <a:solidFill>
            <a:schemeClr val="tx1"/>
          </a:solidFill>
          <a:latin typeface="+mn-lt"/>
          <a:ea typeface="+mn-ea"/>
          <a:cs typeface="+mn-cs"/>
        </a:defRPr>
      </a:lvl3pPr>
      <a:lvl4pPr marL="2132675" indent="-304668" algn="l" defTabSz="609336" rtl="0" eaLnBrk="1" latinLnBrk="0" hangingPunct="1">
        <a:spcBef>
          <a:spcPct val="20000"/>
        </a:spcBef>
        <a:buFont typeface="Arial"/>
        <a:buChar char="–"/>
        <a:defRPr sz="2666" kern="1200">
          <a:solidFill>
            <a:schemeClr val="tx1"/>
          </a:solidFill>
          <a:latin typeface="+mn-lt"/>
          <a:ea typeface="+mn-ea"/>
          <a:cs typeface="+mn-cs"/>
        </a:defRPr>
      </a:lvl4pPr>
      <a:lvl5pPr marL="2742012" indent="-304668" algn="l" defTabSz="609336" rtl="0" eaLnBrk="1" latinLnBrk="0" hangingPunct="1">
        <a:spcBef>
          <a:spcPct val="20000"/>
        </a:spcBef>
        <a:buFont typeface="Arial"/>
        <a:buChar char="»"/>
        <a:defRPr sz="2666" kern="1200">
          <a:solidFill>
            <a:schemeClr val="tx1"/>
          </a:solidFill>
          <a:latin typeface="+mn-lt"/>
          <a:ea typeface="+mn-ea"/>
          <a:cs typeface="+mn-cs"/>
        </a:defRPr>
      </a:lvl5pPr>
      <a:lvl6pPr marL="3351346" indent="-304668" algn="l" defTabSz="609336" rtl="0" eaLnBrk="1" latinLnBrk="0" hangingPunct="1">
        <a:spcBef>
          <a:spcPct val="20000"/>
        </a:spcBef>
        <a:buFont typeface="Arial"/>
        <a:buChar char="•"/>
        <a:defRPr sz="2666" kern="1200">
          <a:solidFill>
            <a:schemeClr val="tx1"/>
          </a:solidFill>
          <a:latin typeface="+mn-lt"/>
          <a:ea typeface="+mn-ea"/>
          <a:cs typeface="+mn-cs"/>
        </a:defRPr>
      </a:lvl6pPr>
      <a:lvl7pPr marL="3960684" indent="-304668" algn="l" defTabSz="609336" rtl="0" eaLnBrk="1" latinLnBrk="0" hangingPunct="1">
        <a:spcBef>
          <a:spcPct val="20000"/>
        </a:spcBef>
        <a:buFont typeface="Arial"/>
        <a:buChar char="•"/>
        <a:defRPr sz="2666" kern="1200">
          <a:solidFill>
            <a:schemeClr val="tx1"/>
          </a:solidFill>
          <a:latin typeface="+mn-lt"/>
          <a:ea typeface="+mn-ea"/>
          <a:cs typeface="+mn-cs"/>
        </a:defRPr>
      </a:lvl7pPr>
      <a:lvl8pPr marL="4570020" indent="-304668" algn="l" defTabSz="609336" rtl="0" eaLnBrk="1" latinLnBrk="0" hangingPunct="1">
        <a:spcBef>
          <a:spcPct val="20000"/>
        </a:spcBef>
        <a:buFont typeface="Arial"/>
        <a:buChar char="•"/>
        <a:defRPr sz="2666" kern="1200">
          <a:solidFill>
            <a:schemeClr val="tx1"/>
          </a:solidFill>
          <a:latin typeface="+mn-lt"/>
          <a:ea typeface="+mn-ea"/>
          <a:cs typeface="+mn-cs"/>
        </a:defRPr>
      </a:lvl8pPr>
      <a:lvl9pPr marL="5179356" indent="-304668" algn="l" defTabSz="609336" rtl="0" eaLnBrk="1" latinLnBrk="0" hangingPunct="1">
        <a:spcBef>
          <a:spcPct val="20000"/>
        </a:spcBef>
        <a:buFont typeface="Arial"/>
        <a:buChar char="•"/>
        <a:defRPr sz="2666" kern="1200">
          <a:solidFill>
            <a:schemeClr val="tx1"/>
          </a:solidFill>
          <a:latin typeface="+mn-lt"/>
          <a:ea typeface="+mn-ea"/>
          <a:cs typeface="+mn-cs"/>
        </a:defRPr>
      </a:lvl9pPr>
    </p:bodyStyle>
    <p:otherStyle>
      <a:defPPr>
        <a:defRPr lang="en-US"/>
      </a:defPPr>
      <a:lvl1pPr marL="0" algn="l" defTabSz="609336" rtl="0" eaLnBrk="1" latinLnBrk="0" hangingPunct="1">
        <a:defRPr sz="2399" kern="1200">
          <a:solidFill>
            <a:schemeClr val="tx1"/>
          </a:solidFill>
          <a:latin typeface="+mn-lt"/>
          <a:ea typeface="+mn-ea"/>
          <a:cs typeface="+mn-cs"/>
        </a:defRPr>
      </a:lvl1pPr>
      <a:lvl2pPr marL="609336" algn="l" defTabSz="609336" rtl="0" eaLnBrk="1" latinLnBrk="0" hangingPunct="1">
        <a:defRPr sz="2399" kern="1200">
          <a:solidFill>
            <a:schemeClr val="tx1"/>
          </a:solidFill>
          <a:latin typeface="+mn-lt"/>
          <a:ea typeface="+mn-ea"/>
          <a:cs typeface="+mn-cs"/>
        </a:defRPr>
      </a:lvl2pPr>
      <a:lvl3pPr marL="1218674" algn="l" defTabSz="609336" rtl="0" eaLnBrk="1" latinLnBrk="0" hangingPunct="1">
        <a:defRPr sz="2399" kern="1200">
          <a:solidFill>
            <a:schemeClr val="tx1"/>
          </a:solidFill>
          <a:latin typeface="+mn-lt"/>
          <a:ea typeface="+mn-ea"/>
          <a:cs typeface="+mn-cs"/>
        </a:defRPr>
      </a:lvl3pPr>
      <a:lvl4pPr marL="1828010" algn="l" defTabSz="609336" rtl="0" eaLnBrk="1" latinLnBrk="0" hangingPunct="1">
        <a:defRPr sz="2399" kern="1200">
          <a:solidFill>
            <a:schemeClr val="tx1"/>
          </a:solidFill>
          <a:latin typeface="+mn-lt"/>
          <a:ea typeface="+mn-ea"/>
          <a:cs typeface="+mn-cs"/>
        </a:defRPr>
      </a:lvl4pPr>
      <a:lvl5pPr marL="2437347" algn="l" defTabSz="609336" rtl="0" eaLnBrk="1" latinLnBrk="0" hangingPunct="1">
        <a:defRPr sz="2399" kern="1200">
          <a:solidFill>
            <a:schemeClr val="tx1"/>
          </a:solidFill>
          <a:latin typeface="+mn-lt"/>
          <a:ea typeface="+mn-ea"/>
          <a:cs typeface="+mn-cs"/>
        </a:defRPr>
      </a:lvl5pPr>
      <a:lvl6pPr marL="3046681" algn="l" defTabSz="609336" rtl="0" eaLnBrk="1" latinLnBrk="0" hangingPunct="1">
        <a:defRPr sz="2399" kern="1200">
          <a:solidFill>
            <a:schemeClr val="tx1"/>
          </a:solidFill>
          <a:latin typeface="+mn-lt"/>
          <a:ea typeface="+mn-ea"/>
          <a:cs typeface="+mn-cs"/>
        </a:defRPr>
      </a:lvl6pPr>
      <a:lvl7pPr marL="3656016" algn="l" defTabSz="609336" rtl="0" eaLnBrk="1" latinLnBrk="0" hangingPunct="1">
        <a:defRPr sz="2399" kern="1200">
          <a:solidFill>
            <a:schemeClr val="tx1"/>
          </a:solidFill>
          <a:latin typeface="+mn-lt"/>
          <a:ea typeface="+mn-ea"/>
          <a:cs typeface="+mn-cs"/>
        </a:defRPr>
      </a:lvl7pPr>
      <a:lvl8pPr marL="4265351" algn="l" defTabSz="609336" rtl="0" eaLnBrk="1" latinLnBrk="0" hangingPunct="1">
        <a:defRPr sz="2399" kern="1200">
          <a:solidFill>
            <a:schemeClr val="tx1"/>
          </a:solidFill>
          <a:latin typeface="+mn-lt"/>
          <a:ea typeface="+mn-ea"/>
          <a:cs typeface="+mn-cs"/>
        </a:defRPr>
      </a:lvl8pPr>
      <a:lvl9pPr marL="4874688" algn="l" defTabSz="609336" rtl="0" eaLnBrk="1" latinLnBrk="0" hangingPunct="1">
        <a:defRPr sz="239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nvPr>
        </p:nvGraphicFramePr>
        <p:xfrm>
          <a:off x="2119" y="2119"/>
          <a:ext cx="2115" cy="2116"/>
        </p:xfrm>
        <a:graphic>
          <a:graphicData uri="http://schemas.openxmlformats.org/presentationml/2006/ole">
            <mc:AlternateContent xmlns:mc="http://schemas.openxmlformats.org/markup-compatibility/2006">
              <mc:Choice xmlns:v="urn:schemas-microsoft-com:vml" Requires="v">
                <p:oleObj spid="_x0000_s3162"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2119" y="2119"/>
                        <a:ext cx="2115" cy="2116"/>
                      </a:xfrm>
                      <a:prstGeom prst="rect">
                        <a:avLst/>
                      </a:prstGeom>
                    </p:spPr>
                  </p:pic>
                </p:oleObj>
              </mc:Fallback>
            </mc:AlternateContent>
          </a:graphicData>
        </a:graphic>
      </p:graphicFrame>
    </p:spTree>
    <p:extLst>
      <p:ext uri="{BB962C8B-B14F-4D97-AF65-F5344CB8AC3E}">
        <p14:creationId xmlns:p14="http://schemas.microsoft.com/office/powerpoint/2010/main" val="2800618571"/>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Lst>
  <p:hf hdr="0" dt="0"/>
  <p:txStyles>
    <p:titleStyle>
      <a:lvl1pPr algn="ctr" defTabSz="609433" rtl="0" eaLnBrk="1" latinLnBrk="0" hangingPunct="1">
        <a:spcBef>
          <a:spcPct val="0"/>
        </a:spcBef>
        <a:buNone/>
        <a:defRPr sz="5865" kern="1200">
          <a:solidFill>
            <a:schemeClr val="tx1"/>
          </a:solidFill>
          <a:latin typeface="+mj-lt"/>
          <a:ea typeface="+mj-ea"/>
          <a:cs typeface="+mj-cs"/>
        </a:defRPr>
      </a:lvl1pPr>
    </p:titleStyle>
    <p:bodyStyle>
      <a:lvl1pPr marL="457075" indent="-457075" algn="l" defTabSz="609433" rtl="0" eaLnBrk="1" latinLnBrk="0" hangingPunct="1">
        <a:spcBef>
          <a:spcPct val="20000"/>
        </a:spcBef>
        <a:buFont typeface="Arial"/>
        <a:buChar char="•"/>
        <a:defRPr sz="4266" kern="1200">
          <a:solidFill>
            <a:schemeClr val="tx1"/>
          </a:solidFill>
          <a:latin typeface="+mn-lt"/>
          <a:ea typeface="+mn-ea"/>
          <a:cs typeface="+mn-cs"/>
        </a:defRPr>
      </a:lvl1pPr>
      <a:lvl2pPr marL="990327" indent="-380895" algn="l" defTabSz="609433" rtl="0" eaLnBrk="1" latinLnBrk="0" hangingPunct="1">
        <a:spcBef>
          <a:spcPct val="20000"/>
        </a:spcBef>
        <a:buFont typeface="Arial"/>
        <a:buChar char="–"/>
        <a:defRPr sz="3732" kern="1200">
          <a:solidFill>
            <a:schemeClr val="tx1"/>
          </a:solidFill>
          <a:latin typeface="+mn-lt"/>
          <a:ea typeface="+mn-ea"/>
          <a:cs typeface="+mn-cs"/>
        </a:defRPr>
      </a:lvl2pPr>
      <a:lvl3pPr marL="1523582" indent="-304716" algn="l" defTabSz="609433" rtl="0" eaLnBrk="1" latinLnBrk="0" hangingPunct="1">
        <a:spcBef>
          <a:spcPct val="20000"/>
        </a:spcBef>
        <a:buFont typeface="Arial"/>
        <a:buChar char="•"/>
        <a:defRPr sz="3199" kern="1200">
          <a:solidFill>
            <a:schemeClr val="tx1"/>
          </a:solidFill>
          <a:latin typeface="+mn-lt"/>
          <a:ea typeface="+mn-ea"/>
          <a:cs typeface="+mn-cs"/>
        </a:defRPr>
      </a:lvl3pPr>
      <a:lvl4pPr marL="2133013" indent="-304716" algn="l" defTabSz="609433" rtl="0" eaLnBrk="1" latinLnBrk="0" hangingPunct="1">
        <a:spcBef>
          <a:spcPct val="20000"/>
        </a:spcBef>
        <a:buFont typeface="Arial"/>
        <a:buChar char="–"/>
        <a:defRPr sz="2666" kern="1200">
          <a:solidFill>
            <a:schemeClr val="tx1"/>
          </a:solidFill>
          <a:latin typeface="+mn-lt"/>
          <a:ea typeface="+mn-ea"/>
          <a:cs typeface="+mn-cs"/>
        </a:defRPr>
      </a:lvl4pPr>
      <a:lvl5pPr marL="2742445" indent="-304716" algn="l" defTabSz="609433" rtl="0" eaLnBrk="1" latinLnBrk="0" hangingPunct="1">
        <a:spcBef>
          <a:spcPct val="20000"/>
        </a:spcBef>
        <a:buFont typeface="Arial"/>
        <a:buChar char="»"/>
        <a:defRPr sz="2666" kern="1200">
          <a:solidFill>
            <a:schemeClr val="tx1"/>
          </a:solidFill>
          <a:latin typeface="+mn-lt"/>
          <a:ea typeface="+mn-ea"/>
          <a:cs typeface="+mn-cs"/>
        </a:defRPr>
      </a:lvl5pPr>
      <a:lvl6pPr marL="3351878" indent="-304716" algn="l" defTabSz="609433" rtl="0" eaLnBrk="1" latinLnBrk="0" hangingPunct="1">
        <a:spcBef>
          <a:spcPct val="20000"/>
        </a:spcBef>
        <a:buFont typeface="Arial"/>
        <a:buChar char="•"/>
        <a:defRPr sz="2666" kern="1200">
          <a:solidFill>
            <a:schemeClr val="tx1"/>
          </a:solidFill>
          <a:latin typeface="+mn-lt"/>
          <a:ea typeface="+mn-ea"/>
          <a:cs typeface="+mn-cs"/>
        </a:defRPr>
      </a:lvl6pPr>
      <a:lvl7pPr marL="3961311" indent="-304716" algn="l" defTabSz="609433" rtl="0" eaLnBrk="1" latinLnBrk="0" hangingPunct="1">
        <a:spcBef>
          <a:spcPct val="20000"/>
        </a:spcBef>
        <a:buFont typeface="Arial"/>
        <a:buChar char="•"/>
        <a:defRPr sz="2666" kern="1200">
          <a:solidFill>
            <a:schemeClr val="tx1"/>
          </a:solidFill>
          <a:latin typeface="+mn-lt"/>
          <a:ea typeface="+mn-ea"/>
          <a:cs typeface="+mn-cs"/>
        </a:defRPr>
      </a:lvl7pPr>
      <a:lvl8pPr marL="4570744" indent="-304716" algn="l" defTabSz="609433" rtl="0" eaLnBrk="1" latinLnBrk="0" hangingPunct="1">
        <a:spcBef>
          <a:spcPct val="20000"/>
        </a:spcBef>
        <a:buFont typeface="Arial"/>
        <a:buChar char="•"/>
        <a:defRPr sz="2666" kern="1200">
          <a:solidFill>
            <a:schemeClr val="tx1"/>
          </a:solidFill>
          <a:latin typeface="+mn-lt"/>
          <a:ea typeface="+mn-ea"/>
          <a:cs typeface="+mn-cs"/>
        </a:defRPr>
      </a:lvl8pPr>
      <a:lvl9pPr marL="5180175" indent="-304716" algn="l" defTabSz="609433" rtl="0" eaLnBrk="1" latinLnBrk="0" hangingPunct="1">
        <a:spcBef>
          <a:spcPct val="20000"/>
        </a:spcBef>
        <a:buFont typeface="Arial"/>
        <a:buChar char="•"/>
        <a:defRPr sz="2666" kern="1200">
          <a:solidFill>
            <a:schemeClr val="tx1"/>
          </a:solidFill>
          <a:latin typeface="+mn-lt"/>
          <a:ea typeface="+mn-ea"/>
          <a:cs typeface="+mn-cs"/>
        </a:defRPr>
      </a:lvl9pPr>
    </p:bodyStyle>
    <p:otherStyle>
      <a:defPPr>
        <a:defRPr lang="en-US"/>
      </a:defPPr>
      <a:lvl1pPr marL="0" algn="l" defTabSz="609433" rtl="0" eaLnBrk="1" latinLnBrk="0" hangingPunct="1">
        <a:defRPr sz="2399" kern="1200">
          <a:solidFill>
            <a:schemeClr val="tx1"/>
          </a:solidFill>
          <a:latin typeface="+mn-lt"/>
          <a:ea typeface="+mn-ea"/>
          <a:cs typeface="+mn-cs"/>
        </a:defRPr>
      </a:lvl1pPr>
      <a:lvl2pPr marL="609433" algn="l" defTabSz="609433" rtl="0" eaLnBrk="1" latinLnBrk="0" hangingPunct="1">
        <a:defRPr sz="2399" kern="1200">
          <a:solidFill>
            <a:schemeClr val="tx1"/>
          </a:solidFill>
          <a:latin typeface="+mn-lt"/>
          <a:ea typeface="+mn-ea"/>
          <a:cs typeface="+mn-cs"/>
        </a:defRPr>
      </a:lvl2pPr>
      <a:lvl3pPr marL="1218866" algn="l" defTabSz="609433" rtl="0" eaLnBrk="1" latinLnBrk="0" hangingPunct="1">
        <a:defRPr sz="2399" kern="1200">
          <a:solidFill>
            <a:schemeClr val="tx1"/>
          </a:solidFill>
          <a:latin typeface="+mn-lt"/>
          <a:ea typeface="+mn-ea"/>
          <a:cs typeface="+mn-cs"/>
        </a:defRPr>
      </a:lvl3pPr>
      <a:lvl4pPr marL="1828297" algn="l" defTabSz="609433" rtl="0" eaLnBrk="1" latinLnBrk="0" hangingPunct="1">
        <a:defRPr sz="2399" kern="1200">
          <a:solidFill>
            <a:schemeClr val="tx1"/>
          </a:solidFill>
          <a:latin typeface="+mn-lt"/>
          <a:ea typeface="+mn-ea"/>
          <a:cs typeface="+mn-cs"/>
        </a:defRPr>
      </a:lvl4pPr>
      <a:lvl5pPr marL="2437729" algn="l" defTabSz="609433" rtl="0" eaLnBrk="1" latinLnBrk="0" hangingPunct="1">
        <a:defRPr sz="2399" kern="1200">
          <a:solidFill>
            <a:schemeClr val="tx1"/>
          </a:solidFill>
          <a:latin typeface="+mn-lt"/>
          <a:ea typeface="+mn-ea"/>
          <a:cs typeface="+mn-cs"/>
        </a:defRPr>
      </a:lvl5pPr>
      <a:lvl6pPr marL="3047162" algn="l" defTabSz="609433" rtl="0" eaLnBrk="1" latinLnBrk="0" hangingPunct="1">
        <a:defRPr sz="2399" kern="1200">
          <a:solidFill>
            <a:schemeClr val="tx1"/>
          </a:solidFill>
          <a:latin typeface="+mn-lt"/>
          <a:ea typeface="+mn-ea"/>
          <a:cs typeface="+mn-cs"/>
        </a:defRPr>
      </a:lvl6pPr>
      <a:lvl7pPr marL="3656595" algn="l" defTabSz="609433" rtl="0" eaLnBrk="1" latinLnBrk="0" hangingPunct="1">
        <a:defRPr sz="2399" kern="1200">
          <a:solidFill>
            <a:schemeClr val="tx1"/>
          </a:solidFill>
          <a:latin typeface="+mn-lt"/>
          <a:ea typeface="+mn-ea"/>
          <a:cs typeface="+mn-cs"/>
        </a:defRPr>
      </a:lvl7pPr>
      <a:lvl8pPr marL="4266027" algn="l" defTabSz="609433" rtl="0" eaLnBrk="1" latinLnBrk="0" hangingPunct="1">
        <a:defRPr sz="2399" kern="1200">
          <a:solidFill>
            <a:schemeClr val="tx1"/>
          </a:solidFill>
          <a:latin typeface="+mn-lt"/>
          <a:ea typeface="+mn-ea"/>
          <a:cs typeface="+mn-cs"/>
        </a:defRPr>
      </a:lvl8pPr>
      <a:lvl9pPr marL="4875459" algn="l" defTabSz="609433" rtl="0" eaLnBrk="1" latinLnBrk="0" hangingPunct="1">
        <a:defRPr sz="23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xml"/><Relationship Id="rId1" Type="http://schemas.openxmlformats.org/officeDocument/2006/relationships/slideLayout" Target="../slideLayouts/slideLayout142.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8" Type="http://schemas.openxmlformats.org/officeDocument/2006/relationships/image" Target="../media/image64.jpeg"/><Relationship Id="rId13" Type="http://schemas.openxmlformats.org/officeDocument/2006/relationships/image" Target="../media/image69.png"/><Relationship Id="rId18" Type="http://schemas.openxmlformats.org/officeDocument/2006/relationships/image" Target="../media/image74.emf"/><Relationship Id="rId26" Type="http://schemas.openxmlformats.org/officeDocument/2006/relationships/image" Target="../media/image80.png"/><Relationship Id="rId3" Type="http://schemas.openxmlformats.org/officeDocument/2006/relationships/image" Target="../media/image59.emf"/><Relationship Id="rId21" Type="http://schemas.openxmlformats.org/officeDocument/2006/relationships/image" Target="../media/image77.png"/><Relationship Id="rId7" Type="http://schemas.openxmlformats.org/officeDocument/2006/relationships/image" Target="../media/image63.jpeg"/><Relationship Id="rId12" Type="http://schemas.openxmlformats.org/officeDocument/2006/relationships/image" Target="../media/image68.png"/><Relationship Id="rId17" Type="http://schemas.openxmlformats.org/officeDocument/2006/relationships/image" Target="../media/image73.emf"/><Relationship Id="rId25" Type="http://schemas.microsoft.com/office/2007/relationships/hdphoto" Target="../media/hdphoto3.wdp"/><Relationship Id="rId2" Type="http://schemas.openxmlformats.org/officeDocument/2006/relationships/notesSlide" Target="../notesSlides/notesSlide11.xml"/><Relationship Id="rId16" Type="http://schemas.openxmlformats.org/officeDocument/2006/relationships/image" Target="../media/image72.png"/><Relationship Id="rId20" Type="http://schemas.openxmlformats.org/officeDocument/2006/relationships/image" Target="../media/image76.png"/><Relationship Id="rId1" Type="http://schemas.openxmlformats.org/officeDocument/2006/relationships/slideLayout" Target="../slideLayouts/slideLayout36.xml"/><Relationship Id="rId6" Type="http://schemas.openxmlformats.org/officeDocument/2006/relationships/image" Target="../media/image62.png"/><Relationship Id="rId11" Type="http://schemas.openxmlformats.org/officeDocument/2006/relationships/image" Target="../media/image67.png"/><Relationship Id="rId24" Type="http://schemas.openxmlformats.org/officeDocument/2006/relationships/image" Target="../media/image79.png"/><Relationship Id="rId5" Type="http://schemas.openxmlformats.org/officeDocument/2006/relationships/image" Target="../media/image61.png"/><Relationship Id="rId15" Type="http://schemas.openxmlformats.org/officeDocument/2006/relationships/image" Target="../media/image71.png"/><Relationship Id="rId23" Type="http://schemas.microsoft.com/office/2007/relationships/hdphoto" Target="../media/hdphoto2.wdp"/><Relationship Id="rId10" Type="http://schemas.openxmlformats.org/officeDocument/2006/relationships/image" Target="../media/image66.png"/><Relationship Id="rId19" Type="http://schemas.openxmlformats.org/officeDocument/2006/relationships/image" Target="../media/image75.png"/><Relationship Id="rId4" Type="http://schemas.openxmlformats.org/officeDocument/2006/relationships/image" Target="../media/image60.jpeg"/><Relationship Id="rId9" Type="http://schemas.openxmlformats.org/officeDocument/2006/relationships/image" Target="../media/image65.png"/><Relationship Id="rId14" Type="http://schemas.openxmlformats.org/officeDocument/2006/relationships/image" Target="../media/image70.jpeg"/><Relationship Id="rId22" Type="http://schemas.openxmlformats.org/officeDocument/2006/relationships/image" Target="../media/image78.png"/></Relationships>
</file>

<file path=ppt/slides/_rels/slide12.xml.rels><?xml version="1.0" encoding="UTF-8" standalone="yes"?>
<Relationships xmlns="http://schemas.openxmlformats.org/package/2006/relationships"><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image" Target="../media/image81.jpeg"/><Relationship Id="rId1" Type="http://schemas.openxmlformats.org/officeDocument/2006/relationships/slideLayout" Target="../slideLayouts/slideLayout35.xml"/><Relationship Id="rId6" Type="http://schemas.openxmlformats.org/officeDocument/2006/relationships/image" Target="../media/image85.jpeg"/><Relationship Id="rId5" Type="http://schemas.openxmlformats.org/officeDocument/2006/relationships/image" Target="../media/image84.jpeg"/><Relationship Id="rId4" Type="http://schemas.openxmlformats.org/officeDocument/2006/relationships/image" Target="../media/image83.jpeg"/></Relationships>
</file>

<file path=ppt/slides/_rels/slide13.xml.rels><?xml version="1.0" encoding="UTF-8" standalone="yes"?>
<Relationships xmlns="http://schemas.openxmlformats.org/package/2006/relationships"><Relationship Id="rId3" Type="http://schemas.openxmlformats.org/officeDocument/2006/relationships/image" Target="../media/image87.jpeg"/><Relationship Id="rId7" Type="http://schemas.openxmlformats.org/officeDocument/2006/relationships/image" Target="../media/image90.png"/><Relationship Id="rId2" Type="http://schemas.openxmlformats.org/officeDocument/2006/relationships/notesSlide" Target="../notesSlides/notesSlide12.xml"/><Relationship Id="rId1" Type="http://schemas.openxmlformats.org/officeDocument/2006/relationships/slideLayout" Target="../slideLayouts/slideLayout36.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13.xml"/><Relationship Id="rId1" Type="http://schemas.openxmlformats.org/officeDocument/2006/relationships/slideLayout" Target="../slideLayouts/slideLayout7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8.xml"/></Relationships>
</file>

<file path=ppt/slides/_rels/slide16.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15.xml"/><Relationship Id="rId1" Type="http://schemas.openxmlformats.org/officeDocument/2006/relationships/slideLayout" Target="../slideLayouts/slideLayout78.xml"/><Relationship Id="rId4" Type="http://schemas.openxmlformats.org/officeDocument/2006/relationships/image" Target="../media/image92.jpeg"/></Relationships>
</file>

<file path=ppt/slides/_rels/slide17.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16.xml"/><Relationship Id="rId1" Type="http://schemas.openxmlformats.org/officeDocument/2006/relationships/slideLayout" Target="../slideLayouts/slideLayout7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8.xml"/></Relationships>
</file>

<file path=ppt/slides/_rels/slide19.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18.xml"/><Relationship Id="rId1" Type="http://schemas.openxmlformats.org/officeDocument/2006/relationships/slideLayout" Target="../slideLayouts/slideLayout78.xml"/><Relationship Id="rId4" Type="http://schemas.openxmlformats.org/officeDocument/2006/relationships/image" Target="../media/image94.jpeg"/></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image" Target="../media/image21.jpe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123.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jpeg"/><Relationship Id="rId9" Type="http://schemas.openxmlformats.org/officeDocument/2006/relationships/image" Target="../media/image27.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95.jpeg"/><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63.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jpeg"/><Relationship Id="rId9" Type="http://schemas.openxmlformats.org/officeDocument/2006/relationships/image" Target="../media/image38.png"/></Relationships>
</file>

<file path=ppt/slides/_rels/slide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4.xml"/><Relationship Id="rId1" Type="http://schemas.openxmlformats.org/officeDocument/2006/relationships/slideLayout" Target="../slideLayouts/slideLayout87.xml"/></Relationships>
</file>

<file path=ppt/slides/_rels/slide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5.xml"/><Relationship Id="rId1" Type="http://schemas.openxmlformats.org/officeDocument/2006/relationships/slideLayout" Target="../slideLayouts/slideLayout34.xml"/><Relationship Id="rId4" Type="http://schemas.openxmlformats.org/officeDocument/2006/relationships/image" Target="../media/image42.png"/></Relationships>
</file>

<file path=ppt/slides/_rels/slide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89.xml"/></Relationships>
</file>

<file path=ppt/slides/_rels/slide7.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148.xml"/><Relationship Id="rId5" Type="http://schemas.openxmlformats.org/officeDocument/2006/relationships/image" Target="../media/image51.emf"/><Relationship Id="rId4" Type="http://schemas.openxmlformats.org/officeDocument/2006/relationships/image" Target="../media/image50.png"/></Relationships>
</file>

<file path=ppt/slides/_rels/slide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8.xml"/><Relationship Id="rId7" Type="http://schemas.openxmlformats.org/officeDocument/2006/relationships/image" Target="../media/image52.png"/><Relationship Id="rId12" Type="http://schemas.openxmlformats.org/officeDocument/2006/relationships/image" Target="../media/image57.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9.emf"/><Relationship Id="rId11" Type="http://schemas.openxmlformats.org/officeDocument/2006/relationships/image" Target="../media/image56.png"/><Relationship Id="rId5" Type="http://schemas.openxmlformats.org/officeDocument/2006/relationships/oleObject" Target="../embeddings/oleObject3.bin"/><Relationship Id="rId10" Type="http://schemas.openxmlformats.org/officeDocument/2006/relationships/image" Target="../media/image55.png"/><Relationship Id="rId4" Type="http://schemas.openxmlformats.org/officeDocument/2006/relationships/notesSlide" Target="../notesSlides/notesSlide9.xml"/><Relationship Id="rId9" Type="http://schemas.openxmlformats.org/officeDocument/2006/relationships/image" Target="../media/image5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2" y="893"/>
            <a:ext cx="12178000" cy="6856214"/>
          </a:xfrm>
          <a:prstGeom prst="rect">
            <a:avLst/>
          </a:prstGeom>
        </p:spPr>
      </p:pic>
      <p:pic>
        <p:nvPicPr>
          <p:cNvPr id="5" name="Picture 4" descr="schneider_LIO_Life-Green_RGB.png"/>
          <p:cNvPicPr>
            <a:picLocks noChangeAspect="1"/>
          </p:cNvPicPr>
          <p:nvPr/>
        </p:nvPicPr>
        <p:blipFill>
          <a:blip r:embed="rId4" cstate="print">
            <a:biLevel thresh="25000"/>
            <a:extLst>
              <a:ext uri="{28A0092B-C50C-407E-A947-70E740481C1C}">
                <a14:useLocalDpi xmlns:a14="http://schemas.microsoft.com/office/drawing/2010/main"/>
              </a:ext>
            </a:extLst>
          </a:blip>
          <a:stretch>
            <a:fillRect/>
          </a:stretch>
        </p:blipFill>
        <p:spPr>
          <a:xfrm>
            <a:off x="9049293" y="5992662"/>
            <a:ext cx="2721688" cy="750409"/>
          </a:xfrm>
          <a:prstGeom prst="rect">
            <a:avLst/>
          </a:prstGeom>
        </p:spPr>
      </p:pic>
      <p:sp>
        <p:nvSpPr>
          <p:cNvPr id="6" name="object 3"/>
          <p:cNvSpPr/>
          <p:nvPr/>
        </p:nvSpPr>
        <p:spPr>
          <a:xfrm flipH="1">
            <a:off x="0" y="6278138"/>
            <a:ext cx="8926012" cy="175933"/>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solidFill>
        </p:spPr>
        <p:txBody>
          <a:bodyPr wrap="square" lIns="0" tIns="0" rIns="0" bIns="0" rtlCol="0"/>
          <a:lstStyle/>
          <a:p>
            <a:pPr defTabSz="608192">
              <a:defRPr/>
            </a:pPr>
            <a:endParaRPr sz="2398">
              <a:solidFill>
                <a:prstClr val="black"/>
              </a:solidFill>
              <a:latin typeface="Arial Rounded MT Std" panose="020F0502020102020204" pitchFamily="34" charset="0"/>
            </a:endParaRPr>
          </a:p>
        </p:txBody>
      </p:sp>
      <p:sp>
        <p:nvSpPr>
          <p:cNvPr id="8" name="object 3"/>
          <p:cNvSpPr/>
          <p:nvPr/>
        </p:nvSpPr>
        <p:spPr>
          <a:xfrm flipH="1">
            <a:off x="11894261" y="6278138"/>
            <a:ext cx="294563" cy="175933"/>
          </a:xfrm>
          <a:custGeom>
            <a:avLst/>
            <a:gdLst/>
            <a:ahLst/>
            <a:cxnLst/>
            <a:rect l="l" t="t" r="r" b="b"/>
            <a:pathLst>
              <a:path w="20104100" h="3634104">
                <a:moveTo>
                  <a:pt x="0" y="3634056"/>
                </a:moveTo>
                <a:lnTo>
                  <a:pt x="20104100" y="3634056"/>
                </a:lnTo>
                <a:lnTo>
                  <a:pt x="20104100" y="0"/>
                </a:lnTo>
                <a:lnTo>
                  <a:pt x="0" y="0"/>
                </a:lnTo>
                <a:lnTo>
                  <a:pt x="0" y="3634056"/>
                </a:lnTo>
                <a:close/>
              </a:path>
            </a:pathLst>
          </a:custGeom>
          <a:solidFill>
            <a:schemeClr val="tx2"/>
          </a:solidFill>
        </p:spPr>
        <p:txBody>
          <a:bodyPr wrap="square" lIns="0" tIns="0" rIns="0" bIns="0" rtlCol="0"/>
          <a:lstStyle/>
          <a:p>
            <a:pPr defTabSz="608192">
              <a:defRPr/>
            </a:pPr>
            <a:endParaRPr sz="2398">
              <a:solidFill>
                <a:prstClr val="black"/>
              </a:solidFill>
              <a:latin typeface="Arial Rounded MT Std" panose="020F0502020102020204" pitchFamily="34" charset="0"/>
            </a:endParaRPr>
          </a:p>
        </p:txBody>
      </p:sp>
      <p:sp>
        <p:nvSpPr>
          <p:cNvPr id="7" name="Rectangle 6"/>
          <p:cNvSpPr/>
          <p:nvPr/>
        </p:nvSpPr>
        <p:spPr>
          <a:xfrm>
            <a:off x="333289" y="3747618"/>
            <a:ext cx="11560971" cy="1643527"/>
          </a:xfrm>
          <a:prstGeom prst="rect">
            <a:avLst/>
          </a:prstGeom>
        </p:spPr>
        <p:txBody>
          <a:bodyPr wrap="square">
            <a:spAutoFit/>
          </a:bodyPr>
          <a:lstStyle/>
          <a:p>
            <a:pPr lvl="0" algn="ctr">
              <a:defRPr/>
            </a:pPr>
            <a:r>
              <a:rPr lang="pl-PL" sz="3600" b="1" dirty="0" err="1">
                <a:solidFill>
                  <a:prstClr val="white"/>
                </a:solidFill>
              </a:rPr>
              <a:t>Ec</a:t>
            </a:r>
            <a:r>
              <a:rPr lang="fr-FR" sz="3600" b="1" dirty="0" err="1">
                <a:solidFill>
                  <a:prstClr val="white"/>
                </a:solidFill>
                <a:latin typeface="Arial MT Pro" charset="0"/>
                <a:ea typeface="Arial MT Pro" charset="0"/>
                <a:cs typeface="Arial MT Pro" charset="0"/>
              </a:rPr>
              <a:t>oStruxure</a:t>
            </a:r>
            <a:r>
              <a:rPr lang="fr-FR" sz="3600" b="1" dirty="0">
                <a:solidFill>
                  <a:prstClr val="white"/>
                </a:solidFill>
                <a:latin typeface="Arial" panose="020B0604020202020204" pitchFamily="34" charset="0"/>
                <a:ea typeface="Arial MT Pro" charset="0"/>
                <a:cs typeface="Arial" panose="020B0604020202020204" pitchFamily="34" charset="0"/>
              </a:rPr>
              <a:t>™</a:t>
            </a:r>
            <a:r>
              <a:rPr lang="fr-FR" sz="3600" b="1" dirty="0">
                <a:solidFill>
                  <a:prstClr val="white"/>
                </a:solidFill>
                <a:latin typeface="Arial MT Pro" charset="0"/>
                <a:ea typeface="Arial MT Pro" charset="0"/>
                <a:cs typeface="Arial MT Pro" charset="0"/>
              </a:rPr>
              <a:t> Power</a:t>
            </a:r>
            <a:endParaRPr lang="en-US" sz="3600" b="1" dirty="0">
              <a:solidFill>
                <a:prstClr val="white"/>
              </a:solidFill>
            </a:endParaRPr>
          </a:p>
          <a:p>
            <a:pPr lvl="0" algn="ctr" defTabSz="711200">
              <a:lnSpc>
                <a:spcPct val="90000"/>
              </a:lnSpc>
              <a:spcBef>
                <a:spcPct val="0"/>
              </a:spcBef>
              <a:spcAft>
                <a:spcPct val="35000"/>
              </a:spcAft>
            </a:pPr>
            <a:r>
              <a:rPr lang="fr-FR" sz="3600" b="1" dirty="0" err="1">
                <a:solidFill>
                  <a:schemeClr val="bg1"/>
                </a:solidFill>
              </a:rPr>
              <a:t>Solutii</a:t>
            </a:r>
            <a:r>
              <a:rPr lang="fr-FR" sz="3600" b="1" dirty="0">
                <a:solidFill>
                  <a:schemeClr val="bg1"/>
                </a:solidFill>
              </a:rPr>
              <a:t> de </a:t>
            </a:r>
            <a:r>
              <a:rPr lang="fr-FR" sz="3600" b="1" dirty="0" err="1">
                <a:solidFill>
                  <a:schemeClr val="bg1"/>
                </a:solidFill>
              </a:rPr>
              <a:t>distributie</a:t>
            </a:r>
            <a:r>
              <a:rPr lang="fr-FR" sz="3600" b="1" dirty="0">
                <a:solidFill>
                  <a:schemeClr val="bg1"/>
                </a:solidFill>
              </a:rPr>
              <a:t> a </a:t>
            </a:r>
            <a:r>
              <a:rPr lang="fr-FR" sz="3600" b="1" dirty="0" err="1">
                <a:solidFill>
                  <a:schemeClr val="bg1"/>
                </a:solidFill>
              </a:rPr>
              <a:t>energiei</a:t>
            </a:r>
            <a:r>
              <a:rPr lang="fr-FR" sz="3600" b="1" dirty="0">
                <a:solidFill>
                  <a:schemeClr val="bg1"/>
                </a:solidFill>
              </a:rPr>
              <a:t> </a:t>
            </a:r>
            <a:r>
              <a:rPr lang="fr-FR" sz="3600" b="1" dirty="0" err="1">
                <a:solidFill>
                  <a:schemeClr val="bg1"/>
                </a:solidFill>
              </a:rPr>
              <a:t>electrice</a:t>
            </a:r>
            <a:r>
              <a:rPr lang="fr-FR" sz="3600" b="1" dirty="0">
                <a:solidFill>
                  <a:schemeClr val="bg1"/>
                </a:solidFill>
              </a:rPr>
              <a:t> </a:t>
            </a:r>
            <a:r>
              <a:rPr lang="fr-FR" sz="3600" b="1" dirty="0" err="1">
                <a:solidFill>
                  <a:schemeClr val="bg1"/>
                </a:solidFill>
              </a:rPr>
              <a:t>pentru</a:t>
            </a:r>
            <a:r>
              <a:rPr lang="fr-FR" sz="3600" b="1" dirty="0">
                <a:solidFill>
                  <a:schemeClr val="bg1"/>
                </a:solidFill>
              </a:rPr>
              <a:t> </a:t>
            </a:r>
            <a:r>
              <a:rPr lang="fr-FR" sz="3600" b="1" i="1" dirty="0" err="1">
                <a:solidFill>
                  <a:schemeClr val="tx2"/>
                </a:solidFill>
              </a:rPr>
              <a:t>Cladiri</a:t>
            </a:r>
            <a:r>
              <a:rPr lang="fr-FR" sz="3600" b="1" i="1" dirty="0">
                <a:solidFill>
                  <a:schemeClr val="tx2"/>
                </a:solidFill>
              </a:rPr>
              <a:t> </a:t>
            </a:r>
            <a:r>
              <a:rPr lang="fr-FR" sz="3600" b="1" i="1" dirty="0" err="1">
                <a:solidFill>
                  <a:schemeClr val="tx2"/>
                </a:solidFill>
              </a:rPr>
              <a:t>Inteligente</a:t>
            </a:r>
            <a:endParaRPr lang="fr-FR" sz="3600" b="1" i="1" dirty="0">
              <a:solidFill>
                <a:schemeClr val="tx2"/>
              </a:solidFill>
            </a:endParaRPr>
          </a:p>
        </p:txBody>
      </p:sp>
    </p:spTree>
    <p:extLst>
      <p:ext uri="{BB962C8B-B14F-4D97-AF65-F5344CB8AC3E}">
        <p14:creationId xmlns:p14="http://schemas.microsoft.com/office/powerpoint/2010/main" val="12509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271473"/>
            <a:ext cx="11399679" cy="1603047"/>
          </a:xfrm>
        </p:spPr>
        <p:txBody>
          <a:bodyPr/>
          <a:lstStyle/>
          <a:p>
            <a:r>
              <a:rPr lang="en-US" sz="3200" dirty="0" err="1">
                <a:solidFill>
                  <a:srgbClr val="000000"/>
                </a:solidFill>
              </a:rPr>
              <a:t>Concret</a:t>
            </a:r>
            <a:r>
              <a:rPr lang="en-US" sz="3200" dirty="0">
                <a:solidFill>
                  <a:srgbClr val="000000"/>
                </a:solidFill>
              </a:rPr>
              <a:t>…</a:t>
            </a:r>
            <a:br>
              <a:rPr lang="en-US" dirty="0">
                <a:solidFill>
                  <a:srgbClr val="000000"/>
                </a:solidFill>
              </a:rPr>
            </a:br>
            <a:r>
              <a:rPr lang="en-US" i="1" dirty="0" err="1">
                <a:solidFill>
                  <a:srgbClr val="000000"/>
                </a:solidFill>
              </a:rPr>
              <a:t>Echipamente</a:t>
            </a:r>
            <a:r>
              <a:rPr lang="en-US" i="1" dirty="0">
                <a:solidFill>
                  <a:srgbClr val="000000"/>
                </a:solidFill>
              </a:rPr>
              <a:t> de </a:t>
            </a:r>
            <a:r>
              <a:rPr lang="en-US" i="1" dirty="0" err="1">
                <a:solidFill>
                  <a:srgbClr val="000000"/>
                </a:solidFill>
              </a:rPr>
              <a:t>distributie</a:t>
            </a:r>
            <a:r>
              <a:rPr lang="en-US" i="1" dirty="0">
                <a:solidFill>
                  <a:srgbClr val="000000"/>
                </a:solidFill>
              </a:rPr>
              <a:t> de </a:t>
            </a:r>
            <a:r>
              <a:rPr lang="en-US" i="1" dirty="0" err="1">
                <a:solidFill>
                  <a:srgbClr val="000000"/>
                </a:solidFill>
              </a:rPr>
              <a:t>energie</a:t>
            </a:r>
            <a:r>
              <a:rPr lang="en-US" i="1" dirty="0">
                <a:solidFill>
                  <a:srgbClr val="000000"/>
                </a:solidFill>
              </a:rPr>
              <a:t> de </a:t>
            </a:r>
            <a:r>
              <a:rPr lang="en-US" i="1" dirty="0" err="1">
                <a:solidFill>
                  <a:srgbClr val="000000"/>
                </a:solidFill>
              </a:rPr>
              <a:t>medie</a:t>
            </a:r>
            <a:r>
              <a:rPr lang="en-US" i="1" dirty="0">
                <a:solidFill>
                  <a:srgbClr val="000000"/>
                </a:solidFill>
              </a:rPr>
              <a:t> </a:t>
            </a:r>
            <a:r>
              <a:rPr lang="en-US" i="1" dirty="0" err="1">
                <a:solidFill>
                  <a:srgbClr val="000000"/>
                </a:solidFill>
              </a:rPr>
              <a:t>si</a:t>
            </a:r>
            <a:r>
              <a:rPr lang="en-US" i="1" dirty="0">
                <a:solidFill>
                  <a:srgbClr val="000000"/>
                </a:solidFill>
              </a:rPr>
              <a:t> </a:t>
            </a:r>
            <a:r>
              <a:rPr lang="en-US" i="1" dirty="0" err="1">
                <a:solidFill>
                  <a:srgbClr val="000000"/>
                </a:solidFill>
              </a:rPr>
              <a:t>joasa</a:t>
            </a:r>
            <a:r>
              <a:rPr lang="en-US" i="1" dirty="0">
                <a:solidFill>
                  <a:srgbClr val="000000"/>
                </a:solidFill>
              </a:rPr>
              <a:t> </a:t>
            </a:r>
            <a:r>
              <a:rPr lang="en-US" i="1" dirty="0" err="1">
                <a:solidFill>
                  <a:srgbClr val="000000"/>
                </a:solidFill>
              </a:rPr>
              <a:t>tensiune</a:t>
            </a:r>
            <a:r>
              <a:rPr lang="en-US" i="1" dirty="0">
                <a:solidFill>
                  <a:srgbClr val="000000"/>
                </a:solidFill>
              </a:rPr>
              <a:t> </a:t>
            </a:r>
            <a:r>
              <a:rPr lang="en-US" i="1" dirty="0" err="1">
                <a:solidFill>
                  <a:srgbClr val="000000"/>
                </a:solidFill>
              </a:rPr>
              <a:t>inteligente</a:t>
            </a:r>
            <a:br>
              <a:rPr lang="en-US" dirty="0">
                <a:solidFill>
                  <a:srgbClr val="000000"/>
                </a:solidFill>
              </a:rPr>
            </a:br>
            <a:endParaRPr lang="en-US" dirty="0">
              <a:solidFill>
                <a:srgbClr val="000000"/>
              </a:solidFill>
            </a:endParaRPr>
          </a:p>
        </p:txBody>
      </p:sp>
      <p:sp>
        <p:nvSpPr>
          <p:cNvPr id="9" name="Text Placeholder 8"/>
          <p:cNvSpPr>
            <a:spLocks noGrp="1"/>
          </p:cNvSpPr>
          <p:nvPr>
            <p:ph type="body" sz="quarter" idx="16"/>
          </p:nvPr>
        </p:nvSpPr>
        <p:spPr>
          <a:xfrm>
            <a:off x="1343760" y="4089401"/>
            <a:ext cx="1706722" cy="1085851"/>
          </a:xfrm>
        </p:spPr>
        <p:txBody>
          <a:bodyPr/>
          <a:lstStyle/>
          <a:p>
            <a:r>
              <a:rPr lang="en-US" b="1" dirty="0">
                <a:solidFill>
                  <a:srgbClr val="000000"/>
                </a:solidFill>
              </a:rPr>
              <a:t>Monitor</a:t>
            </a:r>
            <a:r>
              <a:rPr lang="ro-RO" b="1" dirty="0">
                <a:solidFill>
                  <a:srgbClr val="000000"/>
                </a:solidFill>
              </a:rPr>
              <a:t>izarea</a:t>
            </a:r>
            <a:r>
              <a:rPr lang="en-US" b="1" dirty="0">
                <a:solidFill>
                  <a:srgbClr val="000000"/>
                </a:solidFill>
              </a:rPr>
              <a:t> &amp; control</a:t>
            </a:r>
            <a:r>
              <a:rPr lang="ro-RO" b="1" dirty="0">
                <a:solidFill>
                  <a:srgbClr val="000000"/>
                </a:solidFill>
              </a:rPr>
              <a:t>ul</a:t>
            </a:r>
            <a:r>
              <a:rPr lang="en-US" b="1" dirty="0">
                <a:solidFill>
                  <a:srgbClr val="000000"/>
                </a:solidFill>
              </a:rPr>
              <a:t> </a:t>
            </a:r>
            <a:r>
              <a:rPr lang="en-US" b="1" dirty="0" err="1">
                <a:solidFill>
                  <a:srgbClr val="000000"/>
                </a:solidFill>
              </a:rPr>
              <a:t>energ</a:t>
            </a:r>
            <a:r>
              <a:rPr lang="ro-RO" b="1" dirty="0">
                <a:solidFill>
                  <a:srgbClr val="000000"/>
                </a:solidFill>
              </a:rPr>
              <a:t>iei </a:t>
            </a:r>
            <a:r>
              <a:rPr lang="en-US" b="1" dirty="0" err="1">
                <a:solidFill>
                  <a:srgbClr val="000000"/>
                </a:solidFill>
              </a:rPr>
              <a:t>consum</a:t>
            </a:r>
            <a:r>
              <a:rPr lang="ro-RO" b="1" dirty="0">
                <a:solidFill>
                  <a:srgbClr val="000000"/>
                </a:solidFill>
              </a:rPr>
              <a:t>ate</a:t>
            </a:r>
            <a:endParaRPr lang="en-US" b="1" dirty="0">
              <a:solidFill>
                <a:srgbClr val="000000"/>
              </a:solidFill>
            </a:endParaRPr>
          </a:p>
          <a:p>
            <a:endParaRPr lang="en-US" dirty="0">
              <a:solidFill>
                <a:srgbClr val="000000"/>
              </a:solidFill>
            </a:endParaRPr>
          </a:p>
        </p:txBody>
      </p:sp>
      <p:sp>
        <p:nvSpPr>
          <p:cNvPr id="10" name="Text Placeholder 9"/>
          <p:cNvSpPr>
            <a:spLocks noGrp="1"/>
          </p:cNvSpPr>
          <p:nvPr>
            <p:ph type="body" sz="quarter" idx="17"/>
          </p:nvPr>
        </p:nvSpPr>
        <p:spPr>
          <a:xfrm>
            <a:off x="3193357" y="4089401"/>
            <a:ext cx="1712912" cy="1085851"/>
          </a:xfrm>
        </p:spPr>
        <p:txBody>
          <a:bodyPr/>
          <a:lstStyle/>
          <a:p>
            <a:r>
              <a:rPr lang="en-US" b="1" dirty="0">
                <a:solidFill>
                  <a:srgbClr val="000000"/>
                </a:solidFill>
              </a:rPr>
              <a:t>Reduce</a:t>
            </a:r>
            <a:r>
              <a:rPr lang="ro-RO" b="1" dirty="0">
                <a:solidFill>
                  <a:srgbClr val="000000"/>
                </a:solidFill>
              </a:rPr>
              <a:t>rea</a:t>
            </a:r>
            <a:r>
              <a:rPr lang="en-US" b="1" dirty="0">
                <a:solidFill>
                  <a:srgbClr val="000000"/>
                </a:solidFill>
              </a:rPr>
              <a:t> cost</a:t>
            </a:r>
            <a:r>
              <a:rPr lang="ro-RO" b="1" dirty="0">
                <a:solidFill>
                  <a:srgbClr val="000000"/>
                </a:solidFill>
              </a:rPr>
              <a:t>urilor</a:t>
            </a:r>
            <a:r>
              <a:rPr lang="en-US" b="1" dirty="0">
                <a:solidFill>
                  <a:srgbClr val="000000"/>
                </a:solidFill>
              </a:rPr>
              <a:t> </a:t>
            </a:r>
            <a:r>
              <a:rPr lang="en-US" b="1" dirty="0" err="1">
                <a:solidFill>
                  <a:srgbClr val="000000"/>
                </a:solidFill>
              </a:rPr>
              <a:t>pe</a:t>
            </a:r>
            <a:r>
              <a:rPr lang="en-US" b="1" dirty="0">
                <a:solidFill>
                  <a:srgbClr val="000000"/>
                </a:solidFill>
              </a:rPr>
              <a:t> kWh</a:t>
            </a:r>
          </a:p>
          <a:p>
            <a:endParaRPr lang="en-US" dirty="0">
              <a:solidFill>
                <a:srgbClr val="000000"/>
              </a:solidFill>
            </a:endParaRPr>
          </a:p>
        </p:txBody>
      </p:sp>
      <p:sp>
        <p:nvSpPr>
          <p:cNvPr id="11" name="Text Placeholder 10"/>
          <p:cNvSpPr>
            <a:spLocks noGrp="1"/>
          </p:cNvSpPr>
          <p:nvPr>
            <p:ph type="body" sz="quarter" idx="18"/>
          </p:nvPr>
        </p:nvSpPr>
        <p:spPr>
          <a:xfrm>
            <a:off x="5047559" y="4089401"/>
            <a:ext cx="1711324" cy="1085851"/>
          </a:xfrm>
        </p:spPr>
        <p:txBody>
          <a:bodyPr/>
          <a:lstStyle/>
          <a:p>
            <a:r>
              <a:rPr lang="ro-RO" b="1" dirty="0">
                <a:solidFill>
                  <a:srgbClr val="000000"/>
                </a:solidFill>
              </a:rPr>
              <a:t>Reducerea amprentei de </a:t>
            </a:r>
            <a:r>
              <a:rPr lang="en-US" b="1" dirty="0">
                <a:solidFill>
                  <a:srgbClr val="000000"/>
                </a:solidFill>
              </a:rPr>
              <a:t>CO2</a:t>
            </a:r>
          </a:p>
          <a:p>
            <a:endParaRPr lang="en-US" dirty="0">
              <a:solidFill>
                <a:srgbClr val="000000"/>
              </a:solidFill>
            </a:endParaRPr>
          </a:p>
        </p:txBody>
      </p:sp>
      <p:sp>
        <p:nvSpPr>
          <p:cNvPr id="12" name="Text Placeholder 11"/>
          <p:cNvSpPr>
            <a:spLocks noGrp="1"/>
          </p:cNvSpPr>
          <p:nvPr>
            <p:ph type="body" sz="quarter" idx="19"/>
          </p:nvPr>
        </p:nvSpPr>
        <p:spPr>
          <a:xfrm>
            <a:off x="6900165" y="4089401"/>
            <a:ext cx="1709928" cy="1085851"/>
          </a:xfrm>
        </p:spPr>
        <p:txBody>
          <a:bodyPr/>
          <a:lstStyle/>
          <a:p>
            <a:r>
              <a:rPr lang="ro-RO" b="1" dirty="0">
                <a:solidFill>
                  <a:srgbClr val="000000"/>
                </a:solidFill>
              </a:rPr>
              <a:t>Reducerea costurilor de funcționare</a:t>
            </a:r>
            <a:endParaRPr lang="en-US" b="1" dirty="0">
              <a:solidFill>
                <a:srgbClr val="000000"/>
              </a:solidFill>
            </a:endParaRPr>
          </a:p>
          <a:p>
            <a:endParaRPr lang="en-US" dirty="0">
              <a:solidFill>
                <a:srgbClr val="000000"/>
              </a:solidFill>
            </a:endParaRPr>
          </a:p>
        </p:txBody>
      </p:sp>
      <p:sp>
        <p:nvSpPr>
          <p:cNvPr id="13" name="Text Placeholder 12"/>
          <p:cNvSpPr>
            <a:spLocks noGrp="1"/>
          </p:cNvSpPr>
          <p:nvPr>
            <p:ph type="body" sz="quarter" idx="20"/>
          </p:nvPr>
        </p:nvSpPr>
        <p:spPr>
          <a:xfrm>
            <a:off x="8752784" y="4089401"/>
            <a:ext cx="1712911" cy="1085851"/>
          </a:xfrm>
        </p:spPr>
        <p:txBody>
          <a:bodyPr/>
          <a:lstStyle/>
          <a:p>
            <a:r>
              <a:rPr lang="ro-RO" b="1" dirty="0">
                <a:solidFill>
                  <a:srgbClr val="000000"/>
                </a:solidFill>
              </a:rPr>
              <a:t>Realizarea eficienței măsurabile</a:t>
            </a:r>
            <a:endParaRPr lang="en-US" b="1" dirty="0">
              <a:solidFill>
                <a:srgbClr val="000000"/>
              </a:solidFill>
            </a:endParaRPr>
          </a:p>
          <a:p>
            <a:endParaRPr lang="en-US" dirty="0">
              <a:solidFill>
                <a:srgbClr val="000000"/>
              </a:solidFill>
            </a:endParaRPr>
          </a:p>
        </p:txBody>
      </p:sp>
      <p:sp>
        <p:nvSpPr>
          <p:cNvPr id="16" name="Freeform 116"/>
          <p:cNvSpPr>
            <a:spLocks noChangeAspect="1"/>
          </p:cNvSpPr>
          <p:nvPr/>
        </p:nvSpPr>
        <p:spPr bwMode="auto">
          <a:xfrm>
            <a:off x="1697487" y="2603324"/>
            <a:ext cx="1071958" cy="1092177"/>
          </a:xfrm>
          <a:custGeom>
            <a:avLst/>
            <a:gdLst/>
            <a:ahLst/>
            <a:cxnLst>
              <a:cxn ang="0">
                <a:pos x="211" y="0"/>
              </a:cxn>
              <a:cxn ang="0">
                <a:pos x="200" y="5"/>
              </a:cxn>
              <a:cxn ang="0">
                <a:pos x="135" y="172"/>
              </a:cxn>
              <a:cxn ang="0">
                <a:pos x="158" y="290"/>
              </a:cxn>
              <a:cxn ang="0">
                <a:pos x="139" y="290"/>
              </a:cxn>
              <a:cxn ang="0">
                <a:pos x="126" y="303"/>
              </a:cxn>
              <a:cxn ang="0">
                <a:pos x="126" y="349"/>
              </a:cxn>
              <a:cxn ang="0">
                <a:pos x="14" y="349"/>
              </a:cxn>
              <a:cxn ang="0">
                <a:pos x="0" y="362"/>
              </a:cxn>
              <a:cxn ang="0">
                <a:pos x="0" y="442"/>
              </a:cxn>
              <a:cxn ang="0">
                <a:pos x="14" y="455"/>
              </a:cxn>
              <a:cxn ang="0">
                <a:pos x="376" y="455"/>
              </a:cxn>
              <a:cxn ang="0">
                <a:pos x="390" y="442"/>
              </a:cxn>
              <a:cxn ang="0">
                <a:pos x="376" y="428"/>
              </a:cxn>
              <a:cxn ang="0">
                <a:pos x="27" y="428"/>
              </a:cxn>
              <a:cxn ang="0">
                <a:pos x="27" y="376"/>
              </a:cxn>
              <a:cxn ang="0">
                <a:pos x="139" y="376"/>
              </a:cxn>
              <a:cxn ang="0">
                <a:pos x="153" y="362"/>
              </a:cxn>
              <a:cxn ang="0">
                <a:pos x="153" y="317"/>
              </a:cxn>
              <a:cxn ang="0">
                <a:pos x="185" y="317"/>
              </a:cxn>
              <a:cxn ang="0">
                <a:pos x="198" y="308"/>
              </a:cxn>
              <a:cxn ang="0">
                <a:pos x="199" y="303"/>
              </a:cxn>
              <a:cxn ang="0">
                <a:pos x="193" y="293"/>
              </a:cxn>
              <a:cxn ang="0">
                <a:pos x="162" y="172"/>
              </a:cxn>
              <a:cxn ang="0">
                <a:pos x="211" y="37"/>
              </a:cxn>
              <a:cxn ang="0">
                <a:pos x="260" y="172"/>
              </a:cxn>
              <a:cxn ang="0">
                <a:pos x="228" y="293"/>
              </a:cxn>
              <a:cxn ang="0">
                <a:pos x="223" y="303"/>
              </a:cxn>
              <a:cxn ang="0">
                <a:pos x="224" y="308"/>
              </a:cxn>
              <a:cxn ang="0">
                <a:pos x="236" y="317"/>
              </a:cxn>
              <a:cxn ang="0">
                <a:pos x="272" y="317"/>
              </a:cxn>
              <a:cxn ang="0">
                <a:pos x="272" y="362"/>
              </a:cxn>
              <a:cxn ang="0">
                <a:pos x="286" y="376"/>
              </a:cxn>
              <a:cxn ang="0">
                <a:pos x="421" y="376"/>
              </a:cxn>
              <a:cxn ang="0">
                <a:pos x="421" y="442"/>
              </a:cxn>
              <a:cxn ang="0">
                <a:pos x="434" y="455"/>
              </a:cxn>
              <a:cxn ang="0">
                <a:pos x="448" y="442"/>
              </a:cxn>
              <a:cxn ang="0">
                <a:pos x="448" y="362"/>
              </a:cxn>
              <a:cxn ang="0">
                <a:pos x="434" y="349"/>
              </a:cxn>
              <a:cxn ang="0">
                <a:pos x="299" y="349"/>
              </a:cxn>
              <a:cxn ang="0">
                <a:pos x="299" y="303"/>
              </a:cxn>
              <a:cxn ang="0">
                <a:pos x="286" y="290"/>
              </a:cxn>
              <a:cxn ang="0">
                <a:pos x="264" y="290"/>
              </a:cxn>
              <a:cxn ang="0">
                <a:pos x="286" y="172"/>
              </a:cxn>
              <a:cxn ang="0">
                <a:pos x="221" y="5"/>
              </a:cxn>
              <a:cxn ang="0">
                <a:pos x="211" y="0"/>
              </a:cxn>
            </a:cxnLst>
            <a:rect l="0" t="0" r="r" b="b"/>
            <a:pathLst>
              <a:path w="448" h="455">
                <a:moveTo>
                  <a:pt x="211" y="0"/>
                </a:moveTo>
                <a:cubicBezTo>
                  <a:pt x="207" y="0"/>
                  <a:pt x="203" y="2"/>
                  <a:pt x="200" y="5"/>
                </a:cubicBezTo>
                <a:cubicBezTo>
                  <a:pt x="197" y="8"/>
                  <a:pt x="135" y="91"/>
                  <a:pt x="135" y="172"/>
                </a:cubicBezTo>
                <a:cubicBezTo>
                  <a:pt x="135" y="222"/>
                  <a:pt x="143" y="263"/>
                  <a:pt x="158" y="290"/>
                </a:cubicBezTo>
                <a:cubicBezTo>
                  <a:pt x="149" y="290"/>
                  <a:pt x="139" y="290"/>
                  <a:pt x="139" y="290"/>
                </a:cubicBezTo>
                <a:cubicBezTo>
                  <a:pt x="132" y="290"/>
                  <a:pt x="126" y="296"/>
                  <a:pt x="126" y="303"/>
                </a:cubicBezTo>
                <a:cubicBezTo>
                  <a:pt x="126" y="303"/>
                  <a:pt x="126" y="333"/>
                  <a:pt x="126" y="349"/>
                </a:cubicBezTo>
                <a:cubicBezTo>
                  <a:pt x="105" y="349"/>
                  <a:pt x="14" y="349"/>
                  <a:pt x="14" y="349"/>
                </a:cubicBezTo>
                <a:cubicBezTo>
                  <a:pt x="6" y="349"/>
                  <a:pt x="0" y="355"/>
                  <a:pt x="0" y="362"/>
                </a:cubicBezTo>
                <a:cubicBezTo>
                  <a:pt x="0" y="442"/>
                  <a:pt x="0" y="442"/>
                  <a:pt x="0" y="442"/>
                </a:cubicBezTo>
                <a:cubicBezTo>
                  <a:pt x="0" y="449"/>
                  <a:pt x="6" y="455"/>
                  <a:pt x="14" y="455"/>
                </a:cubicBezTo>
                <a:cubicBezTo>
                  <a:pt x="376" y="455"/>
                  <a:pt x="376" y="455"/>
                  <a:pt x="376" y="455"/>
                </a:cubicBezTo>
                <a:cubicBezTo>
                  <a:pt x="384" y="455"/>
                  <a:pt x="390" y="449"/>
                  <a:pt x="390" y="442"/>
                </a:cubicBezTo>
                <a:cubicBezTo>
                  <a:pt x="390" y="434"/>
                  <a:pt x="384" y="428"/>
                  <a:pt x="376" y="428"/>
                </a:cubicBezTo>
                <a:cubicBezTo>
                  <a:pt x="376" y="428"/>
                  <a:pt x="52" y="428"/>
                  <a:pt x="27" y="428"/>
                </a:cubicBezTo>
                <a:cubicBezTo>
                  <a:pt x="27" y="414"/>
                  <a:pt x="27" y="390"/>
                  <a:pt x="27" y="376"/>
                </a:cubicBezTo>
                <a:cubicBezTo>
                  <a:pt x="48" y="376"/>
                  <a:pt x="139" y="376"/>
                  <a:pt x="139" y="376"/>
                </a:cubicBezTo>
                <a:cubicBezTo>
                  <a:pt x="147" y="376"/>
                  <a:pt x="153" y="370"/>
                  <a:pt x="153" y="362"/>
                </a:cubicBezTo>
                <a:cubicBezTo>
                  <a:pt x="153" y="362"/>
                  <a:pt x="153" y="333"/>
                  <a:pt x="153" y="317"/>
                </a:cubicBezTo>
                <a:cubicBezTo>
                  <a:pt x="166" y="317"/>
                  <a:pt x="185" y="317"/>
                  <a:pt x="185" y="317"/>
                </a:cubicBezTo>
                <a:cubicBezTo>
                  <a:pt x="191" y="317"/>
                  <a:pt x="196" y="313"/>
                  <a:pt x="198" y="308"/>
                </a:cubicBezTo>
                <a:cubicBezTo>
                  <a:pt x="198" y="306"/>
                  <a:pt x="199" y="305"/>
                  <a:pt x="199" y="303"/>
                </a:cubicBezTo>
                <a:cubicBezTo>
                  <a:pt x="199" y="299"/>
                  <a:pt x="197" y="295"/>
                  <a:pt x="193" y="293"/>
                </a:cubicBezTo>
                <a:cubicBezTo>
                  <a:pt x="174" y="278"/>
                  <a:pt x="162" y="231"/>
                  <a:pt x="162" y="172"/>
                </a:cubicBezTo>
                <a:cubicBezTo>
                  <a:pt x="162" y="119"/>
                  <a:pt x="194" y="63"/>
                  <a:pt x="211" y="37"/>
                </a:cubicBezTo>
                <a:cubicBezTo>
                  <a:pt x="228" y="63"/>
                  <a:pt x="260" y="119"/>
                  <a:pt x="260" y="172"/>
                </a:cubicBezTo>
                <a:cubicBezTo>
                  <a:pt x="260" y="231"/>
                  <a:pt x="248" y="278"/>
                  <a:pt x="228" y="293"/>
                </a:cubicBezTo>
                <a:cubicBezTo>
                  <a:pt x="225" y="295"/>
                  <a:pt x="223" y="299"/>
                  <a:pt x="223" y="303"/>
                </a:cubicBezTo>
                <a:cubicBezTo>
                  <a:pt x="223" y="305"/>
                  <a:pt x="223" y="306"/>
                  <a:pt x="224" y="308"/>
                </a:cubicBezTo>
                <a:cubicBezTo>
                  <a:pt x="225" y="313"/>
                  <a:pt x="230" y="317"/>
                  <a:pt x="236" y="317"/>
                </a:cubicBezTo>
                <a:cubicBezTo>
                  <a:pt x="236" y="317"/>
                  <a:pt x="258" y="317"/>
                  <a:pt x="272" y="317"/>
                </a:cubicBezTo>
                <a:cubicBezTo>
                  <a:pt x="272" y="333"/>
                  <a:pt x="272" y="362"/>
                  <a:pt x="272" y="362"/>
                </a:cubicBezTo>
                <a:cubicBezTo>
                  <a:pt x="272" y="370"/>
                  <a:pt x="278" y="376"/>
                  <a:pt x="286" y="376"/>
                </a:cubicBezTo>
                <a:cubicBezTo>
                  <a:pt x="286" y="376"/>
                  <a:pt x="399" y="376"/>
                  <a:pt x="421" y="376"/>
                </a:cubicBezTo>
                <a:cubicBezTo>
                  <a:pt x="421" y="394"/>
                  <a:pt x="421" y="442"/>
                  <a:pt x="421" y="442"/>
                </a:cubicBezTo>
                <a:cubicBezTo>
                  <a:pt x="421" y="449"/>
                  <a:pt x="427" y="455"/>
                  <a:pt x="434" y="455"/>
                </a:cubicBezTo>
                <a:cubicBezTo>
                  <a:pt x="442" y="455"/>
                  <a:pt x="448" y="449"/>
                  <a:pt x="448" y="442"/>
                </a:cubicBezTo>
                <a:cubicBezTo>
                  <a:pt x="448" y="362"/>
                  <a:pt x="448" y="362"/>
                  <a:pt x="448" y="362"/>
                </a:cubicBezTo>
                <a:cubicBezTo>
                  <a:pt x="448" y="355"/>
                  <a:pt x="442" y="349"/>
                  <a:pt x="434" y="349"/>
                </a:cubicBezTo>
                <a:cubicBezTo>
                  <a:pt x="434" y="349"/>
                  <a:pt x="321" y="349"/>
                  <a:pt x="299" y="349"/>
                </a:cubicBezTo>
                <a:cubicBezTo>
                  <a:pt x="299" y="333"/>
                  <a:pt x="299" y="303"/>
                  <a:pt x="299" y="303"/>
                </a:cubicBezTo>
                <a:cubicBezTo>
                  <a:pt x="299" y="296"/>
                  <a:pt x="293" y="290"/>
                  <a:pt x="286" y="290"/>
                </a:cubicBezTo>
                <a:cubicBezTo>
                  <a:pt x="286" y="290"/>
                  <a:pt x="274" y="290"/>
                  <a:pt x="264" y="290"/>
                </a:cubicBezTo>
                <a:cubicBezTo>
                  <a:pt x="278" y="263"/>
                  <a:pt x="286" y="222"/>
                  <a:pt x="286" y="172"/>
                </a:cubicBezTo>
                <a:cubicBezTo>
                  <a:pt x="286" y="91"/>
                  <a:pt x="224" y="8"/>
                  <a:pt x="221" y="5"/>
                </a:cubicBezTo>
                <a:cubicBezTo>
                  <a:pt x="219" y="2"/>
                  <a:pt x="215" y="0"/>
                  <a:pt x="211" y="0"/>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dirty="0"/>
          </a:p>
        </p:txBody>
      </p:sp>
      <p:sp>
        <p:nvSpPr>
          <p:cNvPr id="18" name="Freeform 124"/>
          <p:cNvSpPr>
            <a:spLocks noChangeAspect="1"/>
          </p:cNvSpPr>
          <p:nvPr/>
        </p:nvSpPr>
        <p:spPr bwMode="auto">
          <a:xfrm>
            <a:off x="3525738" y="2603313"/>
            <a:ext cx="1019598" cy="1092179"/>
          </a:xfrm>
          <a:custGeom>
            <a:avLst/>
            <a:gdLst/>
            <a:ahLst/>
            <a:cxnLst>
              <a:cxn ang="0">
                <a:pos x="388" y="4"/>
              </a:cxn>
              <a:cxn ang="0">
                <a:pos x="312" y="62"/>
              </a:cxn>
              <a:cxn ang="0">
                <a:pos x="307" y="77"/>
              </a:cxn>
              <a:cxn ang="0">
                <a:pos x="320" y="86"/>
              </a:cxn>
              <a:cxn ang="0">
                <a:pos x="382" y="86"/>
              </a:cxn>
              <a:cxn ang="0">
                <a:pos x="239" y="194"/>
              </a:cxn>
              <a:cxn ang="0">
                <a:pos x="233" y="205"/>
              </a:cxn>
              <a:cxn ang="0">
                <a:pos x="234" y="209"/>
              </a:cxn>
              <a:cxn ang="0">
                <a:pos x="247" y="218"/>
              </a:cxn>
              <a:cxn ang="0">
                <a:pos x="321" y="218"/>
              </a:cxn>
              <a:cxn ang="0">
                <a:pos x="111" y="366"/>
              </a:cxn>
              <a:cxn ang="0">
                <a:pos x="210" y="260"/>
              </a:cxn>
              <a:cxn ang="0">
                <a:pos x="214" y="251"/>
              </a:cxn>
              <a:cxn ang="0">
                <a:pos x="213" y="246"/>
              </a:cxn>
              <a:cxn ang="0">
                <a:pos x="200" y="238"/>
              </a:cxn>
              <a:cxn ang="0">
                <a:pos x="124" y="238"/>
              </a:cxn>
              <a:cxn ang="0">
                <a:pos x="255" y="131"/>
              </a:cxn>
              <a:cxn ang="0">
                <a:pos x="260" y="120"/>
              </a:cxn>
              <a:cxn ang="0">
                <a:pos x="259" y="116"/>
              </a:cxn>
              <a:cxn ang="0">
                <a:pos x="247" y="107"/>
              </a:cxn>
              <a:cxn ang="0">
                <a:pos x="177" y="107"/>
              </a:cxn>
              <a:cxn ang="0">
                <a:pos x="279" y="29"/>
              </a:cxn>
              <a:cxn ang="0">
                <a:pos x="285" y="18"/>
              </a:cxn>
              <a:cxn ang="0">
                <a:pos x="282" y="10"/>
              </a:cxn>
              <a:cxn ang="0">
                <a:pos x="263" y="7"/>
              </a:cxn>
              <a:cxn ang="0">
                <a:pos x="130" y="110"/>
              </a:cxn>
              <a:cxn ang="0">
                <a:pos x="125" y="125"/>
              </a:cxn>
              <a:cxn ang="0">
                <a:pos x="138" y="134"/>
              </a:cxn>
              <a:cxn ang="0">
                <a:pos x="210" y="134"/>
              </a:cxn>
              <a:cxn ang="0">
                <a:pos x="79" y="241"/>
              </a:cxn>
              <a:cxn ang="0">
                <a:pos x="74" y="251"/>
              </a:cxn>
              <a:cxn ang="0">
                <a:pos x="74" y="256"/>
              </a:cxn>
              <a:cxn ang="0">
                <a:pos x="87" y="264"/>
              </a:cxn>
              <a:cxn ang="0">
                <a:pos x="170" y="264"/>
              </a:cxn>
              <a:cxn ang="0">
                <a:pos x="3" y="442"/>
              </a:cxn>
              <a:cxn ang="0">
                <a:pos x="0" y="452"/>
              </a:cxn>
              <a:cxn ang="0">
                <a:pos x="3" y="460"/>
              </a:cxn>
              <a:cxn ang="0">
                <a:pos x="21" y="462"/>
              </a:cxn>
              <a:cxn ang="0">
                <a:pos x="371" y="216"/>
              </a:cxn>
              <a:cxn ang="0">
                <a:pos x="376" y="201"/>
              </a:cxn>
              <a:cxn ang="0">
                <a:pos x="364" y="191"/>
              </a:cxn>
              <a:cxn ang="0">
                <a:pos x="287" y="191"/>
              </a:cxn>
              <a:cxn ang="0">
                <a:pos x="430" y="84"/>
              </a:cxn>
              <a:cxn ang="0">
                <a:pos x="435" y="73"/>
              </a:cxn>
              <a:cxn ang="0">
                <a:pos x="434" y="69"/>
              </a:cxn>
              <a:cxn ang="0">
                <a:pos x="422" y="60"/>
              </a:cxn>
              <a:cxn ang="0">
                <a:pos x="359" y="60"/>
              </a:cxn>
              <a:cxn ang="0">
                <a:pos x="404" y="26"/>
              </a:cxn>
              <a:cxn ang="0">
                <a:pos x="410" y="15"/>
              </a:cxn>
              <a:cxn ang="0">
                <a:pos x="407" y="7"/>
              </a:cxn>
              <a:cxn ang="0">
                <a:pos x="388" y="4"/>
              </a:cxn>
            </a:cxnLst>
            <a:rect l="0" t="0" r="r" b="b"/>
            <a:pathLst>
              <a:path w="435" h="466">
                <a:moveTo>
                  <a:pt x="388" y="4"/>
                </a:moveTo>
                <a:cubicBezTo>
                  <a:pt x="312" y="62"/>
                  <a:pt x="312" y="62"/>
                  <a:pt x="312" y="62"/>
                </a:cubicBezTo>
                <a:cubicBezTo>
                  <a:pt x="307" y="66"/>
                  <a:pt x="305" y="72"/>
                  <a:pt x="307" y="77"/>
                </a:cubicBezTo>
                <a:cubicBezTo>
                  <a:pt x="309" y="83"/>
                  <a:pt x="314" y="86"/>
                  <a:pt x="320" y="86"/>
                </a:cubicBezTo>
                <a:cubicBezTo>
                  <a:pt x="320" y="86"/>
                  <a:pt x="352" y="86"/>
                  <a:pt x="382" y="86"/>
                </a:cubicBezTo>
                <a:cubicBezTo>
                  <a:pt x="339" y="118"/>
                  <a:pt x="239" y="194"/>
                  <a:pt x="239" y="194"/>
                </a:cubicBezTo>
                <a:cubicBezTo>
                  <a:pt x="235" y="197"/>
                  <a:pt x="233" y="201"/>
                  <a:pt x="233" y="205"/>
                </a:cubicBezTo>
                <a:cubicBezTo>
                  <a:pt x="233" y="206"/>
                  <a:pt x="234" y="207"/>
                  <a:pt x="234" y="209"/>
                </a:cubicBezTo>
                <a:cubicBezTo>
                  <a:pt x="236" y="214"/>
                  <a:pt x="241" y="218"/>
                  <a:pt x="247" y="218"/>
                </a:cubicBezTo>
                <a:cubicBezTo>
                  <a:pt x="247" y="218"/>
                  <a:pt x="287" y="218"/>
                  <a:pt x="321" y="218"/>
                </a:cubicBezTo>
                <a:cubicBezTo>
                  <a:pt x="284" y="244"/>
                  <a:pt x="200" y="304"/>
                  <a:pt x="111" y="366"/>
                </a:cubicBezTo>
                <a:cubicBezTo>
                  <a:pt x="160" y="313"/>
                  <a:pt x="210" y="260"/>
                  <a:pt x="210" y="260"/>
                </a:cubicBezTo>
                <a:cubicBezTo>
                  <a:pt x="212" y="258"/>
                  <a:pt x="214" y="254"/>
                  <a:pt x="214" y="251"/>
                </a:cubicBezTo>
                <a:cubicBezTo>
                  <a:pt x="214" y="249"/>
                  <a:pt x="213" y="248"/>
                  <a:pt x="213" y="246"/>
                </a:cubicBezTo>
                <a:cubicBezTo>
                  <a:pt x="210" y="241"/>
                  <a:pt x="206" y="238"/>
                  <a:pt x="200" y="238"/>
                </a:cubicBezTo>
                <a:cubicBezTo>
                  <a:pt x="200" y="238"/>
                  <a:pt x="158" y="238"/>
                  <a:pt x="124" y="238"/>
                </a:cubicBezTo>
                <a:cubicBezTo>
                  <a:pt x="163" y="206"/>
                  <a:pt x="255" y="131"/>
                  <a:pt x="255" y="131"/>
                </a:cubicBezTo>
                <a:cubicBezTo>
                  <a:pt x="258" y="128"/>
                  <a:pt x="260" y="124"/>
                  <a:pt x="260" y="120"/>
                </a:cubicBezTo>
                <a:cubicBezTo>
                  <a:pt x="260" y="119"/>
                  <a:pt x="260" y="117"/>
                  <a:pt x="259" y="116"/>
                </a:cubicBezTo>
                <a:cubicBezTo>
                  <a:pt x="258" y="111"/>
                  <a:pt x="253" y="107"/>
                  <a:pt x="247" y="107"/>
                </a:cubicBezTo>
                <a:cubicBezTo>
                  <a:pt x="247" y="107"/>
                  <a:pt x="209" y="107"/>
                  <a:pt x="177" y="107"/>
                </a:cubicBezTo>
                <a:cubicBezTo>
                  <a:pt x="214" y="79"/>
                  <a:pt x="279" y="29"/>
                  <a:pt x="279" y="29"/>
                </a:cubicBezTo>
                <a:cubicBezTo>
                  <a:pt x="283" y="26"/>
                  <a:pt x="285" y="22"/>
                  <a:pt x="285" y="18"/>
                </a:cubicBezTo>
                <a:cubicBezTo>
                  <a:pt x="285" y="15"/>
                  <a:pt x="284" y="12"/>
                  <a:pt x="282" y="10"/>
                </a:cubicBezTo>
                <a:cubicBezTo>
                  <a:pt x="277" y="4"/>
                  <a:pt x="269" y="3"/>
                  <a:pt x="263" y="7"/>
                </a:cubicBezTo>
                <a:cubicBezTo>
                  <a:pt x="130" y="110"/>
                  <a:pt x="130" y="110"/>
                  <a:pt x="130" y="110"/>
                </a:cubicBezTo>
                <a:cubicBezTo>
                  <a:pt x="125" y="113"/>
                  <a:pt x="123" y="119"/>
                  <a:pt x="125" y="125"/>
                </a:cubicBezTo>
                <a:cubicBezTo>
                  <a:pt x="127" y="130"/>
                  <a:pt x="132" y="134"/>
                  <a:pt x="138" y="134"/>
                </a:cubicBezTo>
                <a:cubicBezTo>
                  <a:pt x="138" y="134"/>
                  <a:pt x="177" y="134"/>
                  <a:pt x="210" y="134"/>
                </a:cubicBezTo>
                <a:cubicBezTo>
                  <a:pt x="171" y="166"/>
                  <a:pt x="79" y="241"/>
                  <a:pt x="79" y="241"/>
                </a:cubicBezTo>
                <a:cubicBezTo>
                  <a:pt x="75" y="243"/>
                  <a:pt x="74" y="247"/>
                  <a:pt x="74" y="251"/>
                </a:cubicBezTo>
                <a:cubicBezTo>
                  <a:pt x="74" y="253"/>
                  <a:pt x="74" y="254"/>
                  <a:pt x="74" y="256"/>
                </a:cubicBezTo>
                <a:cubicBezTo>
                  <a:pt x="76" y="261"/>
                  <a:pt x="81" y="264"/>
                  <a:pt x="87" y="264"/>
                </a:cubicBezTo>
                <a:cubicBezTo>
                  <a:pt x="87" y="264"/>
                  <a:pt x="137" y="264"/>
                  <a:pt x="170" y="264"/>
                </a:cubicBezTo>
                <a:cubicBezTo>
                  <a:pt x="136" y="300"/>
                  <a:pt x="3" y="442"/>
                  <a:pt x="3" y="442"/>
                </a:cubicBezTo>
                <a:cubicBezTo>
                  <a:pt x="1" y="445"/>
                  <a:pt x="0" y="448"/>
                  <a:pt x="0" y="452"/>
                </a:cubicBezTo>
                <a:cubicBezTo>
                  <a:pt x="0" y="455"/>
                  <a:pt x="1" y="458"/>
                  <a:pt x="3" y="460"/>
                </a:cubicBezTo>
                <a:cubicBezTo>
                  <a:pt x="7" y="465"/>
                  <a:pt x="15" y="466"/>
                  <a:pt x="21" y="462"/>
                </a:cubicBezTo>
                <a:cubicBezTo>
                  <a:pt x="371" y="216"/>
                  <a:pt x="371" y="216"/>
                  <a:pt x="371" y="216"/>
                </a:cubicBezTo>
                <a:cubicBezTo>
                  <a:pt x="376" y="212"/>
                  <a:pt x="378" y="206"/>
                  <a:pt x="376" y="201"/>
                </a:cubicBezTo>
                <a:cubicBezTo>
                  <a:pt x="375" y="195"/>
                  <a:pt x="369" y="191"/>
                  <a:pt x="364" y="191"/>
                </a:cubicBezTo>
                <a:cubicBezTo>
                  <a:pt x="364" y="191"/>
                  <a:pt x="321" y="191"/>
                  <a:pt x="287" y="191"/>
                </a:cubicBezTo>
                <a:cubicBezTo>
                  <a:pt x="329" y="159"/>
                  <a:pt x="430" y="84"/>
                  <a:pt x="430" y="84"/>
                </a:cubicBezTo>
                <a:cubicBezTo>
                  <a:pt x="433" y="81"/>
                  <a:pt x="435" y="77"/>
                  <a:pt x="435" y="73"/>
                </a:cubicBezTo>
                <a:cubicBezTo>
                  <a:pt x="435" y="72"/>
                  <a:pt x="435" y="70"/>
                  <a:pt x="434" y="69"/>
                </a:cubicBezTo>
                <a:cubicBezTo>
                  <a:pt x="433" y="63"/>
                  <a:pt x="427" y="60"/>
                  <a:pt x="422" y="60"/>
                </a:cubicBezTo>
                <a:cubicBezTo>
                  <a:pt x="422" y="60"/>
                  <a:pt x="389" y="60"/>
                  <a:pt x="359" y="60"/>
                </a:cubicBezTo>
                <a:cubicBezTo>
                  <a:pt x="381" y="43"/>
                  <a:pt x="404" y="26"/>
                  <a:pt x="404" y="26"/>
                </a:cubicBezTo>
                <a:cubicBezTo>
                  <a:pt x="408" y="23"/>
                  <a:pt x="410" y="19"/>
                  <a:pt x="410" y="15"/>
                </a:cubicBezTo>
                <a:cubicBezTo>
                  <a:pt x="410" y="12"/>
                  <a:pt x="409" y="10"/>
                  <a:pt x="407" y="7"/>
                </a:cubicBezTo>
                <a:cubicBezTo>
                  <a:pt x="403" y="1"/>
                  <a:pt x="394" y="0"/>
                  <a:pt x="388" y="4"/>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dirty="0">
              <a:solidFill>
                <a:srgbClr val="000000"/>
              </a:solidFill>
            </a:endParaRPr>
          </a:p>
        </p:txBody>
      </p:sp>
      <p:sp>
        <p:nvSpPr>
          <p:cNvPr id="19" name="Freeform 212"/>
          <p:cNvSpPr>
            <a:spLocks noChangeAspect="1"/>
          </p:cNvSpPr>
          <p:nvPr/>
        </p:nvSpPr>
        <p:spPr bwMode="auto">
          <a:xfrm>
            <a:off x="9342745" y="2572289"/>
            <a:ext cx="559657" cy="1123200"/>
          </a:xfrm>
          <a:custGeom>
            <a:avLst/>
            <a:gdLst/>
            <a:ahLst/>
            <a:cxnLst>
              <a:cxn ang="0">
                <a:pos x="192" y="3"/>
              </a:cxn>
              <a:cxn ang="0">
                <a:pos x="184" y="0"/>
              </a:cxn>
              <a:cxn ang="0">
                <a:pos x="11" y="0"/>
              </a:cxn>
              <a:cxn ang="0">
                <a:pos x="3" y="3"/>
              </a:cxn>
              <a:cxn ang="0">
                <a:pos x="0" y="11"/>
              </a:cxn>
              <a:cxn ang="0">
                <a:pos x="0" y="230"/>
              </a:cxn>
              <a:cxn ang="0">
                <a:pos x="0" y="381"/>
              </a:cxn>
              <a:cxn ang="0">
                <a:pos x="11" y="392"/>
              </a:cxn>
              <a:cxn ang="0">
                <a:pos x="23" y="381"/>
              </a:cxn>
              <a:cxn ang="0">
                <a:pos x="23" y="381"/>
              </a:cxn>
              <a:cxn ang="0">
                <a:pos x="23" y="366"/>
              </a:cxn>
              <a:cxn ang="0">
                <a:pos x="53" y="366"/>
              </a:cxn>
              <a:cxn ang="0">
                <a:pos x="64" y="355"/>
              </a:cxn>
              <a:cxn ang="0">
                <a:pos x="53" y="343"/>
              </a:cxn>
              <a:cxn ang="0">
                <a:pos x="23" y="343"/>
              </a:cxn>
              <a:cxn ang="0">
                <a:pos x="23" y="314"/>
              </a:cxn>
              <a:cxn ang="0">
                <a:pos x="52" y="314"/>
              </a:cxn>
              <a:cxn ang="0">
                <a:pos x="63" y="302"/>
              </a:cxn>
              <a:cxn ang="0">
                <a:pos x="52" y="291"/>
              </a:cxn>
              <a:cxn ang="0">
                <a:pos x="23" y="291"/>
              </a:cxn>
              <a:cxn ang="0">
                <a:pos x="23" y="256"/>
              </a:cxn>
              <a:cxn ang="0">
                <a:pos x="96" y="256"/>
              </a:cxn>
              <a:cxn ang="0">
                <a:pos x="107" y="245"/>
              </a:cxn>
              <a:cxn ang="0">
                <a:pos x="96" y="234"/>
              </a:cxn>
              <a:cxn ang="0">
                <a:pos x="23" y="234"/>
              </a:cxn>
              <a:cxn ang="0">
                <a:pos x="23" y="230"/>
              </a:cxn>
              <a:cxn ang="0">
                <a:pos x="23" y="203"/>
              </a:cxn>
              <a:cxn ang="0">
                <a:pos x="51" y="203"/>
              </a:cxn>
              <a:cxn ang="0">
                <a:pos x="63" y="191"/>
              </a:cxn>
              <a:cxn ang="0">
                <a:pos x="51" y="180"/>
              </a:cxn>
              <a:cxn ang="0">
                <a:pos x="23" y="180"/>
              </a:cxn>
              <a:cxn ang="0">
                <a:pos x="23" y="156"/>
              </a:cxn>
              <a:cxn ang="0">
                <a:pos x="52" y="156"/>
              </a:cxn>
              <a:cxn ang="0">
                <a:pos x="63" y="145"/>
              </a:cxn>
              <a:cxn ang="0">
                <a:pos x="52" y="133"/>
              </a:cxn>
              <a:cxn ang="0">
                <a:pos x="23" y="133"/>
              </a:cxn>
              <a:cxn ang="0">
                <a:pos x="23" y="104"/>
              </a:cxn>
              <a:cxn ang="0">
                <a:pos x="95" y="104"/>
              </a:cxn>
              <a:cxn ang="0">
                <a:pos x="106" y="92"/>
              </a:cxn>
              <a:cxn ang="0">
                <a:pos x="95" y="81"/>
              </a:cxn>
              <a:cxn ang="0">
                <a:pos x="23" y="81"/>
              </a:cxn>
              <a:cxn ang="0">
                <a:pos x="23" y="22"/>
              </a:cxn>
              <a:cxn ang="0">
                <a:pos x="173" y="22"/>
              </a:cxn>
              <a:cxn ang="0">
                <a:pos x="173" y="291"/>
              </a:cxn>
              <a:cxn ang="0">
                <a:pos x="184" y="303"/>
              </a:cxn>
              <a:cxn ang="0">
                <a:pos x="195" y="291"/>
              </a:cxn>
              <a:cxn ang="0">
                <a:pos x="195" y="11"/>
              </a:cxn>
              <a:cxn ang="0">
                <a:pos x="192" y="3"/>
              </a:cxn>
            </a:cxnLst>
            <a:rect l="0" t="0" r="r" b="b"/>
            <a:pathLst>
              <a:path w="195" h="392">
                <a:moveTo>
                  <a:pt x="192" y="3"/>
                </a:moveTo>
                <a:cubicBezTo>
                  <a:pt x="190" y="1"/>
                  <a:pt x="187" y="0"/>
                  <a:pt x="184" y="0"/>
                </a:cubicBezTo>
                <a:cubicBezTo>
                  <a:pt x="11" y="0"/>
                  <a:pt x="11" y="0"/>
                  <a:pt x="11" y="0"/>
                </a:cubicBezTo>
                <a:cubicBezTo>
                  <a:pt x="8" y="0"/>
                  <a:pt x="6" y="1"/>
                  <a:pt x="3" y="3"/>
                </a:cubicBezTo>
                <a:cubicBezTo>
                  <a:pt x="1" y="5"/>
                  <a:pt x="0" y="8"/>
                  <a:pt x="0" y="11"/>
                </a:cubicBezTo>
                <a:cubicBezTo>
                  <a:pt x="0" y="230"/>
                  <a:pt x="0" y="230"/>
                  <a:pt x="0" y="230"/>
                </a:cubicBezTo>
                <a:cubicBezTo>
                  <a:pt x="0" y="381"/>
                  <a:pt x="0" y="381"/>
                  <a:pt x="0" y="381"/>
                </a:cubicBezTo>
                <a:cubicBezTo>
                  <a:pt x="0" y="387"/>
                  <a:pt x="5" y="392"/>
                  <a:pt x="11" y="392"/>
                </a:cubicBezTo>
                <a:cubicBezTo>
                  <a:pt x="18" y="392"/>
                  <a:pt x="23" y="387"/>
                  <a:pt x="23" y="381"/>
                </a:cubicBezTo>
                <a:cubicBezTo>
                  <a:pt x="23" y="381"/>
                  <a:pt x="23" y="381"/>
                  <a:pt x="23" y="381"/>
                </a:cubicBezTo>
                <a:cubicBezTo>
                  <a:pt x="23" y="366"/>
                  <a:pt x="23" y="366"/>
                  <a:pt x="23" y="366"/>
                </a:cubicBezTo>
                <a:cubicBezTo>
                  <a:pt x="53" y="366"/>
                  <a:pt x="53" y="366"/>
                  <a:pt x="53" y="366"/>
                </a:cubicBezTo>
                <a:cubicBezTo>
                  <a:pt x="59" y="366"/>
                  <a:pt x="64" y="361"/>
                  <a:pt x="64" y="355"/>
                </a:cubicBezTo>
                <a:cubicBezTo>
                  <a:pt x="64" y="348"/>
                  <a:pt x="59" y="343"/>
                  <a:pt x="53" y="343"/>
                </a:cubicBezTo>
                <a:cubicBezTo>
                  <a:pt x="23" y="343"/>
                  <a:pt x="23" y="343"/>
                  <a:pt x="23" y="343"/>
                </a:cubicBezTo>
                <a:cubicBezTo>
                  <a:pt x="23" y="314"/>
                  <a:pt x="23" y="314"/>
                  <a:pt x="23" y="314"/>
                </a:cubicBezTo>
                <a:cubicBezTo>
                  <a:pt x="52" y="314"/>
                  <a:pt x="52" y="314"/>
                  <a:pt x="52" y="314"/>
                </a:cubicBezTo>
                <a:cubicBezTo>
                  <a:pt x="58" y="314"/>
                  <a:pt x="63" y="309"/>
                  <a:pt x="63" y="302"/>
                </a:cubicBezTo>
                <a:cubicBezTo>
                  <a:pt x="63" y="296"/>
                  <a:pt x="58" y="291"/>
                  <a:pt x="52" y="291"/>
                </a:cubicBezTo>
                <a:cubicBezTo>
                  <a:pt x="23" y="291"/>
                  <a:pt x="23" y="291"/>
                  <a:pt x="23" y="291"/>
                </a:cubicBezTo>
                <a:cubicBezTo>
                  <a:pt x="23" y="256"/>
                  <a:pt x="23" y="256"/>
                  <a:pt x="23" y="256"/>
                </a:cubicBezTo>
                <a:cubicBezTo>
                  <a:pt x="96" y="256"/>
                  <a:pt x="96" y="256"/>
                  <a:pt x="96" y="256"/>
                </a:cubicBezTo>
                <a:cubicBezTo>
                  <a:pt x="102" y="256"/>
                  <a:pt x="107" y="251"/>
                  <a:pt x="107" y="245"/>
                </a:cubicBezTo>
                <a:cubicBezTo>
                  <a:pt x="107" y="239"/>
                  <a:pt x="102" y="234"/>
                  <a:pt x="96" y="234"/>
                </a:cubicBezTo>
                <a:cubicBezTo>
                  <a:pt x="23" y="234"/>
                  <a:pt x="23" y="234"/>
                  <a:pt x="23" y="234"/>
                </a:cubicBezTo>
                <a:cubicBezTo>
                  <a:pt x="23" y="230"/>
                  <a:pt x="23" y="230"/>
                  <a:pt x="23" y="230"/>
                </a:cubicBezTo>
                <a:cubicBezTo>
                  <a:pt x="23" y="203"/>
                  <a:pt x="23" y="203"/>
                  <a:pt x="23" y="203"/>
                </a:cubicBezTo>
                <a:cubicBezTo>
                  <a:pt x="51" y="203"/>
                  <a:pt x="51" y="203"/>
                  <a:pt x="51" y="203"/>
                </a:cubicBezTo>
                <a:cubicBezTo>
                  <a:pt x="57" y="203"/>
                  <a:pt x="63" y="198"/>
                  <a:pt x="63" y="191"/>
                </a:cubicBezTo>
                <a:cubicBezTo>
                  <a:pt x="63" y="185"/>
                  <a:pt x="57" y="180"/>
                  <a:pt x="51" y="180"/>
                </a:cubicBezTo>
                <a:cubicBezTo>
                  <a:pt x="23" y="180"/>
                  <a:pt x="23" y="180"/>
                  <a:pt x="23" y="180"/>
                </a:cubicBezTo>
                <a:cubicBezTo>
                  <a:pt x="23" y="156"/>
                  <a:pt x="23" y="156"/>
                  <a:pt x="23" y="156"/>
                </a:cubicBezTo>
                <a:cubicBezTo>
                  <a:pt x="52" y="156"/>
                  <a:pt x="52" y="156"/>
                  <a:pt x="52" y="156"/>
                </a:cubicBezTo>
                <a:cubicBezTo>
                  <a:pt x="58" y="156"/>
                  <a:pt x="63" y="151"/>
                  <a:pt x="63" y="145"/>
                </a:cubicBezTo>
                <a:cubicBezTo>
                  <a:pt x="63" y="138"/>
                  <a:pt x="58" y="133"/>
                  <a:pt x="52" y="133"/>
                </a:cubicBezTo>
                <a:cubicBezTo>
                  <a:pt x="23" y="133"/>
                  <a:pt x="23" y="133"/>
                  <a:pt x="23" y="133"/>
                </a:cubicBezTo>
                <a:cubicBezTo>
                  <a:pt x="23" y="104"/>
                  <a:pt x="23" y="104"/>
                  <a:pt x="23" y="104"/>
                </a:cubicBezTo>
                <a:cubicBezTo>
                  <a:pt x="95" y="104"/>
                  <a:pt x="95" y="104"/>
                  <a:pt x="95" y="104"/>
                </a:cubicBezTo>
                <a:cubicBezTo>
                  <a:pt x="101" y="104"/>
                  <a:pt x="106" y="99"/>
                  <a:pt x="106" y="92"/>
                </a:cubicBezTo>
                <a:cubicBezTo>
                  <a:pt x="106" y="86"/>
                  <a:pt x="101" y="81"/>
                  <a:pt x="95" y="81"/>
                </a:cubicBezTo>
                <a:cubicBezTo>
                  <a:pt x="23" y="81"/>
                  <a:pt x="23" y="81"/>
                  <a:pt x="23" y="81"/>
                </a:cubicBezTo>
                <a:cubicBezTo>
                  <a:pt x="23" y="22"/>
                  <a:pt x="23" y="22"/>
                  <a:pt x="23" y="22"/>
                </a:cubicBezTo>
                <a:cubicBezTo>
                  <a:pt x="173" y="22"/>
                  <a:pt x="173" y="22"/>
                  <a:pt x="173" y="22"/>
                </a:cubicBezTo>
                <a:cubicBezTo>
                  <a:pt x="173" y="291"/>
                  <a:pt x="173" y="291"/>
                  <a:pt x="173" y="291"/>
                </a:cubicBezTo>
                <a:cubicBezTo>
                  <a:pt x="173" y="298"/>
                  <a:pt x="178" y="303"/>
                  <a:pt x="184" y="303"/>
                </a:cubicBezTo>
                <a:cubicBezTo>
                  <a:pt x="190" y="303"/>
                  <a:pt x="195" y="298"/>
                  <a:pt x="195" y="291"/>
                </a:cubicBezTo>
                <a:cubicBezTo>
                  <a:pt x="195" y="11"/>
                  <a:pt x="195" y="11"/>
                  <a:pt x="195" y="11"/>
                </a:cubicBezTo>
                <a:cubicBezTo>
                  <a:pt x="195" y="8"/>
                  <a:pt x="194" y="5"/>
                  <a:pt x="192" y="3"/>
                </a:cubicBezTo>
                <a:close/>
              </a:path>
            </a:pathLst>
          </a:custGeom>
          <a:solidFill>
            <a:srgbClr val="FFFFFF"/>
          </a:solidFill>
          <a:ln w="9525">
            <a:noFill/>
            <a:round/>
            <a:headEnd/>
            <a:tailEnd/>
          </a:ln>
        </p:spPr>
        <p:txBody>
          <a:bodyPr vert="horz" wrap="square" lIns="91432" tIns="45717" rIns="91432" bIns="45717" numCol="1" anchor="t" anchorCtr="0" compatLnSpc="1">
            <a:prstTxWarp prst="textNoShape">
              <a:avLst/>
            </a:prstTxWarp>
          </a:bodyPr>
          <a:lstStyle/>
          <a:p>
            <a:pPr algn="ctr"/>
            <a:endParaRPr lang="en-US"/>
          </a:p>
        </p:txBody>
      </p:sp>
      <p:sp>
        <p:nvSpPr>
          <p:cNvPr id="21" name="Freeform 121"/>
          <p:cNvSpPr>
            <a:spLocks/>
          </p:cNvSpPr>
          <p:nvPr/>
        </p:nvSpPr>
        <p:spPr bwMode="auto">
          <a:xfrm>
            <a:off x="7474644" y="2603322"/>
            <a:ext cx="646825" cy="1092177"/>
          </a:xfrm>
          <a:custGeom>
            <a:avLst/>
            <a:gdLst/>
            <a:ahLst/>
            <a:cxnLst>
              <a:cxn ang="0">
                <a:pos x="75" y="24"/>
              </a:cxn>
              <a:cxn ang="0">
                <a:pos x="82" y="36"/>
              </a:cxn>
              <a:cxn ang="0">
                <a:pos x="81" y="42"/>
              </a:cxn>
              <a:cxn ang="0">
                <a:pos x="78" y="46"/>
              </a:cxn>
              <a:cxn ang="0">
                <a:pos x="75" y="48"/>
              </a:cxn>
              <a:cxn ang="0">
                <a:pos x="73" y="49"/>
              </a:cxn>
              <a:cxn ang="0">
                <a:pos x="60" y="39"/>
              </a:cxn>
              <a:cxn ang="0">
                <a:pos x="44" y="36"/>
              </a:cxn>
              <a:cxn ang="0">
                <a:pos x="31" y="39"/>
              </a:cxn>
              <a:cxn ang="0">
                <a:pos x="26" y="48"/>
              </a:cxn>
              <a:cxn ang="0">
                <a:pos x="28" y="54"/>
              </a:cxn>
              <a:cxn ang="0">
                <a:pos x="32" y="58"/>
              </a:cxn>
              <a:cxn ang="0">
                <a:pos x="39" y="60"/>
              </a:cxn>
              <a:cxn ang="0">
                <a:pos x="48" y="63"/>
              </a:cxn>
              <a:cxn ang="0">
                <a:pos x="61" y="66"/>
              </a:cxn>
              <a:cxn ang="0">
                <a:pos x="72" y="71"/>
              </a:cxn>
              <a:cxn ang="0">
                <a:pos x="81" y="81"/>
              </a:cxn>
              <a:cxn ang="0">
                <a:pos x="85" y="95"/>
              </a:cxn>
              <a:cxn ang="0">
                <a:pos x="76" y="116"/>
              </a:cxn>
              <a:cxn ang="0">
                <a:pos x="53" y="127"/>
              </a:cxn>
              <a:cxn ang="0">
                <a:pos x="53" y="133"/>
              </a:cxn>
              <a:cxn ang="0">
                <a:pos x="43" y="145"/>
              </a:cxn>
              <a:cxn ang="0">
                <a:pos x="42" y="145"/>
              </a:cxn>
              <a:cxn ang="0">
                <a:pos x="35" y="142"/>
              </a:cxn>
              <a:cxn ang="0">
                <a:pos x="32" y="133"/>
              </a:cxn>
              <a:cxn ang="0">
                <a:pos x="32" y="127"/>
              </a:cxn>
              <a:cxn ang="0">
                <a:pos x="19" y="124"/>
              </a:cxn>
              <a:cxn ang="0">
                <a:pos x="9" y="119"/>
              </a:cxn>
              <a:cxn ang="0">
                <a:pos x="2" y="113"/>
              </a:cxn>
              <a:cxn ang="0">
                <a:pos x="0" y="106"/>
              </a:cxn>
              <a:cxn ang="0">
                <a:pos x="1" y="101"/>
              </a:cxn>
              <a:cxn ang="0">
                <a:pos x="4" y="97"/>
              </a:cxn>
              <a:cxn ang="0">
                <a:pos x="7" y="95"/>
              </a:cxn>
              <a:cxn ang="0">
                <a:pos x="9" y="94"/>
              </a:cxn>
              <a:cxn ang="0">
                <a:pos x="23" y="104"/>
              </a:cxn>
              <a:cxn ang="0">
                <a:pos x="41" y="108"/>
              </a:cxn>
              <a:cxn ang="0">
                <a:pos x="55" y="105"/>
              </a:cxn>
              <a:cxn ang="0">
                <a:pos x="60" y="96"/>
              </a:cxn>
              <a:cxn ang="0">
                <a:pos x="58" y="90"/>
              </a:cxn>
              <a:cxn ang="0">
                <a:pos x="53" y="86"/>
              </a:cxn>
              <a:cxn ang="0">
                <a:pos x="46" y="83"/>
              </a:cxn>
              <a:cxn ang="0">
                <a:pos x="37" y="81"/>
              </a:cxn>
              <a:cxn ang="0">
                <a:pos x="26" y="78"/>
              </a:cxn>
              <a:cxn ang="0">
                <a:pos x="14" y="72"/>
              </a:cxn>
              <a:cxn ang="0">
                <a:pos x="6" y="63"/>
              </a:cxn>
              <a:cxn ang="0">
                <a:pos x="3" y="49"/>
              </a:cxn>
              <a:cxn ang="0">
                <a:pos x="11" y="29"/>
              </a:cxn>
              <a:cxn ang="0">
                <a:pos x="33" y="18"/>
              </a:cxn>
              <a:cxn ang="0">
                <a:pos x="33" y="11"/>
              </a:cxn>
              <a:cxn ang="0">
                <a:pos x="35" y="3"/>
              </a:cxn>
              <a:cxn ang="0">
                <a:pos x="42" y="0"/>
              </a:cxn>
              <a:cxn ang="0">
                <a:pos x="43" y="0"/>
              </a:cxn>
              <a:cxn ang="0">
                <a:pos x="51" y="3"/>
              </a:cxn>
              <a:cxn ang="0">
                <a:pos x="53" y="11"/>
              </a:cxn>
              <a:cxn ang="0">
                <a:pos x="53" y="17"/>
              </a:cxn>
              <a:cxn ang="0">
                <a:pos x="75" y="24"/>
              </a:cxn>
            </a:cxnLst>
            <a:rect l="0" t="0" r="r" b="b"/>
            <a:pathLst>
              <a:path w="85" h="145">
                <a:moveTo>
                  <a:pt x="75" y="24"/>
                </a:moveTo>
                <a:cubicBezTo>
                  <a:pt x="80" y="28"/>
                  <a:pt x="82" y="32"/>
                  <a:pt x="82" y="36"/>
                </a:cubicBezTo>
                <a:cubicBezTo>
                  <a:pt x="82" y="38"/>
                  <a:pt x="82" y="40"/>
                  <a:pt x="81" y="42"/>
                </a:cubicBezTo>
                <a:cubicBezTo>
                  <a:pt x="80" y="43"/>
                  <a:pt x="79" y="45"/>
                  <a:pt x="78" y="46"/>
                </a:cubicBezTo>
                <a:cubicBezTo>
                  <a:pt x="77" y="47"/>
                  <a:pt x="76" y="48"/>
                  <a:pt x="75" y="48"/>
                </a:cubicBezTo>
                <a:cubicBezTo>
                  <a:pt x="74" y="49"/>
                  <a:pt x="73" y="49"/>
                  <a:pt x="73" y="49"/>
                </a:cubicBezTo>
                <a:cubicBezTo>
                  <a:pt x="70" y="45"/>
                  <a:pt x="66" y="42"/>
                  <a:pt x="60" y="39"/>
                </a:cubicBezTo>
                <a:cubicBezTo>
                  <a:pt x="55" y="37"/>
                  <a:pt x="50" y="36"/>
                  <a:pt x="44" y="36"/>
                </a:cubicBezTo>
                <a:cubicBezTo>
                  <a:pt x="39" y="36"/>
                  <a:pt x="34" y="37"/>
                  <a:pt x="31" y="39"/>
                </a:cubicBezTo>
                <a:cubicBezTo>
                  <a:pt x="28" y="42"/>
                  <a:pt x="26" y="45"/>
                  <a:pt x="26" y="48"/>
                </a:cubicBezTo>
                <a:cubicBezTo>
                  <a:pt x="26" y="51"/>
                  <a:pt x="27" y="52"/>
                  <a:pt x="28" y="54"/>
                </a:cubicBezTo>
                <a:cubicBezTo>
                  <a:pt x="29" y="56"/>
                  <a:pt x="30" y="57"/>
                  <a:pt x="32" y="58"/>
                </a:cubicBezTo>
                <a:cubicBezTo>
                  <a:pt x="34" y="59"/>
                  <a:pt x="37" y="60"/>
                  <a:pt x="39" y="60"/>
                </a:cubicBezTo>
                <a:cubicBezTo>
                  <a:pt x="42" y="61"/>
                  <a:pt x="45" y="62"/>
                  <a:pt x="48" y="63"/>
                </a:cubicBezTo>
                <a:cubicBezTo>
                  <a:pt x="52" y="63"/>
                  <a:pt x="56" y="64"/>
                  <a:pt x="61" y="66"/>
                </a:cubicBezTo>
                <a:cubicBezTo>
                  <a:pt x="65" y="67"/>
                  <a:pt x="69" y="69"/>
                  <a:pt x="72" y="71"/>
                </a:cubicBezTo>
                <a:cubicBezTo>
                  <a:pt x="76" y="74"/>
                  <a:pt x="79" y="77"/>
                  <a:pt x="81" y="81"/>
                </a:cubicBezTo>
                <a:cubicBezTo>
                  <a:pt x="83" y="84"/>
                  <a:pt x="85" y="89"/>
                  <a:pt x="85" y="95"/>
                </a:cubicBezTo>
                <a:cubicBezTo>
                  <a:pt x="85" y="103"/>
                  <a:pt x="82" y="110"/>
                  <a:pt x="76" y="116"/>
                </a:cubicBezTo>
                <a:cubicBezTo>
                  <a:pt x="71" y="121"/>
                  <a:pt x="63" y="125"/>
                  <a:pt x="53" y="127"/>
                </a:cubicBezTo>
                <a:cubicBezTo>
                  <a:pt x="53" y="133"/>
                  <a:pt x="53" y="133"/>
                  <a:pt x="53" y="133"/>
                </a:cubicBezTo>
                <a:cubicBezTo>
                  <a:pt x="53" y="141"/>
                  <a:pt x="49" y="145"/>
                  <a:pt x="43" y="145"/>
                </a:cubicBezTo>
                <a:cubicBezTo>
                  <a:pt x="42" y="145"/>
                  <a:pt x="42" y="145"/>
                  <a:pt x="42" y="145"/>
                </a:cubicBezTo>
                <a:cubicBezTo>
                  <a:pt x="38" y="145"/>
                  <a:pt x="36" y="144"/>
                  <a:pt x="35" y="142"/>
                </a:cubicBezTo>
                <a:cubicBezTo>
                  <a:pt x="33" y="140"/>
                  <a:pt x="32" y="137"/>
                  <a:pt x="32" y="133"/>
                </a:cubicBezTo>
                <a:cubicBezTo>
                  <a:pt x="32" y="127"/>
                  <a:pt x="32" y="127"/>
                  <a:pt x="32" y="127"/>
                </a:cubicBezTo>
                <a:cubicBezTo>
                  <a:pt x="27" y="126"/>
                  <a:pt x="23" y="125"/>
                  <a:pt x="19" y="124"/>
                </a:cubicBezTo>
                <a:cubicBezTo>
                  <a:pt x="15" y="123"/>
                  <a:pt x="11" y="121"/>
                  <a:pt x="9" y="119"/>
                </a:cubicBezTo>
                <a:cubicBezTo>
                  <a:pt x="6" y="117"/>
                  <a:pt x="4" y="115"/>
                  <a:pt x="2" y="113"/>
                </a:cubicBezTo>
                <a:cubicBezTo>
                  <a:pt x="1" y="111"/>
                  <a:pt x="0" y="108"/>
                  <a:pt x="0" y="106"/>
                </a:cubicBezTo>
                <a:cubicBezTo>
                  <a:pt x="0" y="104"/>
                  <a:pt x="1" y="102"/>
                  <a:pt x="1" y="101"/>
                </a:cubicBezTo>
                <a:cubicBezTo>
                  <a:pt x="2" y="99"/>
                  <a:pt x="3" y="98"/>
                  <a:pt x="4" y="97"/>
                </a:cubicBezTo>
                <a:cubicBezTo>
                  <a:pt x="5" y="96"/>
                  <a:pt x="6" y="95"/>
                  <a:pt x="7" y="95"/>
                </a:cubicBezTo>
                <a:cubicBezTo>
                  <a:pt x="8" y="94"/>
                  <a:pt x="9" y="94"/>
                  <a:pt x="9" y="94"/>
                </a:cubicBezTo>
                <a:cubicBezTo>
                  <a:pt x="12" y="98"/>
                  <a:pt x="17" y="101"/>
                  <a:pt x="23" y="104"/>
                </a:cubicBezTo>
                <a:cubicBezTo>
                  <a:pt x="28" y="107"/>
                  <a:pt x="35" y="108"/>
                  <a:pt x="41" y="108"/>
                </a:cubicBezTo>
                <a:cubicBezTo>
                  <a:pt x="47" y="108"/>
                  <a:pt x="52" y="107"/>
                  <a:pt x="55" y="105"/>
                </a:cubicBezTo>
                <a:cubicBezTo>
                  <a:pt x="59" y="102"/>
                  <a:pt x="60" y="99"/>
                  <a:pt x="60" y="96"/>
                </a:cubicBezTo>
                <a:cubicBezTo>
                  <a:pt x="60" y="93"/>
                  <a:pt x="60" y="91"/>
                  <a:pt x="58" y="90"/>
                </a:cubicBezTo>
                <a:cubicBezTo>
                  <a:pt x="57" y="88"/>
                  <a:pt x="55" y="87"/>
                  <a:pt x="53" y="86"/>
                </a:cubicBezTo>
                <a:cubicBezTo>
                  <a:pt x="51" y="85"/>
                  <a:pt x="49" y="84"/>
                  <a:pt x="46" y="83"/>
                </a:cubicBezTo>
                <a:cubicBezTo>
                  <a:pt x="43" y="82"/>
                  <a:pt x="40" y="81"/>
                  <a:pt x="37" y="81"/>
                </a:cubicBezTo>
                <a:cubicBezTo>
                  <a:pt x="34" y="80"/>
                  <a:pt x="30" y="79"/>
                  <a:pt x="26" y="78"/>
                </a:cubicBezTo>
                <a:cubicBezTo>
                  <a:pt x="22" y="76"/>
                  <a:pt x="18" y="74"/>
                  <a:pt x="14" y="72"/>
                </a:cubicBezTo>
                <a:cubicBezTo>
                  <a:pt x="11" y="70"/>
                  <a:pt x="8" y="67"/>
                  <a:pt x="6" y="63"/>
                </a:cubicBezTo>
                <a:cubicBezTo>
                  <a:pt x="4" y="59"/>
                  <a:pt x="3" y="55"/>
                  <a:pt x="3" y="49"/>
                </a:cubicBezTo>
                <a:cubicBezTo>
                  <a:pt x="3" y="41"/>
                  <a:pt x="5" y="34"/>
                  <a:pt x="11" y="29"/>
                </a:cubicBezTo>
                <a:cubicBezTo>
                  <a:pt x="16" y="23"/>
                  <a:pt x="23" y="19"/>
                  <a:pt x="33" y="18"/>
                </a:cubicBezTo>
                <a:cubicBezTo>
                  <a:pt x="33" y="11"/>
                  <a:pt x="33" y="11"/>
                  <a:pt x="33" y="11"/>
                </a:cubicBezTo>
                <a:cubicBezTo>
                  <a:pt x="33" y="7"/>
                  <a:pt x="33" y="5"/>
                  <a:pt x="35" y="3"/>
                </a:cubicBezTo>
                <a:cubicBezTo>
                  <a:pt x="36" y="1"/>
                  <a:pt x="39" y="0"/>
                  <a:pt x="42" y="0"/>
                </a:cubicBezTo>
                <a:cubicBezTo>
                  <a:pt x="43" y="0"/>
                  <a:pt x="43" y="0"/>
                  <a:pt x="43" y="0"/>
                </a:cubicBezTo>
                <a:cubicBezTo>
                  <a:pt x="47" y="0"/>
                  <a:pt x="49" y="1"/>
                  <a:pt x="51" y="3"/>
                </a:cubicBezTo>
                <a:cubicBezTo>
                  <a:pt x="52" y="5"/>
                  <a:pt x="53" y="7"/>
                  <a:pt x="53" y="11"/>
                </a:cubicBezTo>
                <a:cubicBezTo>
                  <a:pt x="53" y="17"/>
                  <a:pt x="53" y="17"/>
                  <a:pt x="53" y="17"/>
                </a:cubicBezTo>
                <a:cubicBezTo>
                  <a:pt x="62" y="18"/>
                  <a:pt x="70" y="21"/>
                  <a:pt x="75" y="24"/>
                </a:cubicBezTo>
                <a:close/>
              </a:path>
            </a:pathLst>
          </a:custGeom>
          <a:solidFill>
            <a:schemeClr val="bg1"/>
          </a:solidFill>
          <a:ln w="9525">
            <a:noFill/>
            <a:round/>
            <a:headEnd/>
            <a:tailEnd/>
          </a:ln>
        </p:spPr>
        <p:txBody>
          <a:bodyPr vert="horz" wrap="square" lIns="91432" tIns="45717" rIns="91432" bIns="45717" numCol="1" anchor="t" anchorCtr="0" compatLnSpc="1">
            <a:prstTxWarp prst="textNoShape">
              <a:avLst/>
            </a:prstTxWarp>
          </a:bodyPr>
          <a:lstStyle/>
          <a:p>
            <a:endParaRPr lang="en-US"/>
          </a:p>
        </p:txBody>
      </p:sp>
      <p:pic>
        <p:nvPicPr>
          <p:cNvPr id="22" name="Picture 21" descr="SE_Pictogram_FootPrint_White.emf"/>
          <p:cNvPicPr>
            <a:picLocks noChangeAspect="1"/>
          </p:cNvPicPr>
          <p:nvPr/>
        </p:nvPicPr>
        <p:blipFill>
          <a:blip r:embed="rId3" cstate="print"/>
          <a:stretch>
            <a:fillRect/>
          </a:stretch>
        </p:blipFill>
        <p:spPr>
          <a:xfrm>
            <a:off x="5587764" y="2548075"/>
            <a:ext cx="627261" cy="1178948"/>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5400517" y="893"/>
            <a:ext cx="841145" cy="6856214"/>
          </a:xfrm>
          <a:prstGeom prst="rect">
            <a:avLst/>
          </a:prstGeom>
          <a:solidFill>
            <a:srgbClr val="3FAE49"/>
          </a:solidFill>
          <a:ln>
            <a:solidFill>
              <a:srgbClr val="3FAE4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71"/>
            <a:endParaRPr lang="fr-FR" sz="1800">
              <a:solidFill>
                <a:prstClr val="white"/>
              </a:solidFill>
              <a:latin typeface="Arial"/>
            </a:endParaRPr>
          </a:p>
        </p:txBody>
      </p:sp>
      <p:sp>
        <p:nvSpPr>
          <p:cNvPr id="2" name="Espace réservé du numéro de diapositive 1"/>
          <p:cNvSpPr>
            <a:spLocks noGrp="1"/>
          </p:cNvSpPr>
          <p:nvPr>
            <p:ph type="sldNum" sz="quarter" idx="4"/>
          </p:nvPr>
        </p:nvSpPr>
        <p:spPr>
          <a:xfrm>
            <a:off x="2389050" y="6475399"/>
            <a:ext cx="700555" cy="123111"/>
          </a:xfrm>
        </p:spPr>
        <p:txBody>
          <a:bodyPr/>
          <a:lstStyle/>
          <a:p>
            <a:pPr defTabSz="609296">
              <a:defRPr/>
            </a:pPr>
            <a:r>
              <a:rPr lang="en-US">
                <a:solidFill>
                  <a:srgbClr val="3DCD58"/>
                </a:solidFill>
              </a:rPr>
              <a:t>Page </a:t>
            </a:r>
            <a:fld id="{5A9C12DC-491F-9444-86A2-13AC5C62A2FC}" type="slidenum">
              <a:rPr lang="en-US">
                <a:solidFill>
                  <a:srgbClr val="3DCD58"/>
                </a:solidFill>
              </a:rPr>
              <a:pPr defTabSz="609296">
                <a:defRPr/>
              </a:pPr>
              <a:t>11</a:t>
            </a:fld>
            <a:endParaRPr lang="en-US" dirty="0">
              <a:solidFill>
                <a:srgbClr val="3DCD58"/>
              </a:solidFill>
            </a:endParaRPr>
          </a:p>
        </p:txBody>
      </p:sp>
      <p:sp>
        <p:nvSpPr>
          <p:cNvPr id="3" name="Espace réservé du pied de page 2"/>
          <p:cNvSpPr>
            <a:spLocks noGrp="1"/>
          </p:cNvSpPr>
          <p:nvPr>
            <p:ph type="ftr" sz="quarter" idx="3"/>
          </p:nvPr>
        </p:nvSpPr>
        <p:spPr/>
        <p:txBody>
          <a:bodyPr/>
          <a:lstStyle/>
          <a:p>
            <a:pPr defTabSz="609296">
              <a:defRPr/>
            </a:pPr>
            <a:r>
              <a:rPr lang="en-US">
                <a:solidFill>
                  <a:srgbClr val="626469"/>
                </a:solidFill>
              </a:rPr>
              <a:t>Confidential Property of Schneider Electric |</a:t>
            </a:r>
            <a:endParaRPr lang="en-US" dirty="0">
              <a:solidFill>
                <a:srgbClr val="626469"/>
              </a:solidFill>
            </a:endParaRPr>
          </a:p>
        </p:txBody>
      </p:sp>
      <p:pic>
        <p:nvPicPr>
          <p:cNvPr id="4" name="Image 3"/>
          <p:cNvPicPr>
            <a:picLocks noChangeAspect="1"/>
          </p:cNvPicPr>
          <p:nvPr/>
        </p:nvPicPr>
        <p:blipFill>
          <a:blip r:embed="rId3" cstate="print"/>
          <a:stretch>
            <a:fillRect/>
          </a:stretch>
        </p:blipFill>
        <p:spPr>
          <a:xfrm>
            <a:off x="496626" y="1931556"/>
            <a:ext cx="2397258" cy="4150294"/>
          </a:xfrm>
          <a:prstGeom prst="rect">
            <a:avLst/>
          </a:prstGeom>
        </p:spPr>
      </p:pic>
      <p:pic>
        <p:nvPicPr>
          <p:cNvPr id="15" name="Picture 3" descr="C:\Users\SESA49011\Dropbox\Nova\Gadget\Breaker\MTZ2_3P_DEBRO.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3370485" y="5264923"/>
            <a:ext cx="896301" cy="849632"/>
          </a:xfrm>
          <a:prstGeom prst="rect">
            <a:avLst/>
          </a:prstGeom>
          <a:noFill/>
        </p:spPr>
      </p:pic>
      <p:pic>
        <p:nvPicPr>
          <p:cNvPr id="16" name="Picture 13"/>
          <p:cNvPicPr>
            <a:picLocks noChangeAspect="1" noChangeArrowheads="1"/>
          </p:cNvPicPr>
          <p:nvPr/>
        </p:nvPicPr>
        <p:blipFill>
          <a:blip r:embed="rId5" cstate="print"/>
          <a:srcRect/>
          <a:stretch>
            <a:fillRect/>
          </a:stretch>
        </p:blipFill>
        <p:spPr bwMode="auto">
          <a:xfrm>
            <a:off x="2320916" y="1891802"/>
            <a:ext cx="450204" cy="403785"/>
          </a:xfrm>
          <a:prstGeom prst="rect">
            <a:avLst/>
          </a:prstGeom>
          <a:solidFill>
            <a:srgbClr val="36C746">
              <a:alpha val="80000"/>
            </a:srgbClr>
          </a:solidFill>
          <a:ln w="9525">
            <a:noFill/>
            <a:miter lim="800000"/>
            <a:headEnd/>
            <a:tailEnd/>
          </a:ln>
        </p:spPr>
      </p:pic>
      <p:pic>
        <p:nvPicPr>
          <p:cNvPr id="17" name="Picture 2"/>
          <p:cNvPicPr>
            <a:picLocks noChangeAspect="1" noChangeArrowheads="1"/>
          </p:cNvPicPr>
          <p:nvPr/>
        </p:nvPicPr>
        <p:blipFill>
          <a:blip r:embed="rId6" cstate="email"/>
          <a:srcRect/>
          <a:stretch>
            <a:fillRect/>
          </a:stretch>
        </p:blipFill>
        <p:spPr bwMode="auto">
          <a:xfrm>
            <a:off x="4411810" y="5560283"/>
            <a:ext cx="422251" cy="554273"/>
          </a:xfrm>
          <a:prstGeom prst="rect">
            <a:avLst/>
          </a:prstGeom>
          <a:noFill/>
          <a:ln w="9525">
            <a:noFill/>
            <a:miter lim="800000"/>
            <a:headEnd/>
            <a:tailEnd/>
          </a:ln>
        </p:spPr>
      </p:pic>
      <p:pic>
        <p:nvPicPr>
          <p:cNvPr id="21" name="Picture 132" descr="PB104450.jpg"/>
          <p:cNvPicPr>
            <a:picLocks noChangeAspect="1"/>
          </p:cNvPicPr>
          <p:nvPr/>
        </p:nvPicPr>
        <p:blipFill>
          <a:blip r:embed="rId7" cstate="email"/>
          <a:stretch>
            <a:fillRect/>
          </a:stretch>
        </p:blipFill>
        <p:spPr>
          <a:xfrm>
            <a:off x="4961732" y="5837418"/>
            <a:ext cx="229607" cy="226760"/>
          </a:xfrm>
          <a:prstGeom prst="rect">
            <a:avLst/>
          </a:prstGeom>
        </p:spPr>
      </p:pic>
      <p:sp>
        <p:nvSpPr>
          <p:cNvPr id="22" name="Rectangle à coins arrondis 21"/>
          <p:cNvSpPr/>
          <p:nvPr/>
        </p:nvSpPr>
        <p:spPr>
          <a:xfrm>
            <a:off x="3376807" y="4919598"/>
            <a:ext cx="1161693" cy="278761"/>
          </a:xfrm>
          <a:prstGeom prst="roundRect">
            <a:avLst/>
          </a:prstGeom>
          <a:noFill/>
          <a:ln w="38100">
            <a:solidFill>
              <a:srgbClr val="ADADA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71"/>
            <a:r>
              <a:rPr lang="fr-FR" sz="1400" b="1" dirty="0" err="1">
                <a:solidFill>
                  <a:srgbClr val="000000"/>
                </a:solidFill>
                <a:latin typeface="Arial"/>
              </a:rPr>
              <a:t>Protejeaza</a:t>
            </a:r>
            <a:endParaRPr lang="fr-FR" sz="1400" b="1" dirty="0">
              <a:solidFill>
                <a:srgbClr val="000000"/>
              </a:solidFill>
              <a:latin typeface="Arial"/>
            </a:endParaRPr>
          </a:p>
        </p:txBody>
      </p:sp>
      <p:sp>
        <p:nvSpPr>
          <p:cNvPr id="25" name="Rectangle à coins arrondis 24"/>
          <p:cNvSpPr/>
          <p:nvPr/>
        </p:nvSpPr>
        <p:spPr>
          <a:xfrm>
            <a:off x="3370485" y="3720307"/>
            <a:ext cx="1161693" cy="278761"/>
          </a:xfrm>
          <a:prstGeom prst="roundRect">
            <a:avLst/>
          </a:prstGeom>
          <a:noFill/>
          <a:ln w="38100">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71"/>
            <a:r>
              <a:rPr lang="fr-FR" sz="1400" b="1" dirty="0" err="1">
                <a:solidFill>
                  <a:srgbClr val="FFC000"/>
                </a:solidFill>
                <a:latin typeface="Arial"/>
              </a:rPr>
              <a:t>Masoara</a:t>
            </a:r>
            <a:endParaRPr lang="fr-FR" sz="1400" b="1" dirty="0">
              <a:solidFill>
                <a:srgbClr val="FFC000"/>
              </a:solidFill>
              <a:latin typeface="Arial"/>
            </a:endParaRPr>
          </a:p>
        </p:txBody>
      </p:sp>
      <p:sp>
        <p:nvSpPr>
          <p:cNvPr id="26" name="Rectangle à coins arrondis 25"/>
          <p:cNvSpPr/>
          <p:nvPr/>
        </p:nvSpPr>
        <p:spPr>
          <a:xfrm>
            <a:off x="3376807" y="2402525"/>
            <a:ext cx="1305919" cy="266515"/>
          </a:xfrm>
          <a:prstGeom prst="roundRect">
            <a:avLst/>
          </a:prstGeom>
          <a:noFill/>
          <a:ln w="38100">
            <a:solidFill>
              <a:srgbClr val="3FAE4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71"/>
            <a:r>
              <a:rPr lang="fr-FR" sz="1400" b="1" dirty="0" err="1">
                <a:solidFill>
                  <a:srgbClr val="3FAE49"/>
                </a:solidFill>
                <a:latin typeface="Arial"/>
              </a:rPr>
              <a:t>Conecteaza</a:t>
            </a:r>
            <a:endParaRPr lang="fr-FR" sz="1400" b="1" dirty="0">
              <a:solidFill>
                <a:srgbClr val="3FAE49"/>
              </a:solidFill>
              <a:latin typeface="Arial"/>
            </a:endParaRPr>
          </a:p>
        </p:txBody>
      </p:sp>
      <p:sp>
        <p:nvSpPr>
          <p:cNvPr id="27" name="Rectangle à coins arrondis 26"/>
          <p:cNvSpPr/>
          <p:nvPr/>
        </p:nvSpPr>
        <p:spPr>
          <a:xfrm>
            <a:off x="6953025" y="867416"/>
            <a:ext cx="4591955" cy="278761"/>
          </a:xfrm>
          <a:prstGeom prst="roundRect">
            <a:avLst/>
          </a:prstGeom>
          <a:noFill/>
          <a:ln w="38100">
            <a:solidFill>
              <a:srgbClr val="42B4E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71"/>
            <a:r>
              <a:rPr lang="fr-FR" sz="1400" b="1" dirty="0" err="1">
                <a:solidFill>
                  <a:srgbClr val="42B4E6"/>
                </a:solidFill>
                <a:latin typeface="Arial"/>
              </a:rPr>
              <a:t>Act</a:t>
            </a:r>
            <a:endParaRPr lang="fr-FR" sz="1400" b="1" dirty="0">
              <a:solidFill>
                <a:srgbClr val="42B4E6"/>
              </a:solidFill>
              <a:latin typeface="Arial"/>
            </a:endParaRPr>
          </a:p>
        </p:txBody>
      </p:sp>
      <p:cxnSp>
        <p:nvCxnSpPr>
          <p:cNvPr id="31" name="Connecteur droit 30"/>
          <p:cNvCxnSpPr/>
          <p:nvPr/>
        </p:nvCxnSpPr>
        <p:spPr>
          <a:xfrm flipH="1" flipV="1">
            <a:off x="3188989" y="2529658"/>
            <a:ext cx="187818" cy="1"/>
          </a:xfrm>
          <a:prstGeom prst="line">
            <a:avLst/>
          </a:prstGeom>
          <a:ln w="38100" cap="rnd">
            <a:solidFill>
              <a:srgbClr val="3FAE49"/>
            </a:solidFill>
          </a:ln>
          <a:effectLst/>
        </p:spPr>
        <p:style>
          <a:lnRef idx="2">
            <a:schemeClr val="accent1"/>
          </a:lnRef>
          <a:fillRef idx="0">
            <a:schemeClr val="accent1"/>
          </a:fillRef>
          <a:effectRef idx="1">
            <a:schemeClr val="accent1"/>
          </a:effectRef>
          <a:fontRef idx="minor">
            <a:schemeClr val="tx1"/>
          </a:fontRef>
        </p:style>
      </p:cxnSp>
      <p:cxnSp>
        <p:nvCxnSpPr>
          <p:cNvPr id="32" name="Connecteur droit 31"/>
          <p:cNvCxnSpPr/>
          <p:nvPr/>
        </p:nvCxnSpPr>
        <p:spPr>
          <a:xfrm flipH="1" flipV="1">
            <a:off x="3188989" y="3859687"/>
            <a:ext cx="187818" cy="1"/>
          </a:xfrm>
          <a:prstGeom prst="line">
            <a:avLst/>
          </a:prstGeom>
          <a:ln w="38100" cap="rnd">
            <a:solidFill>
              <a:srgbClr val="FFC000"/>
            </a:solidFill>
          </a:ln>
          <a:effectLst/>
        </p:spPr>
        <p:style>
          <a:lnRef idx="2">
            <a:schemeClr val="accent1"/>
          </a:lnRef>
          <a:fillRef idx="0">
            <a:schemeClr val="accent1"/>
          </a:fillRef>
          <a:effectRef idx="1">
            <a:schemeClr val="accent1"/>
          </a:effectRef>
          <a:fontRef idx="minor">
            <a:schemeClr val="tx1"/>
          </a:fontRef>
        </p:style>
      </p:cxnSp>
      <p:cxnSp>
        <p:nvCxnSpPr>
          <p:cNvPr id="33" name="Connecteur droit 32"/>
          <p:cNvCxnSpPr/>
          <p:nvPr/>
        </p:nvCxnSpPr>
        <p:spPr>
          <a:xfrm flipH="1" flipV="1">
            <a:off x="3182668" y="5019221"/>
            <a:ext cx="187818" cy="1"/>
          </a:xfrm>
          <a:prstGeom prst="line">
            <a:avLst/>
          </a:prstGeom>
          <a:ln w="38100" cap="rnd">
            <a:solidFill>
              <a:srgbClr val="ADADAD"/>
            </a:solidFill>
          </a:ln>
          <a:effectLst/>
        </p:spPr>
        <p:style>
          <a:lnRef idx="2">
            <a:schemeClr val="accent1"/>
          </a:lnRef>
          <a:fillRef idx="0">
            <a:schemeClr val="accent1"/>
          </a:fillRef>
          <a:effectRef idx="1">
            <a:schemeClr val="accent1"/>
          </a:effectRef>
          <a:fontRef idx="minor">
            <a:schemeClr val="tx1"/>
          </a:fontRef>
        </p:style>
      </p:cxnSp>
      <p:cxnSp>
        <p:nvCxnSpPr>
          <p:cNvPr id="35" name="Connecteur droit 34"/>
          <p:cNvCxnSpPr/>
          <p:nvPr/>
        </p:nvCxnSpPr>
        <p:spPr>
          <a:xfrm flipH="1">
            <a:off x="3182517" y="1168989"/>
            <a:ext cx="13460" cy="3850232"/>
          </a:xfrm>
          <a:prstGeom prst="line">
            <a:avLst/>
          </a:prstGeom>
          <a:ln w="38100" cap="rnd">
            <a:solidFill>
              <a:srgbClr val="3FAE49"/>
            </a:solidFill>
          </a:ln>
          <a:effectLst/>
        </p:spPr>
        <p:style>
          <a:lnRef idx="2">
            <a:schemeClr val="accent1"/>
          </a:lnRef>
          <a:fillRef idx="0">
            <a:schemeClr val="accent1"/>
          </a:fillRef>
          <a:effectRef idx="1">
            <a:schemeClr val="accent1"/>
          </a:effectRef>
          <a:fontRef idx="minor">
            <a:schemeClr val="tx1"/>
          </a:fontRef>
        </p:style>
      </p:cxnSp>
      <p:pic>
        <p:nvPicPr>
          <p:cNvPr id="38" name="Picture 127" descr="A9MEM1541_Image_small.jpg"/>
          <p:cNvPicPr>
            <a:picLocks noChangeAspect="1"/>
          </p:cNvPicPr>
          <p:nvPr/>
        </p:nvPicPr>
        <p:blipFill>
          <a:blip r:embed="rId8" cstate="email"/>
          <a:stretch>
            <a:fillRect/>
          </a:stretch>
        </p:blipFill>
        <p:spPr>
          <a:xfrm flipV="1">
            <a:off x="4682726" y="4006703"/>
            <a:ext cx="429071" cy="160297"/>
          </a:xfrm>
          <a:prstGeom prst="rect">
            <a:avLst/>
          </a:prstGeom>
        </p:spPr>
      </p:pic>
      <p:pic>
        <p:nvPicPr>
          <p:cNvPr id="39" name="Picture 13"/>
          <p:cNvPicPr>
            <a:picLocks noChangeAspect="1" noChangeArrowheads="1"/>
          </p:cNvPicPr>
          <p:nvPr/>
        </p:nvPicPr>
        <p:blipFill>
          <a:blip r:embed="rId9" cstate="email"/>
          <a:srcRect/>
          <a:stretch>
            <a:fillRect/>
          </a:stretch>
        </p:blipFill>
        <p:spPr bwMode="auto">
          <a:xfrm flipH="1">
            <a:off x="4667711" y="3821931"/>
            <a:ext cx="170620" cy="133616"/>
          </a:xfrm>
          <a:prstGeom prst="rect">
            <a:avLst/>
          </a:prstGeom>
          <a:noFill/>
          <a:ln w="9525">
            <a:noFill/>
            <a:miter lim="800000"/>
            <a:headEnd/>
            <a:tailEnd/>
          </a:ln>
        </p:spPr>
      </p:pic>
      <p:pic>
        <p:nvPicPr>
          <p:cNvPr id="40" name="Picture 12"/>
          <p:cNvPicPr>
            <a:picLocks noChangeAspect="1" noChangeArrowheads="1"/>
          </p:cNvPicPr>
          <p:nvPr/>
        </p:nvPicPr>
        <p:blipFill>
          <a:blip r:embed="rId10" cstate="email"/>
          <a:srcRect/>
          <a:stretch>
            <a:fillRect/>
          </a:stretch>
        </p:blipFill>
        <p:spPr bwMode="auto">
          <a:xfrm>
            <a:off x="3327958" y="2785552"/>
            <a:ext cx="1716484" cy="195079"/>
          </a:xfrm>
          <a:prstGeom prst="rect">
            <a:avLst/>
          </a:prstGeom>
          <a:noFill/>
          <a:ln w="9525">
            <a:noFill/>
            <a:miter lim="800000"/>
            <a:headEnd/>
            <a:tailEnd/>
          </a:ln>
        </p:spPr>
      </p:pic>
      <p:pic>
        <p:nvPicPr>
          <p:cNvPr id="41" name="Picture 6"/>
          <p:cNvPicPr>
            <a:picLocks noChangeAspect="1" noChangeArrowheads="1"/>
          </p:cNvPicPr>
          <p:nvPr/>
        </p:nvPicPr>
        <p:blipFill>
          <a:blip r:embed="rId11" cstate="email"/>
          <a:srcRect/>
          <a:stretch>
            <a:fillRect/>
          </a:stretch>
        </p:blipFill>
        <p:spPr bwMode="auto">
          <a:xfrm>
            <a:off x="3930080" y="3131711"/>
            <a:ext cx="342577" cy="327603"/>
          </a:xfrm>
          <a:prstGeom prst="rect">
            <a:avLst/>
          </a:prstGeom>
          <a:noFill/>
          <a:ln w="9525">
            <a:noFill/>
            <a:miter lim="800000"/>
            <a:headEnd/>
            <a:tailEnd/>
          </a:ln>
        </p:spPr>
      </p:pic>
      <p:pic>
        <p:nvPicPr>
          <p:cNvPr id="42" name="Picture 8"/>
          <p:cNvPicPr>
            <a:picLocks noChangeAspect="1" noChangeArrowheads="1"/>
          </p:cNvPicPr>
          <p:nvPr/>
        </p:nvPicPr>
        <p:blipFill>
          <a:blip r:embed="rId12" cstate="email"/>
          <a:srcRect/>
          <a:stretch>
            <a:fillRect/>
          </a:stretch>
        </p:blipFill>
        <p:spPr bwMode="auto">
          <a:xfrm>
            <a:off x="4397306" y="3131711"/>
            <a:ext cx="342577" cy="361796"/>
          </a:xfrm>
          <a:prstGeom prst="rect">
            <a:avLst/>
          </a:prstGeom>
          <a:noFill/>
          <a:ln w="9525">
            <a:noFill/>
            <a:miter lim="800000"/>
            <a:headEnd/>
            <a:tailEnd/>
          </a:ln>
        </p:spPr>
      </p:pic>
      <p:pic>
        <p:nvPicPr>
          <p:cNvPr id="43" name="Picture 7"/>
          <p:cNvPicPr>
            <a:picLocks noChangeAspect="1" noChangeArrowheads="1"/>
          </p:cNvPicPr>
          <p:nvPr/>
        </p:nvPicPr>
        <p:blipFill>
          <a:blip r:embed="rId13" cstate="email"/>
          <a:srcRect/>
          <a:stretch>
            <a:fillRect/>
          </a:stretch>
        </p:blipFill>
        <p:spPr bwMode="auto">
          <a:xfrm>
            <a:off x="4818535" y="3162571"/>
            <a:ext cx="136440" cy="296743"/>
          </a:xfrm>
          <a:prstGeom prst="rect">
            <a:avLst/>
          </a:prstGeom>
          <a:noFill/>
          <a:ln w="9525">
            <a:noFill/>
            <a:miter lim="800000"/>
            <a:headEnd/>
            <a:tailEnd/>
          </a:ln>
        </p:spPr>
      </p:pic>
      <p:pic>
        <p:nvPicPr>
          <p:cNvPr id="44" name="Picture 5"/>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3333211" y="3112213"/>
            <a:ext cx="522902" cy="39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Rectangle 44"/>
          <p:cNvSpPr/>
          <p:nvPr/>
        </p:nvSpPr>
        <p:spPr>
          <a:xfrm>
            <a:off x="8611688" y="1561121"/>
            <a:ext cx="2741456" cy="338554"/>
          </a:xfrm>
          <a:prstGeom prst="rect">
            <a:avLst/>
          </a:prstGeom>
        </p:spPr>
        <p:txBody>
          <a:bodyPr wrap="none">
            <a:spAutoFit/>
          </a:bodyPr>
          <a:lstStyle/>
          <a:p>
            <a:pPr defTabSz="914171"/>
            <a:r>
              <a:rPr lang="en-US" sz="1600" b="1" dirty="0" err="1">
                <a:solidFill>
                  <a:schemeClr val="accent3"/>
                </a:solidFill>
                <a:latin typeface="Arial Rounded MT Std Light" pitchFamily="34" charset="0"/>
              </a:rPr>
              <a:t>Cresti</a:t>
            </a:r>
            <a:r>
              <a:rPr lang="en-US" sz="1600" b="1" dirty="0">
                <a:solidFill>
                  <a:schemeClr val="accent3"/>
                </a:solidFill>
                <a:latin typeface="Arial Rounded MT Std Light" pitchFamily="34" charset="0"/>
              </a:rPr>
              <a:t> </a:t>
            </a:r>
            <a:r>
              <a:rPr lang="en-US" sz="1600" b="1" dirty="0" err="1">
                <a:solidFill>
                  <a:schemeClr val="accent3"/>
                </a:solidFill>
                <a:latin typeface="Arial Rounded MT Std Light" pitchFamily="34" charset="0"/>
              </a:rPr>
              <a:t>eficienta</a:t>
            </a:r>
            <a:r>
              <a:rPr lang="en-US" sz="1600" b="1" dirty="0">
                <a:solidFill>
                  <a:schemeClr val="accent3"/>
                </a:solidFill>
                <a:latin typeface="Arial Rounded MT Std Light" pitchFamily="34" charset="0"/>
              </a:rPr>
              <a:t> </a:t>
            </a:r>
            <a:r>
              <a:rPr lang="en-US" sz="1600" b="1" dirty="0" err="1">
                <a:solidFill>
                  <a:schemeClr val="accent3"/>
                </a:solidFill>
                <a:latin typeface="Arial Rounded MT Std Light" pitchFamily="34" charset="0"/>
              </a:rPr>
              <a:t>energetica</a:t>
            </a:r>
            <a:endParaRPr lang="en-US" sz="1600" b="1" dirty="0">
              <a:solidFill>
                <a:schemeClr val="accent3"/>
              </a:solidFill>
              <a:latin typeface="Arial Rounded MT Std Light" pitchFamily="34" charset="0"/>
            </a:endParaRPr>
          </a:p>
        </p:txBody>
      </p:sp>
      <p:sp>
        <p:nvSpPr>
          <p:cNvPr id="46" name="Rectangle 45"/>
          <p:cNvSpPr/>
          <p:nvPr/>
        </p:nvSpPr>
        <p:spPr>
          <a:xfrm>
            <a:off x="8595409" y="3254919"/>
            <a:ext cx="3153427" cy="584775"/>
          </a:xfrm>
          <a:prstGeom prst="rect">
            <a:avLst/>
          </a:prstGeom>
        </p:spPr>
        <p:txBody>
          <a:bodyPr wrap="none">
            <a:spAutoFit/>
          </a:bodyPr>
          <a:lstStyle/>
          <a:p>
            <a:pPr defTabSz="914171"/>
            <a:r>
              <a:rPr lang="en-US" sz="1600" b="1" dirty="0" err="1">
                <a:solidFill>
                  <a:schemeClr val="accent3"/>
                </a:solidFill>
                <a:latin typeface="Arial Rounded MT Std Light" pitchFamily="34" charset="0"/>
              </a:rPr>
              <a:t>Imbunatatesti</a:t>
            </a:r>
            <a:r>
              <a:rPr lang="en-US" sz="1600" b="1" dirty="0">
                <a:solidFill>
                  <a:schemeClr val="accent3"/>
                </a:solidFill>
                <a:latin typeface="Arial Rounded MT Std Light" pitchFamily="34" charset="0"/>
              </a:rPr>
              <a:t> </a:t>
            </a:r>
            <a:r>
              <a:rPr lang="en-US" sz="1600" b="1" dirty="0" err="1">
                <a:solidFill>
                  <a:schemeClr val="accent3"/>
                </a:solidFill>
                <a:latin typeface="Arial Rounded MT Std Light" pitchFamily="34" charset="0"/>
              </a:rPr>
              <a:t>continuitatea</a:t>
            </a:r>
            <a:r>
              <a:rPr lang="en-US" sz="1600" b="1" dirty="0">
                <a:solidFill>
                  <a:schemeClr val="accent3"/>
                </a:solidFill>
                <a:latin typeface="Arial Rounded MT Std Light" pitchFamily="34" charset="0"/>
              </a:rPr>
              <a:t> in </a:t>
            </a:r>
          </a:p>
          <a:p>
            <a:pPr defTabSz="914171"/>
            <a:r>
              <a:rPr lang="en-US" sz="1600" b="1" dirty="0" err="1">
                <a:solidFill>
                  <a:schemeClr val="accent3"/>
                </a:solidFill>
                <a:latin typeface="Arial Rounded MT Std Light" pitchFamily="34" charset="0"/>
              </a:rPr>
              <a:t>serviciu</a:t>
            </a:r>
            <a:endParaRPr lang="en-US" sz="1600" b="1" dirty="0">
              <a:solidFill>
                <a:schemeClr val="accent3"/>
              </a:solidFill>
              <a:latin typeface="Arial Rounded MT Std Light" pitchFamily="34" charset="0"/>
            </a:endParaRPr>
          </a:p>
        </p:txBody>
      </p:sp>
      <p:sp>
        <p:nvSpPr>
          <p:cNvPr id="47" name="Rectangle 46"/>
          <p:cNvSpPr/>
          <p:nvPr/>
        </p:nvSpPr>
        <p:spPr>
          <a:xfrm>
            <a:off x="8563600" y="4911491"/>
            <a:ext cx="3167855" cy="584775"/>
          </a:xfrm>
          <a:prstGeom prst="rect">
            <a:avLst/>
          </a:prstGeom>
        </p:spPr>
        <p:txBody>
          <a:bodyPr wrap="none">
            <a:spAutoFit/>
          </a:bodyPr>
          <a:lstStyle/>
          <a:p>
            <a:pPr defTabSz="914171"/>
            <a:r>
              <a:rPr lang="en-US" sz="1600" b="1" dirty="0" err="1">
                <a:solidFill>
                  <a:schemeClr val="accent3"/>
                </a:solidFill>
                <a:latin typeface="Arial Rounded MT Std Light" pitchFamily="34" charset="0"/>
              </a:rPr>
              <a:t>Cresti</a:t>
            </a:r>
            <a:r>
              <a:rPr lang="en-US" sz="1600" b="1" dirty="0">
                <a:solidFill>
                  <a:schemeClr val="accent3"/>
                </a:solidFill>
                <a:latin typeface="Arial Rounded MT Std Light" pitchFamily="34" charset="0"/>
              </a:rPr>
              <a:t> </a:t>
            </a:r>
            <a:r>
              <a:rPr lang="en-US" sz="1600" b="1" dirty="0" err="1">
                <a:solidFill>
                  <a:schemeClr val="accent3"/>
                </a:solidFill>
                <a:latin typeface="Arial Rounded MT Std Light" pitchFamily="34" charset="0"/>
              </a:rPr>
              <a:t>eficienta</a:t>
            </a:r>
            <a:r>
              <a:rPr lang="en-US" sz="1600" b="1" dirty="0">
                <a:solidFill>
                  <a:schemeClr val="accent3"/>
                </a:solidFill>
                <a:latin typeface="Arial Rounded MT Std Light" pitchFamily="34" charset="0"/>
              </a:rPr>
              <a:t> </a:t>
            </a:r>
            <a:r>
              <a:rPr lang="en-US" sz="1600" b="1" dirty="0" err="1">
                <a:solidFill>
                  <a:schemeClr val="accent3"/>
                </a:solidFill>
                <a:latin typeface="Arial Rounded MT Std Light" pitchFamily="34" charset="0"/>
              </a:rPr>
              <a:t>activitatilor</a:t>
            </a:r>
            <a:r>
              <a:rPr lang="en-US" sz="1600" b="1" dirty="0">
                <a:solidFill>
                  <a:schemeClr val="accent3"/>
                </a:solidFill>
                <a:latin typeface="Arial Rounded MT Std Light" pitchFamily="34" charset="0"/>
              </a:rPr>
              <a:t> de </a:t>
            </a:r>
          </a:p>
          <a:p>
            <a:pPr defTabSz="914171"/>
            <a:r>
              <a:rPr lang="en-US" sz="1600" b="1" dirty="0" err="1">
                <a:solidFill>
                  <a:schemeClr val="accent3"/>
                </a:solidFill>
                <a:latin typeface="Arial Rounded MT Std Light" pitchFamily="34" charset="0"/>
              </a:rPr>
              <a:t>mentenanta</a:t>
            </a:r>
            <a:r>
              <a:rPr lang="en-US" sz="1600" b="1" dirty="0">
                <a:solidFill>
                  <a:schemeClr val="accent3"/>
                </a:solidFill>
                <a:latin typeface="Arial Rounded MT Std Light" pitchFamily="34" charset="0"/>
              </a:rPr>
              <a:t> </a:t>
            </a:r>
          </a:p>
        </p:txBody>
      </p:sp>
      <p:cxnSp>
        <p:nvCxnSpPr>
          <p:cNvPr id="48" name="Elbow Connector 33"/>
          <p:cNvCxnSpPr>
            <a:cxnSpLocks noChangeShapeType="1"/>
            <a:endCxn id="50" idx="3"/>
          </p:cNvCxnSpPr>
          <p:nvPr/>
        </p:nvCxnSpPr>
        <p:spPr bwMode="auto">
          <a:xfrm rot="10800000" flipV="1">
            <a:off x="7567027" y="1979567"/>
            <a:ext cx="601207" cy="497161"/>
          </a:xfrm>
          <a:prstGeom prst="bentConnector3">
            <a:avLst>
              <a:gd name="adj1" fmla="val 50000"/>
            </a:avLst>
          </a:prstGeom>
          <a:noFill/>
          <a:ln w="38100" algn="ctr">
            <a:solidFill>
              <a:schemeClr val="tx2"/>
            </a:solidFill>
            <a:round/>
            <a:headEnd type="none" w="med" len="med"/>
            <a:tailEnd type="oval" w="med" len="med"/>
          </a:ln>
        </p:spPr>
      </p:cxnSp>
      <p:cxnSp>
        <p:nvCxnSpPr>
          <p:cNvPr id="49" name="Elbow Connector 33"/>
          <p:cNvCxnSpPr>
            <a:cxnSpLocks noChangeShapeType="1"/>
          </p:cNvCxnSpPr>
          <p:nvPr/>
        </p:nvCxnSpPr>
        <p:spPr bwMode="auto">
          <a:xfrm rot="10800000">
            <a:off x="7427761" y="4336635"/>
            <a:ext cx="696348" cy="662890"/>
          </a:xfrm>
          <a:prstGeom prst="bentConnector3">
            <a:avLst>
              <a:gd name="adj1" fmla="val 50000"/>
            </a:avLst>
          </a:prstGeom>
          <a:noFill/>
          <a:ln w="38100" algn="ctr">
            <a:solidFill>
              <a:schemeClr val="tx2"/>
            </a:solidFill>
            <a:round/>
            <a:headEnd type="none" w="med" len="med"/>
            <a:tailEnd type="oval" w="med" len="med"/>
          </a:ln>
        </p:spPr>
      </p:cxnSp>
      <p:sp>
        <p:nvSpPr>
          <p:cNvPr id="51" name="Freeform 199"/>
          <p:cNvSpPr>
            <a:spLocks/>
          </p:cNvSpPr>
          <p:nvPr/>
        </p:nvSpPr>
        <p:spPr bwMode="auto">
          <a:xfrm>
            <a:off x="8257735" y="1815561"/>
            <a:ext cx="268045" cy="328015"/>
          </a:xfrm>
          <a:custGeom>
            <a:avLst/>
            <a:gdLst/>
            <a:ahLst/>
            <a:cxnLst>
              <a:cxn ang="0">
                <a:pos x="116" y="437"/>
              </a:cxn>
              <a:cxn ang="0">
                <a:pos x="89" y="367"/>
              </a:cxn>
              <a:cxn ang="0">
                <a:pos x="98" y="318"/>
              </a:cxn>
              <a:cxn ang="0">
                <a:pos x="113" y="309"/>
              </a:cxn>
              <a:cxn ang="0">
                <a:pos x="171" y="315"/>
              </a:cxn>
              <a:cxn ang="0">
                <a:pos x="249" y="296"/>
              </a:cxn>
              <a:cxn ang="0">
                <a:pos x="293" y="250"/>
              </a:cxn>
              <a:cxn ang="0">
                <a:pos x="330" y="113"/>
              </a:cxn>
              <a:cxn ang="0">
                <a:pos x="355" y="30"/>
              </a:cxn>
              <a:cxn ang="0">
                <a:pos x="357" y="28"/>
              </a:cxn>
              <a:cxn ang="0">
                <a:pos x="283" y="28"/>
              </a:cxn>
              <a:cxn ang="0">
                <a:pos x="145" y="42"/>
              </a:cxn>
              <a:cxn ang="0">
                <a:pos x="47" y="113"/>
              </a:cxn>
              <a:cxn ang="0">
                <a:pos x="27" y="178"/>
              </a:cxn>
              <a:cxn ang="0">
                <a:pos x="44" y="234"/>
              </a:cxn>
              <a:cxn ang="0">
                <a:pos x="103" y="268"/>
              </a:cxn>
              <a:cxn ang="0">
                <a:pos x="105" y="263"/>
              </a:cxn>
              <a:cxn ang="0">
                <a:pos x="113" y="229"/>
              </a:cxn>
              <a:cxn ang="0">
                <a:pos x="153" y="133"/>
              </a:cxn>
              <a:cxn ang="0">
                <a:pos x="231" y="91"/>
              </a:cxn>
              <a:cxn ang="0">
                <a:pos x="231" y="91"/>
              </a:cxn>
              <a:cxn ang="0">
                <a:pos x="246" y="103"/>
              </a:cxn>
              <a:cxn ang="0">
                <a:pos x="235" y="118"/>
              </a:cxn>
              <a:cxn ang="0">
                <a:pos x="192" y="135"/>
              </a:cxn>
              <a:cxn ang="0">
                <a:pos x="165" y="162"/>
              </a:cxn>
              <a:cxn ang="0">
                <a:pos x="141" y="232"/>
              </a:cxn>
              <a:cxn ang="0">
                <a:pos x="131" y="273"/>
              </a:cxn>
              <a:cxn ang="0">
                <a:pos x="118" y="291"/>
              </a:cxn>
              <a:cxn ang="0">
                <a:pos x="104" y="295"/>
              </a:cxn>
              <a:cxn ang="0">
                <a:pos x="99" y="295"/>
              </a:cxn>
              <a:cxn ang="0">
                <a:pos x="22" y="250"/>
              </a:cxn>
              <a:cxn ang="0">
                <a:pos x="0" y="178"/>
              </a:cxn>
              <a:cxn ang="0">
                <a:pos x="25" y="97"/>
              </a:cxn>
              <a:cxn ang="0">
                <a:pos x="137" y="15"/>
              </a:cxn>
              <a:cxn ang="0">
                <a:pos x="283" y="0"/>
              </a:cxn>
              <a:cxn ang="0">
                <a:pos x="362" y="1"/>
              </a:cxn>
              <a:cxn ang="0">
                <a:pos x="393" y="1"/>
              </a:cxn>
              <a:cxn ang="0">
                <a:pos x="407" y="12"/>
              </a:cxn>
              <a:cxn ang="0">
                <a:pos x="398" y="27"/>
              </a:cxn>
              <a:cxn ang="0">
                <a:pos x="385" y="37"/>
              </a:cxn>
              <a:cxn ang="0">
                <a:pos x="374" y="54"/>
              </a:cxn>
              <a:cxn ang="0">
                <a:pos x="358" y="111"/>
              </a:cxn>
              <a:cxn ang="0">
                <a:pos x="320" y="256"/>
              </a:cxn>
              <a:cxn ang="0">
                <a:pos x="245" y="329"/>
              </a:cxn>
              <a:cxn ang="0">
                <a:pos x="171" y="342"/>
              </a:cxn>
              <a:cxn ang="0">
                <a:pos x="120" y="338"/>
              </a:cxn>
              <a:cxn ang="0">
                <a:pos x="116" y="367"/>
              </a:cxn>
              <a:cxn ang="0">
                <a:pos x="135" y="418"/>
              </a:cxn>
              <a:cxn ang="0">
                <a:pos x="155" y="434"/>
              </a:cxn>
              <a:cxn ang="0">
                <a:pos x="155" y="434"/>
              </a:cxn>
              <a:cxn ang="0">
                <a:pos x="161" y="453"/>
              </a:cxn>
              <a:cxn ang="0">
                <a:pos x="149" y="460"/>
              </a:cxn>
              <a:cxn ang="0">
                <a:pos x="143" y="459"/>
              </a:cxn>
            </a:cxnLst>
            <a:rect l="0" t="0" r="r" b="b"/>
            <a:pathLst>
              <a:path w="408" h="460">
                <a:moveTo>
                  <a:pt x="143" y="459"/>
                </a:moveTo>
                <a:cubicBezTo>
                  <a:pt x="142" y="459"/>
                  <a:pt x="129" y="452"/>
                  <a:pt x="116" y="437"/>
                </a:cubicBezTo>
                <a:cubicBezTo>
                  <a:pt x="116" y="437"/>
                  <a:pt x="116" y="437"/>
                  <a:pt x="116" y="437"/>
                </a:cubicBezTo>
                <a:cubicBezTo>
                  <a:pt x="102" y="423"/>
                  <a:pt x="89" y="399"/>
                  <a:pt x="89" y="367"/>
                </a:cubicBezTo>
                <a:cubicBezTo>
                  <a:pt x="89" y="367"/>
                  <a:pt x="89" y="367"/>
                  <a:pt x="89" y="367"/>
                </a:cubicBezTo>
                <a:cubicBezTo>
                  <a:pt x="89" y="352"/>
                  <a:pt x="91" y="336"/>
                  <a:pt x="98" y="318"/>
                </a:cubicBezTo>
                <a:cubicBezTo>
                  <a:pt x="98" y="318"/>
                  <a:pt x="98" y="318"/>
                  <a:pt x="98" y="318"/>
                </a:cubicBezTo>
                <a:cubicBezTo>
                  <a:pt x="100" y="311"/>
                  <a:pt x="106" y="307"/>
                  <a:pt x="113" y="309"/>
                </a:cubicBezTo>
                <a:cubicBezTo>
                  <a:pt x="113" y="309"/>
                  <a:pt x="113" y="309"/>
                  <a:pt x="113" y="309"/>
                </a:cubicBezTo>
                <a:cubicBezTo>
                  <a:pt x="135" y="313"/>
                  <a:pt x="154" y="315"/>
                  <a:pt x="171" y="315"/>
                </a:cubicBezTo>
                <a:cubicBezTo>
                  <a:pt x="171" y="315"/>
                  <a:pt x="171" y="315"/>
                  <a:pt x="171" y="315"/>
                </a:cubicBezTo>
                <a:cubicBezTo>
                  <a:pt x="205" y="315"/>
                  <a:pt x="230" y="307"/>
                  <a:pt x="249" y="296"/>
                </a:cubicBezTo>
                <a:cubicBezTo>
                  <a:pt x="249" y="296"/>
                  <a:pt x="249" y="296"/>
                  <a:pt x="249" y="296"/>
                </a:cubicBezTo>
                <a:cubicBezTo>
                  <a:pt x="268" y="285"/>
                  <a:pt x="282" y="269"/>
                  <a:pt x="293" y="250"/>
                </a:cubicBezTo>
                <a:cubicBezTo>
                  <a:pt x="293" y="250"/>
                  <a:pt x="293" y="250"/>
                  <a:pt x="293" y="250"/>
                </a:cubicBezTo>
                <a:cubicBezTo>
                  <a:pt x="314" y="211"/>
                  <a:pt x="322" y="159"/>
                  <a:pt x="330" y="113"/>
                </a:cubicBezTo>
                <a:cubicBezTo>
                  <a:pt x="330" y="113"/>
                  <a:pt x="330" y="113"/>
                  <a:pt x="330" y="113"/>
                </a:cubicBezTo>
                <a:cubicBezTo>
                  <a:pt x="336" y="81"/>
                  <a:pt x="342" y="53"/>
                  <a:pt x="355" y="30"/>
                </a:cubicBezTo>
                <a:cubicBezTo>
                  <a:pt x="355" y="30"/>
                  <a:pt x="355" y="30"/>
                  <a:pt x="355" y="30"/>
                </a:cubicBezTo>
                <a:cubicBezTo>
                  <a:pt x="356" y="30"/>
                  <a:pt x="356" y="29"/>
                  <a:pt x="357" y="28"/>
                </a:cubicBezTo>
                <a:cubicBezTo>
                  <a:pt x="357" y="28"/>
                  <a:pt x="357" y="28"/>
                  <a:pt x="357" y="28"/>
                </a:cubicBezTo>
                <a:cubicBezTo>
                  <a:pt x="331" y="28"/>
                  <a:pt x="306" y="28"/>
                  <a:pt x="283" y="28"/>
                </a:cubicBezTo>
                <a:cubicBezTo>
                  <a:pt x="283" y="28"/>
                  <a:pt x="283" y="28"/>
                  <a:pt x="283" y="28"/>
                </a:cubicBezTo>
                <a:cubicBezTo>
                  <a:pt x="229" y="28"/>
                  <a:pt x="183" y="30"/>
                  <a:pt x="145" y="42"/>
                </a:cubicBezTo>
                <a:cubicBezTo>
                  <a:pt x="145" y="42"/>
                  <a:pt x="145" y="42"/>
                  <a:pt x="145" y="42"/>
                </a:cubicBezTo>
                <a:cubicBezTo>
                  <a:pt x="107" y="53"/>
                  <a:pt x="76" y="74"/>
                  <a:pt x="47" y="113"/>
                </a:cubicBezTo>
                <a:cubicBezTo>
                  <a:pt x="47" y="113"/>
                  <a:pt x="47" y="113"/>
                  <a:pt x="47" y="113"/>
                </a:cubicBezTo>
                <a:cubicBezTo>
                  <a:pt x="35" y="129"/>
                  <a:pt x="27" y="154"/>
                  <a:pt x="27" y="178"/>
                </a:cubicBezTo>
                <a:cubicBezTo>
                  <a:pt x="27" y="178"/>
                  <a:pt x="27" y="178"/>
                  <a:pt x="27" y="178"/>
                </a:cubicBezTo>
                <a:cubicBezTo>
                  <a:pt x="27" y="198"/>
                  <a:pt x="32" y="218"/>
                  <a:pt x="44" y="234"/>
                </a:cubicBezTo>
                <a:cubicBezTo>
                  <a:pt x="44" y="234"/>
                  <a:pt x="44" y="234"/>
                  <a:pt x="44" y="234"/>
                </a:cubicBezTo>
                <a:cubicBezTo>
                  <a:pt x="56" y="249"/>
                  <a:pt x="74" y="262"/>
                  <a:pt x="103" y="268"/>
                </a:cubicBezTo>
                <a:cubicBezTo>
                  <a:pt x="103" y="268"/>
                  <a:pt x="103" y="268"/>
                  <a:pt x="103" y="268"/>
                </a:cubicBezTo>
                <a:cubicBezTo>
                  <a:pt x="104" y="267"/>
                  <a:pt x="105" y="265"/>
                  <a:pt x="105" y="263"/>
                </a:cubicBezTo>
                <a:cubicBezTo>
                  <a:pt x="105" y="263"/>
                  <a:pt x="105" y="263"/>
                  <a:pt x="105" y="263"/>
                </a:cubicBezTo>
                <a:cubicBezTo>
                  <a:pt x="108" y="255"/>
                  <a:pt x="110" y="243"/>
                  <a:pt x="113" y="229"/>
                </a:cubicBezTo>
                <a:cubicBezTo>
                  <a:pt x="113" y="229"/>
                  <a:pt x="113" y="229"/>
                  <a:pt x="113" y="229"/>
                </a:cubicBezTo>
                <a:cubicBezTo>
                  <a:pt x="119" y="200"/>
                  <a:pt x="127" y="162"/>
                  <a:pt x="153" y="133"/>
                </a:cubicBezTo>
                <a:cubicBezTo>
                  <a:pt x="153" y="133"/>
                  <a:pt x="153" y="133"/>
                  <a:pt x="153" y="133"/>
                </a:cubicBezTo>
                <a:cubicBezTo>
                  <a:pt x="170" y="113"/>
                  <a:pt x="196" y="97"/>
                  <a:pt x="231" y="91"/>
                </a:cubicBezTo>
                <a:cubicBezTo>
                  <a:pt x="231" y="91"/>
                  <a:pt x="231" y="91"/>
                  <a:pt x="231" y="91"/>
                </a:cubicBezTo>
                <a:cubicBezTo>
                  <a:pt x="231" y="91"/>
                  <a:pt x="231" y="91"/>
                  <a:pt x="231" y="91"/>
                </a:cubicBezTo>
                <a:cubicBezTo>
                  <a:pt x="238" y="90"/>
                  <a:pt x="245" y="95"/>
                  <a:pt x="246" y="103"/>
                </a:cubicBezTo>
                <a:cubicBezTo>
                  <a:pt x="246" y="103"/>
                  <a:pt x="246" y="103"/>
                  <a:pt x="246" y="103"/>
                </a:cubicBezTo>
                <a:cubicBezTo>
                  <a:pt x="248" y="110"/>
                  <a:pt x="243" y="117"/>
                  <a:pt x="235" y="118"/>
                </a:cubicBezTo>
                <a:cubicBezTo>
                  <a:pt x="235" y="118"/>
                  <a:pt x="235" y="118"/>
                  <a:pt x="235" y="118"/>
                </a:cubicBezTo>
                <a:cubicBezTo>
                  <a:pt x="217" y="121"/>
                  <a:pt x="203" y="127"/>
                  <a:pt x="192" y="135"/>
                </a:cubicBezTo>
                <a:cubicBezTo>
                  <a:pt x="192" y="135"/>
                  <a:pt x="192" y="135"/>
                  <a:pt x="192" y="135"/>
                </a:cubicBezTo>
                <a:cubicBezTo>
                  <a:pt x="181" y="142"/>
                  <a:pt x="172" y="151"/>
                  <a:pt x="165" y="162"/>
                </a:cubicBezTo>
                <a:cubicBezTo>
                  <a:pt x="165" y="162"/>
                  <a:pt x="165" y="162"/>
                  <a:pt x="165" y="162"/>
                </a:cubicBezTo>
                <a:cubicBezTo>
                  <a:pt x="152" y="183"/>
                  <a:pt x="145" y="209"/>
                  <a:pt x="141" y="232"/>
                </a:cubicBezTo>
                <a:cubicBezTo>
                  <a:pt x="141" y="232"/>
                  <a:pt x="141" y="232"/>
                  <a:pt x="141" y="232"/>
                </a:cubicBezTo>
                <a:cubicBezTo>
                  <a:pt x="137" y="248"/>
                  <a:pt x="135" y="262"/>
                  <a:pt x="131" y="273"/>
                </a:cubicBezTo>
                <a:cubicBezTo>
                  <a:pt x="131" y="273"/>
                  <a:pt x="131" y="273"/>
                  <a:pt x="131" y="273"/>
                </a:cubicBezTo>
                <a:cubicBezTo>
                  <a:pt x="128" y="280"/>
                  <a:pt x="125" y="286"/>
                  <a:pt x="118" y="291"/>
                </a:cubicBezTo>
                <a:cubicBezTo>
                  <a:pt x="118" y="291"/>
                  <a:pt x="118" y="291"/>
                  <a:pt x="118" y="291"/>
                </a:cubicBezTo>
                <a:cubicBezTo>
                  <a:pt x="114" y="294"/>
                  <a:pt x="109" y="296"/>
                  <a:pt x="104" y="295"/>
                </a:cubicBezTo>
                <a:cubicBezTo>
                  <a:pt x="104" y="295"/>
                  <a:pt x="104" y="295"/>
                  <a:pt x="104" y="295"/>
                </a:cubicBezTo>
                <a:cubicBezTo>
                  <a:pt x="102" y="295"/>
                  <a:pt x="101" y="295"/>
                  <a:pt x="99" y="295"/>
                </a:cubicBezTo>
                <a:cubicBezTo>
                  <a:pt x="99" y="295"/>
                  <a:pt x="99" y="295"/>
                  <a:pt x="99" y="295"/>
                </a:cubicBezTo>
                <a:cubicBezTo>
                  <a:pt x="64" y="288"/>
                  <a:pt x="38" y="272"/>
                  <a:pt x="22" y="250"/>
                </a:cubicBezTo>
                <a:cubicBezTo>
                  <a:pt x="22" y="250"/>
                  <a:pt x="22" y="250"/>
                  <a:pt x="22" y="250"/>
                </a:cubicBezTo>
                <a:cubicBezTo>
                  <a:pt x="6" y="229"/>
                  <a:pt x="0" y="203"/>
                  <a:pt x="0" y="178"/>
                </a:cubicBezTo>
                <a:cubicBezTo>
                  <a:pt x="0" y="178"/>
                  <a:pt x="0" y="178"/>
                  <a:pt x="0" y="178"/>
                </a:cubicBezTo>
                <a:cubicBezTo>
                  <a:pt x="0" y="148"/>
                  <a:pt x="9" y="119"/>
                  <a:pt x="25" y="97"/>
                </a:cubicBezTo>
                <a:cubicBezTo>
                  <a:pt x="25" y="97"/>
                  <a:pt x="25" y="97"/>
                  <a:pt x="25" y="97"/>
                </a:cubicBezTo>
                <a:cubicBezTo>
                  <a:pt x="56" y="53"/>
                  <a:pt x="94" y="28"/>
                  <a:pt x="137" y="15"/>
                </a:cubicBezTo>
                <a:cubicBezTo>
                  <a:pt x="137" y="15"/>
                  <a:pt x="137" y="15"/>
                  <a:pt x="137" y="15"/>
                </a:cubicBezTo>
                <a:cubicBezTo>
                  <a:pt x="180" y="2"/>
                  <a:pt x="228" y="0"/>
                  <a:pt x="283" y="0"/>
                </a:cubicBezTo>
                <a:cubicBezTo>
                  <a:pt x="283" y="0"/>
                  <a:pt x="283" y="0"/>
                  <a:pt x="283" y="0"/>
                </a:cubicBezTo>
                <a:cubicBezTo>
                  <a:pt x="308" y="0"/>
                  <a:pt x="334" y="1"/>
                  <a:pt x="362" y="1"/>
                </a:cubicBezTo>
                <a:cubicBezTo>
                  <a:pt x="362" y="1"/>
                  <a:pt x="362" y="1"/>
                  <a:pt x="362" y="1"/>
                </a:cubicBezTo>
                <a:cubicBezTo>
                  <a:pt x="372" y="1"/>
                  <a:pt x="383" y="1"/>
                  <a:pt x="393" y="1"/>
                </a:cubicBezTo>
                <a:cubicBezTo>
                  <a:pt x="393" y="1"/>
                  <a:pt x="393" y="1"/>
                  <a:pt x="393" y="1"/>
                </a:cubicBezTo>
                <a:cubicBezTo>
                  <a:pt x="400" y="1"/>
                  <a:pt x="406" y="5"/>
                  <a:pt x="407" y="12"/>
                </a:cubicBezTo>
                <a:cubicBezTo>
                  <a:pt x="407" y="12"/>
                  <a:pt x="407" y="12"/>
                  <a:pt x="407" y="12"/>
                </a:cubicBezTo>
                <a:cubicBezTo>
                  <a:pt x="408" y="18"/>
                  <a:pt x="405" y="25"/>
                  <a:pt x="398" y="27"/>
                </a:cubicBezTo>
                <a:cubicBezTo>
                  <a:pt x="398" y="27"/>
                  <a:pt x="398" y="27"/>
                  <a:pt x="398" y="27"/>
                </a:cubicBezTo>
                <a:cubicBezTo>
                  <a:pt x="393" y="29"/>
                  <a:pt x="389" y="32"/>
                  <a:pt x="385" y="37"/>
                </a:cubicBezTo>
                <a:cubicBezTo>
                  <a:pt x="385" y="37"/>
                  <a:pt x="385" y="37"/>
                  <a:pt x="385" y="37"/>
                </a:cubicBezTo>
                <a:cubicBezTo>
                  <a:pt x="381" y="41"/>
                  <a:pt x="377" y="47"/>
                  <a:pt x="374" y="54"/>
                </a:cubicBezTo>
                <a:cubicBezTo>
                  <a:pt x="374" y="54"/>
                  <a:pt x="374" y="54"/>
                  <a:pt x="374" y="54"/>
                </a:cubicBezTo>
                <a:cubicBezTo>
                  <a:pt x="367" y="69"/>
                  <a:pt x="363" y="89"/>
                  <a:pt x="358" y="111"/>
                </a:cubicBezTo>
                <a:cubicBezTo>
                  <a:pt x="358" y="111"/>
                  <a:pt x="358" y="111"/>
                  <a:pt x="358" y="111"/>
                </a:cubicBezTo>
                <a:cubicBezTo>
                  <a:pt x="350" y="156"/>
                  <a:pt x="343" y="211"/>
                  <a:pt x="320" y="256"/>
                </a:cubicBezTo>
                <a:cubicBezTo>
                  <a:pt x="320" y="256"/>
                  <a:pt x="320" y="256"/>
                  <a:pt x="320" y="256"/>
                </a:cubicBezTo>
                <a:cubicBezTo>
                  <a:pt x="305" y="287"/>
                  <a:pt x="281" y="314"/>
                  <a:pt x="245" y="329"/>
                </a:cubicBezTo>
                <a:cubicBezTo>
                  <a:pt x="245" y="329"/>
                  <a:pt x="245" y="329"/>
                  <a:pt x="245" y="329"/>
                </a:cubicBezTo>
                <a:cubicBezTo>
                  <a:pt x="225" y="337"/>
                  <a:pt x="200" y="342"/>
                  <a:pt x="171" y="342"/>
                </a:cubicBezTo>
                <a:cubicBezTo>
                  <a:pt x="171" y="342"/>
                  <a:pt x="171" y="342"/>
                  <a:pt x="171" y="342"/>
                </a:cubicBezTo>
                <a:cubicBezTo>
                  <a:pt x="156" y="342"/>
                  <a:pt x="139" y="341"/>
                  <a:pt x="120" y="338"/>
                </a:cubicBezTo>
                <a:cubicBezTo>
                  <a:pt x="120" y="338"/>
                  <a:pt x="120" y="338"/>
                  <a:pt x="120" y="338"/>
                </a:cubicBezTo>
                <a:cubicBezTo>
                  <a:pt x="117" y="349"/>
                  <a:pt x="116" y="358"/>
                  <a:pt x="116" y="367"/>
                </a:cubicBezTo>
                <a:cubicBezTo>
                  <a:pt x="116" y="367"/>
                  <a:pt x="116" y="367"/>
                  <a:pt x="116" y="367"/>
                </a:cubicBezTo>
                <a:cubicBezTo>
                  <a:pt x="116" y="391"/>
                  <a:pt x="125" y="407"/>
                  <a:pt x="135" y="418"/>
                </a:cubicBezTo>
                <a:cubicBezTo>
                  <a:pt x="135" y="418"/>
                  <a:pt x="135" y="418"/>
                  <a:pt x="135" y="418"/>
                </a:cubicBezTo>
                <a:cubicBezTo>
                  <a:pt x="144" y="429"/>
                  <a:pt x="155" y="434"/>
                  <a:pt x="155" y="434"/>
                </a:cubicBezTo>
                <a:cubicBezTo>
                  <a:pt x="155" y="434"/>
                  <a:pt x="155" y="434"/>
                  <a:pt x="155" y="434"/>
                </a:cubicBezTo>
                <a:cubicBezTo>
                  <a:pt x="155" y="434"/>
                  <a:pt x="155" y="434"/>
                  <a:pt x="155" y="434"/>
                </a:cubicBezTo>
                <a:cubicBezTo>
                  <a:pt x="155" y="434"/>
                  <a:pt x="155" y="434"/>
                  <a:pt x="155" y="434"/>
                </a:cubicBezTo>
                <a:cubicBezTo>
                  <a:pt x="155" y="434"/>
                  <a:pt x="155" y="434"/>
                  <a:pt x="155" y="434"/>
                </a:cubicBezTo>
                <a:cubicBezTo>
                  <a:pt x="162" y="438"/>
                  <a:pt x="165" y="446"/>
                  <a:pt x="161" y="453"/>
                </a:cubicBezTo>
                <a:cubicBezTo>
                  <a:pt x="161" y="453"/>
                  <a:pt x="161" y="453"/>
                  <a:pt x="161" y="453"/>
                </a:cubicBezTo>
                <a:cubicBezTo>
                  <a:pt x="159" y="458"/>
                  <a:pt x="154" y="460"/>
                  <a:pt x="149" y="460"/>
                </a:cubicBezTo>
                <a:cubicBezTo>
                  <a:pt x="149" y="460"/>
                  <a:pt x="149" y="460"/>
                  <a:pt x="149" y="460"/>
                </a:cubicBezTo>
                <a:cubicBezTo>
                  <a:pt x="147" y="460"/>
                  <a:pt x="145" y="460"/>
                  <a:pt x="143" y="459"/>
                </a:cubicBezTo>
                <a:close/>
              </a:path>
            </a:pathLst>
          </a:custGeom>
          <a:solidFill>
            <a:srgbClr val="36C746"/>
          </a:solidFill>
          <a:ln w="9525">
            <a:solidFill>
              <a:srgbClr val="3FAE49"/>
            </a:solidFill>
            <a:round/>
            <a:headEnd/>
            <a:tailEnd/>
          </a:ln>
        </p:spPr>
        <p:txBody>
          <a:bodyPr vert="horz" wrap="square" lIns="91416" tIns="45708" rIns="91416" bIns="45708" numCol="1" anchor="t" anchorCtr="0" compatLnSpc="1">
            <a:prstTxWarp prst="textNoShape">
              <a:avLst/>
            </a:prstTxWarp>
          </a:bodyPr>
          <a:lstStyle/>
          <a:p>
            <a:pPr defTabSz="914171"/>
            <a:endParaRPr lang="en-US" sz="1800" dirty="0">
              <a:solidFill>
                <a:prstClr val="black"/>
              </a:solidFill>
              <a:latin typeface="Arial"/>
            </a:endParaRPr>
          </a:p>
        </p:txBody>
      </p:sp>
      <p:sp>
        <p:nvSpPr>
          <p:cNvPr id="52" name="Freeform 280"/>
          <p:cNvSpPr>
            <a:spLocks noEditPoints="1"/>
          </p:cNvSpPr>
          <p:nvPr/>
        </p:nvSpPr>
        <p:spPr bwMode="auto">
          <a:xfrm>
            <a:off x="8192610" y="3268311"/>
            <a:ext cx="370990" cy="337501"/>
          </a:xfrm>
          <a:custGeom>
            <a:avLst/>
            <a:gdLst/>
            <a:ahLst/>
            <a:cxnLst>
              <a:cxn ang="0">
                <a:pos x="183" y="15"/>
              </a:cxn>
              <a:cxn ang="0">
                <a:pos x="122" y="174"/>
              </a:cxn>
              <a:cxn ang="0">
                <a:pos x="122" y="182"/>
              </a:cxn>
              <a:cxn ang="0">
                <a:pos x="80" y="200"/>
              </a:cxn>
              <a:cxn ang="0">
                <a:pos x="15" y="261"/>
              </a:cxn>
              <a:cxn ang="0">
                <a:pos x="14" y="267"/>
              </a:cxn>
              <a:cxn ang="0">
                <a:pos x="22" y="279"/>
              </a:cxn>
              <a:cxn ang="0">
                <a:pos x="39" y="272"/>
              </a:cxn>
              <a:cxn ang="0">
                <a:pos x="123" y="210"/>
              </a:cxn>
              <a:cxn ang="0">
                <a:pos x="124" y="216"/>
              </a:cxn>
              <a:cxn ang="0">
                <a:pos x="200" y="360"/>
              </a:cxn>
              <a:cxn ang="0">
                <a:pos x="201" y="361"/>
              </a:cxn>
              <a:cxn ang="0">
                <a:pos x="154" y="383"/>
              </a:cxn>
              <a:cxn ang="0">
                <a:pos x="28" y="328"/>
              </a:cxn>
              <a:cxn ang="0">
                <a:pos x="12" y="319"/>
              </a:cxn>
              <a:cxn ang="0">
                <a:pos x="2" y="335"/>
              </a:cxn>
              <a:cxn ang="0">
                <a:pos x="33" y="382"/>
              </a:cxn>
              <a:cxn ang="0">
                <a:pos x="159" y="409"/>
              </a:cxn>
              <a:cxn ang="0">
                <a:pos x="224" y="377"/>
              </a:cxn>
              <a:cxn ang="0">
                <a:pos x="297" y="411"/>
              </a:cxn>
              <a:cxn ang="0">
                <a:pos x="297" y="410"/>
              </a:cxn>
              <a:cxn ang="0">
                <a:pos x="448" y="372"/>
              </a:cxn>
              <a:cxn ang="0">
                <a:pos x="461" y="330"/>
              </a:cxn>
              <a:cxn ang="0">
                <a:pos x="426" y="252"/>
              </a:cxn>
              <a:cxn ang="0">
                <a:pos x="327" y="181"/>
              </a:cxn>
              <a:cxn ang="0">
                <a:pos x="328" y="167"/>
              </a:cxn>
              <a:cxn ang="0">
                <a:pos x="317" y="94"/>
              </a:cxn>
              <a:cxn ang="0">
                <a:pos x="266" y="20"/>
              </a:cxn>
              <a:cxn ang="0">
                <a:pos x="183" y="15"/>
              </a:cxn>
              <a:cxn ang="0">
                <a:pos x="196" y="38"/>
              </a:cxn>
              <a:cxn ang="0">
                <a:pos x="251" y="42"/>
              </a:cxn>
              <a:cxn ang="0">
                <a:pos x="301" y="167"/>
              </a:cxn>
              <a:cxn ang="0">
                <a:pos x="301" y="172"/>
              </a:cxn>
              <a:cxn ang="0">
                <a:pos x="188" y="166"/>
              </a:cxn>
              <a:cxn ang="0">
                <a:pos x="148" y="174"/>
              </a:cxn>
              <a:cxn ang="0">
                <a:pos x="196" y="38"/>
              </a:cxn>
              <a:cxn ang="0">
                <a:pos x="191" y="192"/>
              </a:cxn>
              <a:cxn ang="0">
                <a:pos x="299" y="199"/>
              </a:cxn>
              <a:cxn ang="0">
                <a:pos x="297" y="213"/>
              </a:cxn>
              <a:cxn ang="0">
                <a:pos x="224" y="345"/>
              </a:cxn>
              <a:cxn ang="0">
                <a:pos x="217" y="339"/>
              </a:cxn>
              <a:cxn ang="0">
                <a:pos x="150" y="214"/>
              </a:cxn>
              <a:cxn ang="0">
                <a:pos x="149" y="201"/>
              </a:cxn>
              <a:cxn ang="0">
                <a:pos x="191" y="192"/>
              </a:cxn>
              <a:cxn ang="0">
                <a:pos x="323" y="217"/>
              </a:cxn>
              <a:cxn ang="0">
                <a:pos x="325" y="208"/>
              </a:cxn>
              <a:cxn ang="0">
                <a:pos x="405" y="269"/>
              </a:cxn>
              <a:cxn ang="0">
                <a:pos x="405" y="269"/>
              </a:cxn>
              <a:cxn ang="0">
                <a:pos x="434" y="330"/>
              </a:cxn>
              <a:cxn ang="0">
                <a:pos x="426" y="357"/>
              </a:cxn>
              <a:cxn ang="0">
                <a:pos x="305" y="385"/>
              </a:cxn>
              <a:cxn ang="0">
                <a:pos x="304" y="385"/>
              </a:cxn>
              <a:cxn ang="0">
                <a:pos x="246" y="360"/>
              </a:cxn>
              <a:cxn ang="0">
                <a:pos x="323" y="217"/>
              </a:cxn>
              <a:cxn ang="0">
                <a:pos x="426" y="252"/>
              </a:cxn>
              <a:cxn ang="0">
                <a:pos x="426" y="252"/>
              </a:cxn>
              <a:cxn ang="0">
                <a:pos x="426" y="252"/>
              </a:cxn>
              <a:cxn ang="0">
                <a:pos x="426" y="252"/>
              </a:cxn>
              <a:cxn ang="0">
                <a:pos x="159" y="409"/>
              </a:cxn>
              <a:cxn ang="0">
                <a:pos x="159" y="409"/>
              </a:cxn>
              <a:cxn ang="0">
                <a:pos x="159" y="409"/>
              </a:cxn>
              <a:cxn ang="0">
                <a:pos x="159" y="409"/>
              </a:cxn>
            </a:cxnLst>
            <a:rect l="0" t="0" r="r" b="b"/>
            <a:pathLst>
              <a:path w="461" h="429">
                <a:moveTo>
                  <a:pt x="183" y="15"/>
                </a:moveTo>
                <a:cubicBezTo>
                  <a:pt x="143" y="38"/>
                  <a:pt x="122" y="95"/>
                  <a:pt x="122" y="174"/>
                </a:cubicBezTo>
                <a:cubicBezTo>
                  <a:pt x="122" y="177"/>
                  <a:pt x="122" y="179"/>
                  <a:pt x="122" y="182"/>
                </a:cubicBezTo>
                <a:cubicBezTo>
                  <a:pt x="107" y="187"/>
                  <a:pt x="93" y="193"/>
                  <a:pt x="80" y="200"/>
                </a:cubicBezTo>
                <a:cubicBezTo>
                  <a:pt x="48" y="217"/>
                  <a:pt x="25" y="239"/>
                  <a:pt x="15" y="261"/>
                </a:cubicBezTo>
                <a:cubicBezTo>
                  <a:pt x="14" y="263"/>
                  <a:pt x="14" y="265"/>
                  <a:pt x="14" y="267"/>
                </a:cubicBezTo>
                <a:cubicBezTo>
                  <a:pt x="14" y="272"/>
                  <a:pt x="17" y="276"/>
                  <a:pt x="22" y="279"/>
                </a:cubicBezTo>
                <a:cubicBezTo>
                  <a:pt x="28" y="282"/>
                  <a:pt x="36" y="279"/>
                  <a:pt x="39" y="272"/>
                </a:cubicBezTo>
                <a:cubicBezTo>
                  <a:pt x="50" y="248"/>
                  <a:pt x="82" y="225"/>
                  <a:pt x="123" y="210"/>
                </a:cubicBezTo>
                <a:cubicBezTo>
                  <a:pt x="123" y="212"/>
                  <a:pt x="123" y="214"/>
                  <a:pt x="124" y="216"/>
                </a:cubicBezTo>
                <a:cubicBezTo>
                  <a:pt x="128" y="274"/>
                  <a:pt x="154" y="322"/>
                  <a:pt x="200" y="360"/>
                </a:cubicBezTo>
                <a:cubicBezTo>
                  <a:pt x="200" y="360"/>
                  <a:pt x="201" y="360"/>
                  <a:pt x="201" y="361"/>
                </a:cubicBezTo>
                <a:cubicBezTo>
                  <a:pt x="175" y="377"/>
                  <a:pt x="155" y="382"/>
                  <a:pt x="154" y="383"/>
                </a:cubicBezTo>
                <a:cubicBezTo>
                  <a:pt x="51" y="402"/>
                  <a:pt x="29" y="331"/>
                  <a:pt x="28" y="328"/>
                </a:cubicBezTo>
                <a:cubicBezTo>
                  <a:pt x="26" y="321"/>
                  <a:pt x="19" y="317"/>
                  <a:pt x="12" y="319"/>
                </a:cubicBezTo>
                <a:cubicBezTo>
                  <a:pt x="5" y="321"/>
                  <a:pt x="0" y="328"/>
                  <a:pt x="2" y="335"/>
                </a:cubicBezTo>
                <a:cubicBezTo>
                  <a:pt x="3" y="336"/>
                  <a:pt x="10" y="361"/>
                  <a:pt x="33" y="382"/>
                </a:cubicBezTo>
                <a:cubicBezTo>
                  <a:pt x="54" y="401"/>
                  <a:pt x="93" y="421"/>
                  <a:pt x="159" y="409"/>
                </a:cubicBezTo>
                <a:cubicBezTo>
                  <a:pt x="164" y="408"/>
                  <a:pt x="192" y="399"/>
                  <a:pt x="224" y="377"/>
                </a:cubicBezTo>
                <a:cubicBezTo>
                  <a:pt x="257" y="398"/>
                  <a:pt x="287" y="408"/>
                  <a:pt x="297" y="411"/>
                </a:cubicBezTo>
                <a:cubicBezTo>
                  <a:pt x="297" y="411"/>
                  <a:pt x="297" y="410"/>
                  <a:pt x="297" y="410"/>
                </a:cubicBezTo>
                <a:cubicBezTo>
                  <a:pt x="355" y="429"/>
                  <a:pt x="422" y="412"/>
                  <a:pt x="448" y="372"/>
                </a:cubicBezTo>
                <a:cubicBezTo>
                  <a:pt x="454" y="362"/>
                  <a:pt x="461" y="348"/>
                  <a:pt x="461" y="330"/>
                </a:cubicBezTo>
                <a:cubicBezTo>
                  <a:pt x="461" y="309"/>
                  <a:pt x="453" y="283"/>
                  <a:pt x="426" y="252"/>
                </a:cubicBezTo>
                <a:cubicBezTo>
                  <a:pt x="399" y="219"/>
                  <a:pt x="366" y="196"/>
                  <a:pt x="327" y="181"/>
                </a:cubicBezTo>
                <a:cubicBezTo>
                  <a:pt x="327" y="176"/>
                  <a:pt x="328" y="172"/>
                  <a:pt x="328" y="167"/>
                </a:cubicBezTo>
                <a:cubicBezTo>
                  <a:pt x="328" y="141"/>
                  <a:pt x="324" y="116"/>
                  <a:pt x="317" y="94"/>
                </a:cubicBezTo>
                <a:cubicBezTo>
                  <a:pt x="306" y="62"/>
                  <a:pt x="288" y="35"/>
                  <a:pt x="266" y="20"/>
                </a:cubicBezTo>
                <a:cubicBezTo>
                  <a:pt x="239" y="1"/>
                  <a:pt x="209" y="0"/>
                  <a:pt x="183" y="15"/>
                </a:cubicBezTo>
                <a:close/>
                <a:moveTo>
                  <a:pt x="196" y="38"/>
                </a:moveTo>
                <a:cubicBezTo>
                  <a:pt x="213" y="28"/>
                  <a:pt x="232" y="29"/>
                  <a:pt x="251" y="42"/>
                </a:cubicBezTo>
                <a:cubicBezTo>
                  <a:pt x="276" y="59"/>
                  <a:pt x="301" y="101"/>
                  <a:pt x="301" y="167"/>
                </a:cubicBezTo>
                <a:cubicBezTo>
                  <a:pt x="301" y="168"/>
                  <a:pt x="301" y="170"/>
                  <a:pt x="301" y="172"/>
                </a:cubicBezTo>
                <a:cubicBezTo>
                  <a:pt x="266" y="163"/>
                  <a:pt x="227" y="161"/>
                  <a:pt x="188" y="166"/>
                </a:cubicBezTo>
                <a:cubicBezTo>
                  <a:pt x="175" y="168"/>
                  <a:pt x="161" y="170"/>
                  <a:pt x="148" y="174"/>
                </a:cubicBezTo>
                <a:cubicBezTo>
                  <a:pt x="148" y="105"/>
                  <a:pt x="165" y="56"/>
                  <a:pt x="196" y="38"/>
                </a:cubicBezTo>
                <a:close/>
                <a:moveTo>
                  <a:pt x="191" y="192"/>
                </a:moveTo>
                <a:cubicBezTo>
                  <a:pt x="229" y="188"/>
                  <a:pt x="266" y="190"/>
                  <a:pt x="299" y="199"/>
                </a:cubicBezTo>
                <a:cubicBezTo>
                  <a:pt x="298" y="204"/>
                  <a:pt x="298" y="208"/>
                  <a:pt x="297" y="213"/>
                </a:cubicBezTo>
                <a:cubicBezTo>
                  <a:pt x="287" y="278"/>
                  <a:pt x="255" y="319"/>
                  <a:pt x="224" y="345"/>
                </a:cubicBezTo>
                <a:cubicBezTo>
                  <a:pt x="221" y="343"/>
                  <a:pt x="219" y="341"/>
                  <a:pt x="217" y="339"/>
                </a:cubicBezTo>
                <a:cubicBezTo>
                  <a:pt x="177" y="306"/>
                  <a:pt x="154" y="264"/>
                  <a:pt x="150" y="214"/>
                </a:cubicBezTo>
                <a:cubicBezTo>
                  <a:pt x="150" y="209"/>
                  <a:pt x="150" y="205"/>
                  <a:pt x="149" y="201"/>
                </a:cubicBezTo>
                <a:cubicBezTo>
                  <a:pt x="163" y="197"/>
                  <a:pt x="177" y="194"/>
                  <a:pt x="191" y="192"/>
                </a:cubicBezTo>
                <a:close/>
                <a:moveTo>
                  <a:pt x="323" y="217"/>
                </a:moveTo>
                <a:cubicBezTo>
                  <a:pt x="324" y="214"/>
                  <a:pt x="324" y="211"/>
                  <a:pt x="325" y="208"/>
                </a:cubicBezTo>
                <a:cubicBezTo>
                  <a:pt x="356" y="222"/>
                  <a:pt x="383" y="242"/>
                  <a:pt x="405" y="269"/>
                </a:cubicBezTo>
                <a:cubicBezTo>
                  <a:pt x="405" y="269"/>
                  <a:pt x="405" y="269"/>
                  <a:pt x="405" y="269"/>
                </a:cubicBezTo>
                <a:cubicBezTo>
                  <a:pt x="424" y="291"/>
                  <a:pt x="434" y="312"/>
                  <a:pt x="434" y="330"/>
                </a:cubicBezTo>
                <a:cubicBezTo>
                  <a:pt x="434" y="340"/>
                  <a:pt x="431" y="349"/>
                  <a:pt x="426" y="357"/>
                </a:cubicBezTo>
                <a:cubicBezTo>
                  <a:pt x="406" y="387"/>
                  <a:pt x="352" y="400"/>
                  <a:pt x="305" y="385"/>
                </a:cubicBezTo>
                <a:cubicBezTo>
                  <a:pt x="305" y="385"/>
                  <a:pt x="305" y="385"/>
                  <a:pt x="304" y="385"/>
                </a:cubicBezTo>
                <a:cubicBezTo>
                  <a:pt x="296" y="383"/>
                  <a:pt x="273" y="375"/>
                  <a:pt x="246" y="360"/>
                </a:cubicBezTo>
                <a:cubicBezTo>
                  <a:pt x="277" y="332"/>
                  <a:pt x="312" y="287"/>
                  <a:pt x="323" y="217"/>
                </a:cubicBezTo>
                <a:close/>
                <a:moveTo>
                  <a:pt x="426" y="252"/>
                </a:moveTo>
                <a:cubicBezTo>
                  <a:pt x="426" y="252"/>
                  <a:pt x="426" y="252"/>
                  <a:pt x="426" y="252"/>
                </a:cubicBezTo>
                <a:cubicBezTo>
                  <a:pt x="426" y="252"/>
                  <a:pt x="426" y="252"/>
                  <a:pt x="426" y="252"/>
                </a:cubicBezTo>
                <a:cubicBezTo>
                  <a:pt x="426" y="252"/>
                  <a:pt x="426" y="252"/>
                  <a:pt x="426" y="252"/>
                </a:cubicBezTo>
                <a:close/>
                <a:moveTo>
                  <a:pt x="159" y="409"/>
                </a:moveTo>
                <a:cubicBezTo>
                  <a:pt x="159" y="409"/>
                  <a:pt x="159" y="409"/>
                  <a:pt x="159" y="409"/>
                </a:cubicBezTo>
                <a:cubicBezTo>
                  <a:pt x="159" y="409"/>
                  <a:pt x="159" y="409"/>
                  <a:pt x="159" y="409"/>
                </a:cubicBezTo>
                <a:cubicBezTo>
                  <a:pt x="159" y="409"/>
                  <a:pt x="159" y="409"/>
                  <a:pt x="159" y="409"/>
                </a:cubicBezTo>
                <a:close/>
              </a:path>
            </a:pathLst>
          </a:custGeom>
          <a:solidFill>
            <a:srgbClr val="36C746"/>
          </a:solidFill>
          <a:ln w="9525">
            <a:solidFill>
              <a:srgbClr val="3FAE49"/>
            </a:solidFill>
            <a:round/>
            <a:headEnd/>
            <a:tailEnd/>
          </a:ln>
        </p:spPr>
        <p:txBody>
          <a:bodyPr vert="horz" wrap="square" lIns="91416" tIns="45708" rIns="91416" bIns="45708" numCol="1" anchor="t" anchorCtr="0" compatLnSpc="1">
            <a:prstTxWarp prst="textNoShape">
              <a:avLst/>
            </a:prstTxWarp>
          </a:bodyPr>
          <a:lstStyle/>
          <a:p>
            <a:pPr defTabSz="914171"/>
            <a:endParaRPr lang="en-US" sz="1800" dirty="0">
              <a:solidFill>
                <a:prstClr val="black"/>
              </a:solidFill>
              <a:latin typeface="Arial"/>
            </a:endParaRPr>
          </a:p>
        </p:txBody>
      </p:sp>
      <p:sp>
        <p:nvSpPr>
          <p:cNvPr id="53" name="Freeform 276"/>
          <p:cNvSpPr>
            <a:spLocks/>
          </p:cNvSpPr>
          <p:nvPr/>
        </p:nvSpPr>
        <p:spPr bwMode="auto">
          <a:xfrm>
            <a:off x="8222886" y="4818962"/>
            <a:ext cx="317132" cy="324494"/>
          </a:xfrm>
          <a:custGeom>
            <a:avLst/>
            <a:gdLst/>
            <a:ahLst/>
            <a:cxnLst>
              <a:cxn ang="0">
                <a:pos x="200" y="65"/>
              </a:cxn>
              <a:cxn ang="0">
                <a:pos x="239" y="94"/>
              </a:cxn>
              <a:cxn ang="0">
                <a:pos x="265" y="96"/>
              </a:cxn>
              <a:cxn ang="0">
                <a:pos x="265" y="104"/>
              </a:cxn>
              <a:cxn ang="0">
                <a:pos x="157" y="116"/>
              </a:cxn>
              <a:cxn ang="0">
                <a:pos x="163" y="64"/>
              </a:cxn>
              <a:cxn ang="0">
                <a:pos x="92" y="6"/>
              </a:cxn>
              <a:cxn ang="0">
                <a:pos x="82" y="55"/>
              </a:cxn>
              <a:cxn ang="0">
                <a:pos x="27" y="26"/>
              </a:cxn>
              <a:cxn ang="0">
                <a:pos x="2" y="100"/>
              </a:cxn>
              <a:cxn ang="0">
                <a:pos x="77" y="142"/>
              </a:cxn>
              <a:cxn ang="0">
                <a:pos x="24" y="391"/>
              </a:cxn>
              <a:cxn ang="0">
                <a:pos x="101" y="441"/>
              </a:cxn>
              <a:cxn ang="0">
                <a:pos x="212" y="304"/>
              </a:cxn>
              <a:cxn ang="0">
                <a:pos x="246" y="365"/>
              </a:cxn>
              <a:cxn ang="0">
                <a:pos x="243" y="394"/>
              </a:cxn>
              <a:cxn ang="0">
                <a:pos x="325" y="430"/>
              </a:cxn>
              <a:cxn ang="0">
                <a:pos x="322" y="400"/>
              </a:cxn>
              <a:cxn ang="0">
                <a:pos x="367" y="417"/>
              </a:cxn>
              <a:cxn ang="0">
                <a:pos x="408" y="371"/>
              </a:cxn>
              <a:cxn ang="0">
                <a:pos x="321" y="310"/>
              </a:cxn>
              <a:cxn ang="0">
                <a:pos x="339" y="140"/>
              </a:cxn>
              <a:cxn ang="0">
                <a:pos x="363" y="138"/>
              </a:cxn>
              <a:cxn ang="0">
                <a:pos x="336" y="114"/>
              </a:cxn>
              <a:cxn ang="0">
                <a:pos x="231" y="234"/>
              </a:cxn>
              <a:cxn ang="0">
                <a:pos x="343" y="339"/>
              </a:cxn>
              <a:cxn ang="0">
                <a:pos x="381" y="370"/>
              </a:cxn>
              <a:cxn ang="0">
                <a:pos x="324" y="368"/>
              </a:cxn>
              <a:cxn ang="0">
                <a:pos x="297" y="416"/>
              </a:cxn>
              <a:cxn ang="0">
                <a:pos x="270" y="391"/>
              </a:cxn>
              <a:cxn ang="0">
                <a:pos x="272" y="369"/>
              </a:cxn>
              <a:cxn ang="0">
                <a:pos x="277" y="348"/>
              </a:cxn>
              <a:cxn ang="0">
                <a:pos x="248" y="306"/>
              </a:cxn>
              <a:cxn ang="0">
                <a:pos x="201" y="274"/>
              </a:cxn>
              <a:cxn ang="0">
                <a:pos x="183" y="244"/>
              </a:cxn>
              <a:cxn ang="0">
                <a:pos x="94" y="121"/>
              </a:cxn>
              <a:cxn ang="0">
                <a:pos x="27" y="83"/>
              </a:cxn>
              <a:cxn ang="0">
                <a:pos x="97" y="78"/>
              </a:cxn>
              <a:cxn ang="0">
                <a:pos x="109" y="51"/>
              </a:cxn>
              <a:cxn ang="0">
                <a:pos x="136" y="65"/>
              </a:cxn>
              <a:cxn ang="0">
                <a:pos x="123" y="115"/>
              </a:cxn>
              <a:cxn ang="0">
                <a:pos x="196" y="205"/>
              </a:cxn>
              <a:cxn ang="0">
                <a:pos x="230" y="190"/>
              </a:cxn>
              <a:cxn ang="0">
                <a:pos x="295" y="101"/>
              </a:cxn>
              <a:cxn ang="0">
                <a:pos x="242" y="67"/>
              </a:cxn>
              <a:cxn ang="0">
                <a:pos x="373" y="95"/>
              </a:cxn>
              <a:cxn ang="0">
                <a:pos x="403" y="166"/>
              </a:cxn>
              <a:cxn ang="0">
                <a:pos x="432" y="159"/>
              </a:cxn>
              <a:cxn ang="0">
                <a:pos x="228" y="17"/>
              </a:cxn>
            </a:cxnLst>
            <a:rect l="0" t="0" r="r" b="b"/>
            <a:pathLst>
              <a:path w="432" h="454">
                <a:moveTo>
                  <a:pt x="228" y="17"/>
                </a:moveTo>
                <a:cubicBezTo>
                  <a:pt x="223" y="23"/>
                  <a:pt x="216" y="32"/>
                  <a:pt x="211" y="40"/>
                </a:cubicBezTo>
                <a:cubicBezTo>
                  <a:pt x="206" y="48"/>
                  <a:pt x="200" y="57"/>
                  <a:pt x="200" y="65"/>
                </a:cubicBezTo>
                <a:cubicBezTo>
                  <a:pt x="200" y="69"/>
                  <a:pt x="202" y="73"/>
                  <a:pt x="204" y="76"/>
                </a:cubicBezTo>
                <a:cubicBezTo>
                  <a:pt x="205" y="76"/>
                  <a:pt x="205" y="77"/>
                  <a:pt x="206" y="77"/>
                </a:cubicBezTo>
                <a:cubicBezTo>
                  <a:pt x="218" y="87"/>
                  <a:pt x="229" y="93"/>
                  <a:pt x="239" y="94"/>
                </a:cubicBezTo>
                <a:cubicBezTo>
                  <a:pt x="239" y="94"/>
                  <a:pt x="239" y="94"/>
                  <a:pt x="239" y="94"/>
                </a:cubicBezTo>
                <a:cubicBezTo>
                  <a:pt x="239" y="94"/>
                  <a:pt x="248" y="94"/>
                  <a:pt x="248" y="94"/>
                </a:cubicBezTo>
                <a:cubicBezTo>
                  <a:pt x="252" y="94"/>
                  <a:pt x="261" y="95"/>
                  <a:pt x="265" y="96"/>
                </a:cubicBezTo>
                <a:cubicBezTo>
                  <a:pt x="267" y="98"/>
                  <a:pt x="268" y="100"/>
                  <a:pt x="268" y="101"/>
                </a:cubicBezTo>
                <a:cubicBezTo>
                  <a:pt x="268" y="101"/>
                  <a:pt x="268" y="102"/>
                  <a:pt x="267" y="102"/>
                </a:cubicBezTo>
                <a:cubicBezTo>
                  <a:pt x="265" y="104"/>
                  <a:pt x="265" y="104"/>
                  <a:pt x="265" y="104"/>
                </a:cubicBezTo>
                <a:cubicBezTo>
                  <a:pt x="265" y="104"/>
                  <a:pt x="237" y="139"/>
                  <a:pt x="237" y="139"/>
                </a:cubicBezTo>
                <a:cubicBezTo>
                  <a:pt x="226" y="152"/>
                  <a:pt x="215" y="167"/>
                  <a:pt x="207" y="176"/>
                </a:cubicBezTo>
                <a:cubicBezTo>
                  <a:pt x="185" y="151"/>
                  <a:pt x="168" y="130"/>
                  <a:pt x="157" y="116"/>
                </a:cubicBezTo>
                <a:cubicBezTo>
                  <a:pt x="154" y="112"/>
                  <a:pt x="152" y="109"/>
                  <a:pt x="150" y="107"/>
                </a:cubicBezTo>
                <a:cubicBezTo>
                  <a:pt x="150" y="105"/>
                  <a:pt x="151" y="103"/>
                  <a:pt x="152" y="102"/>
                </a:cubicBezTo>
                <a:cubicBezTo>
                  <a:pt x="157" y="92"/>
                  <a:pt x="163" y="78"/>
                  <a:pt x="163" y="64"/>
                </a:cubicBezTo>
                <a:cubicBezTo>
                  <a:pt x="163" y="62"/>
                  <a:pt x="163" y="61"/>
                  <a:pt x="163" y="59"/>
                </a:cubicBezTo>
                <a:cubicBezTo>
                  <a:pt x="160" y="39"/>
                  <a:pt x="136" y="23"/>
                  <a:pt x="122" y="15"/>
                </a:cubicBezTo>
                <a:cubicBezTo>
                  <a:pt x="101" y="2"/>
                  <a:pt x="96" y="5"/>
                  <a:pt x="92" y="6"/>
                </a:cubicBezTo>
                <a:cubicBezTo>
                  <a:pt x="84" y="9"/>
                  <a:pt x="81" y="17"/>
                  <a:pt x="81" y="31"/>
                </a:cubicBezTo>
                <a:cubicBezTo>
                  <a:pt x="81" y="37"/>
                  <a:pt x="82" y="44"/>
                  <a:pt x="82" y="52"/>
                </a:cubicBezTo>
                <a:cubicBezTo>
                  <a:pt x="82" y="52"/>
                  <a:pt x="82" y="54"/>
                  <a:pt x="82" y="55"/>
                </a:cubicBezTo>
                <a:cubicBezTo>
                  <a:pt x="77" y="60"/>
                  <a:pt x="65" y="67"/>
                  <a:pt x="60" y="67"/>
                </a:cubicBezTo>
                <a:cubicBezTo>
                  <a:pt x="56" y="65"/>
                  <a:pt x="49" y="50"/>
                  <a:pt x="46" y="45"/>
                </a:cubicBezTo>
                <a:cubicBezTo>
                  <a:pt x="41" y="34"/>
                  <a:pt x="37" y="26"/>
                  <a:pt x="27" y="26"/>
                </a:cubicBezTo>
                <a:cubicBezTo>
                  <a:pt x="23" y="26"/>
                  <a:pt x="18" y="27"/>
                  <a:pt x="14" y="33"/>
                </a:cubicBezTo>
                <a:cubicBezTo>
                  <a:pt x="6" y="42"/>
                  <a:pt x="0" y="63"/>
                  <a:pt x="0" y="83"/>
                </a:cubicBezTo>
                <a:cubicBezTo>
                  <a:pt x="0" y="89"/>
                  <a:pt x="1" y="95"/>
                  <a:pt x="2" y="100"/>
                </a:cubicBezTo>
                <a:cubicBezTo>
                  <a:pt x="2" y="101"/>
                  <a:pt x="2" y="101"/>
                  <a:pt x="3" y="102"/>
                </a:cubicBezTo>
                <a:cubicBezTo>
                  <a:pt x="15" y="140"/>
                  <a:pt x="53" y="141"/>
                  <a:pt x="71" y="142"/>
                </a:cubicBezTo>
                <a:cubicBezTo>
                  <a:pt x="73" y="142"/>
                  <a:pt x="75" y="142"/>
                  <a:pt x="77" y="142"/>
                </a:cubicBezTo>
                <a:cubicBezTo>
                  <a:pt x="87" y="154"/>
                  <a:pt x="125" y="199"/>
                  <a:pt x="155" y="235"/>
                </a:cubicBezTo>
                <a:cubicBezTo>
                  <a:pt x="106" y="291"/>
                  <a:pt x="30" y="376"/>
                  <a:pt x="26" y="384"/>
                </a:cubicBezTo>
                <a:cubicBezTo>
                  <a:pt x="24" y="386"/>
                  <a:pt x="24" y="389"/>
                  <a:pt x="24" y="391"/>
                </a:cubicBezTo>
                <a:cubicBezTo>
                  <a:pt x="24" y="394"/>
                  <a:pt x="25" y="397"/>
                  <a:pt x="26" y="400"/>
                </a:cubicBezTo>
                <a:cubicBezTo>
                  <a:pt x="28" y="402"/>
                  <a:pt x="32" y="409"/>
                  <a:pt x="63" y="426"/>
                </a:cubicBezTo>
                <a:cubicBezTo>
                  <a:pt x="93" y="442"/>
                  <a:pt x="99" y="441"/>
                  <a:pt x="101" y="441"/>
                </a:cubicBezTo>
                <a:cubicBezTo>
                  <a:pt x="108" y="441"/>
                  <a:pt x="112" y="437"/>
                  <a:pt x="131" y="413"/>
                </a:cubicBezTo>
                <a:cubicBezTo>
                  <a:pt x="141" y="401"/>
                  <a:pt x="153" y="384"/>
                  <a:pt x="169" y="363"/>
                </a:cubicBezTo>
                <a:cubicBezTo>
                  <a:pt x="186" y="340"/>
                  <a:pt x="202" y="318"/>
                  <a:pt x="212" y="304"/>
                </a:cubicBezTo>
                <a:cubicBezTo>
                  <a:pt x="226" y="321"/>
                  <a:pt x="243" y="342"/>
                  <a:pt x="250" y="351"/>
                </a:cubicBezTo>
                <a:cubicBezTo>
                  <a:pt x="249" y="352"/>
                  <a:pt x="249" y="354"/>
                  <a:pt x="248" y="355"/>
                </a:cubicBezTo>
                <a:cubicBezTo>
                  <a:pt x="247" y="361"/>
                  <a:pt x="246" y="363"/>
                  <a:pt x="246" y="365"/>
                </a:cubicBezTo>
                <a:cubicBezTo>
                  <a:pt x="246" y="365"/>
                  <a:pt x="246" y="366"/>
                  <a:pt x="246" y="366"/>
                </a:cubicBezTo>
                <a:cubicBezTo>
                  <a:pt x="245" y="370"/>
                  <a:pt x="243" y="378"/>
                  <a:pt x="243" y="387"/>
                </a:cubicBezTo>
                <a:cubicBezTo>
                  <a:pt x="243" y="390"/>
                  <a:pt x="243" y="392"/>
                  <a:pt x="243" y="394"/>
                </a:cubicBezTo>
                <a:cubicBezTo>
                  <a:pt x="245" y="413"/>
                  <a:pt x="266" y="430"/>
                  <a:pt x="278" y="438"/>
                </a:cubicBezTo>
                <a:cubicBezTo>
                  <a:pt x="301" y="454"/>
                  <a:pt x="310" y="452"/>
                  <a:pt x="313" y="451"/>
                </a:cubicBezTo>
                <a:cubicBezTo>
                  <a:pt x="318" y="449"/>
                  <a:pt x="325" y="445"/>
                  <a:pt x="325" y="430"/>
                </a:cubicBezTo>
                <a:cubicBezTo>
                  <a:pt x="325" y="430"/>
                  <a:pt x="325" y="430"/>
                  <a:pt x="325" y="430"/>
                </a:cubicBezTo>
                <a:cubicBezTo>
                  <a:pt x="325" y="425"/>
                  <a:pt x="324" y="419"/>
                  <a:pt x="323" y="413"/>
                </a:cubicBezTo>
                <a:cubicBezTo>
                  <a:pt x="323" y="409"/>
                  <a:pt x="322" y="403"/>
                  <a:pt x="322" y="400"/>
                </a:cubicBezTo>
                <a:cubicBezTo>
                  <a:pt x="328" y="396"/>
                  <a:pt x="341" y="389"/>
                  <a:pt x="349" y="386"/>
                </a:cubicBezTo>
                <a:cubicBezTo>
                  <a:pt x="352" y="391"/>
                  <a:pt x="357" y="399"/>
                  <a:pt x="360" y="404"/>
                </a:cubicBezTo>
                <a:cubicBezTo>
                  <a:pt x="367" y="417"/>
                  <a:pt x="367" y="417"/>
                  <a:pt x="367" y="417"/>
                </a:cubicBezTo>
                <a:cubicBezTo>
                  <a:pt x="370" y="421"/>
                  <a:pt x="376" y="430"/>
                  <a:pt x="386" y="427"/>
                </a:cubicBezTo>
                <a:cubicBezTo>
                  <a:pt x="392" y="425"/>
                  <a:pt x="396" y="421"/>
                  <a:pt x="402" y="403"/>
                </a:cubicBezTo>
                <a:cubicBezTo>
                  <a:pt x="403" y="398"/>
                  <a:pt x="407" y="384"/>
                  <a:pt x="408" y="371"/>
                </a:cubicBezTo>
                <a:cubicBezTo>
                  <a:pt x="409" y="350"/>
                  <a:pt x="395" y="326"/>
                  <a:pt x="377" y="317"/>
                </a:cubicBezTo>
                <a:cubicBezTo>
                  <a:pt x="365" y="311"/>
                  <a:pt x="353" y="311"/>
                  <a:pt x="342" y="312"/>
                </a:cubicBezTo>
                <a:cubicBezTo>
                  <a:pt x="333" y="312"/>
                  <a:pt x="325" y="313"/>
                  <a:pt x="321" y="310"/>
                </a:cubicBezTo>
                <a:cubicBezTo>
                  <a:pt x="317" y="306"/>
                  <a:pt x="287" y="273"/>
                  <a:pt x="259" y="240"/>
                </a:cubicBezTo>
                <a:cubicBezTo>
                  <a:pt x="274" y="219"/>
                  <a:pt x="313" y="163"/>
                  <a:pt x="328" y="144"/>
                </a:cubicBezTo>
                <a:cubicBezTo>
                  <a:pt x="329" y="143"/>
                  <a:pt x="333" y="141"/>
                  <a:pt x="339" y="140"/>
                </a:cubicBezTo>
                <a:cubicBezTo>
                  <a:pt x="339" y="140"/>
                  <a:pt x="340" y="140"/>
                  <a:pt x="340" y="140"/>
                </a:cubicBezTo>
                <a:cubicBezTo>
                  <a:pt x="344" y="140"/>
                  <a:pt x="346" y="140"/>
                  <a:pt x="348" y="140"/>
                </a:cubicBezTo>
                <a:cubicBezTo>
                  <a:pt x="352" y="143"/>
                  <a:pt x="359" y="142"/>
                  <a:pt x="363" y="138"/>
                </a:cubicBezTo>
                <a:cubicBezTo>
                  <a:pt x="369" y="133"/>
                  <a:pt x="369" y="125"/>
                  <a:pt x="364" y="120"/>
                </a:cubicBezTo>
                <a:cubicBezTo>
                  <a:pt x="358" y="112"/>
                  <a:pt x="347" y="112"/>
                  <a:pt x="337" y="114"/>
                </a:cubicBezTo>
                <a:cubicBezTo>
                  <a:pt x="336" y="114"/>
                  <a:pt x="336" y="114"/>
                  <a:pt x="336" y="114"/>
                </a:cubicBezTo>
                <a:cubicBezTo>
                  <a:pt x="321" y="115"/>
                  <a:pt x="312" y="122"/>
                  <a:pt x="308" y="126"/>
                </a:cubicBezTo>
                <a:cubicBezTo>
                  <a:pt x="308" y="126"/>
                  <a:pt x="308" y="126"/>
                  <a:pt x="308" y="126"/>
                </a:cubicBezTo>
                <a:cubicBezTo>
                  <a:pt x="290" y="149"/>
                  <a:pt x="233" y="230"/>
                  <a:pt x="231" y="234"/>
                </a:cubicBezTo>
                <a:cubicBezTo>
                  <a:pt x="228" y="239"/>
                  <a:pt x="228" y="245"/>
                  <a:pt x="232" y="250"/>
                </a:cubicBezTo>
                <a:cubicBezTo>
                  <a:pt x="243" y="262"/>
                  <a:pt x="296" y="323"/>
                  <a:pt x="304" y="330"/>
                </a:cubicBezTo>
                <a:cubicBezTo>
                  <a:pt x="315" y="340"/>
                  <a:pt x="330" y="339"/>
                  <a:pt x="343" y="339"/>
                </a:cubicBezTo>
                <a:cubicBezTo>
                  <a:pt x="352" y="338"/>
                  <a:pt x="360" y="338"/>
                  <a:pt x="365" y="340"/>
                </a:cubicBezTo>
                <a:cubicBezTo>
                  <a:pt x="373" y="344"/>
                  <a:pt x="381" y="357"/>
                  <a:pt x="381" y="369"/>
                </a:cubicBezTo>
                <a:cubicBezTo>
                  <a:pt x="381" y="369"/>
                  <a:pt x="381" y="370"/>
                  <a:pt x="381" y="370"/>
                </a:cubicBezTo>
                <a:cubicBezTo>
                  <a:pt x="381" y="375"/>
                  <a:pt x="380" y="380"/>
                  <a:pt x="379" y="385"/>
                </a:cubicBezTo>
                <a:cubicBezTo>
                  <a:pt x="368" y="366"/>
                  <a:pt x="364" y="361"/>
                  <a:pt x="358" y="359"/>
                </a:cubicBezTo>
                <a:cubicBezTo>
                  <a:pt x="355" y="358"/>
                  <a:pt x="349" y="356"/>
                  <a:pt x="324" y="368"/>
                </a:cubicBezTo>
                <a:cubicBezTo>
                  <a:pt x="301" y="380"/>
                  <a:pt x="298" y="386"/>
                  <a:pt x="297" y="389"/>
                </a:cubicBezTo>
                <a:cubicBezTo>
                  <a:pt x="296" y="392"/>
                  <a:pt x="296" y="396"/>
                  <a:pt x="296" y="399"/>
                </a:cubicBezTo>
                <a:cubicBezTo>
                  <a:pt x="296" y="404"/>
                  <a:pt x="296" y="409"/>
                  <a:pt x="297" y="416"/>
                </a:cubicBezTo>
                <a:cubicBezTo>
                  <a:pt x="297" y="417"/>
                  <a:pt x="297" y="418"/>
                  <a:pt x="297" y="419"/>
                </a:cubicBezTo>
                <a:cubicBezTo>
                  <a:pt x="285" y="412"/>
                  <a:pt x="271" y="399"/>
                  <a:pt x="270" y="391"/>
                </a:cubicBezTo>
                <a:cubicBezTo>
                  <a:pt x="270" y="391"/>
                  <a:pt x="270" y="391"/>
                  <a:pt x="270" y="391"/>
                </a:cubicBezTo>
                <a:cubicBezTo>
                  <a:pt x="270" y="390"/>
                  <a:pt x="270" y="388"/>
                  <a:pt x="270" y="387"/>
                </a:cubicBezTo>
                <a:cubicBezTo>
                  <a:pt x="270" y="381"/>
                  <a:pt x="271" y="375"/>
                  <a:pt x="272" y="372"/>
                </a:cubicBezTo>
                <a:cubicBezTo>
                  <a:pt x="272" y="372"/>
                  <a:pt x="272" y="369"/>
                  <a:pt x="272" y="369"/>
                </a:cubicBezTo>
                <a:cubicBezTo>
                  <a:pt x="272" y="369"/>
                  <a:pt x="272" y="369"/>
                  <a:pt x="272" y="369"/>
                </a:cubicBezTo>
                <a:cubicBezTo>
                  <a:pt x="274" y="363"/>
                  <a:pt x="274" y="363"/>
                  <a:pt x="274" y="363"/>
                </a:cubicBezTo>
                <a:cubicBezTo>
                  <a:pt x="277" y="353"/>
                  <a:pt x="277" y="350"/>
                  <a:pt x="277" y="348"/>
                </a:cubicBezTo>
                <a:cubicBezTo>
                  <a:pt x="277" y="348"/>
                  <a:pt x="277" y="348"/>
                  <a:pt x="277" y="347"/>
                </a:cubicBezTo>
                <a:cubicBezTo>
                  <a:pt x="277" y="343"/>
                  <a:pt x="277" y="342"/>
                  <a:pt x="266" y="329"/>
                </a:cubicBezTo>
                <a:cubicBezTo>
                  <a:pt x="248" y="306"/>
                  <a:pt x="248" y="306"/>
                  <a:pt x="248" y="306"/>
                </a:cubicBezTo>
                <a:cubicBezTo>
                  <a:pt x="222" y="273"/>
                  <a:pt x="222" y="273"/>
                  <a:pt x="222" y="273"/>
                </a:cubicBezTo>
                <a:cubicBezTo>
                  <a:pt x="219" y="270"/>
                  <a:pt x="215" y="268"/>
                  <a:pt x="211" y="268"/>
                </a:cubicBezTo>
                <a:cubicBezTo>
                  <a:pt x="207" y="268"/>
                  <a:pt x="203" y="270"/>
                  <a:pt x="201" y="274"/>
                </a:cubicBezTo>
                <a:cubicBezTo>
                  <a:pt x="159" y="331"/>
                  <a:pt x="112" y="395"/>
                  <a:pt x="97" y="413"/>
                </a:cubicBezTo>
                <a:cubicBezTo>
                  <a:pt x="86" y="408"/>
                  <a:pt x="65" y="397"/>
                  <a:pt x="55" y="390"/>
                </a:cubicBezTo>
                <a:cubicBezTo>
                  <a:pt x="75" y="365"/>
                  <a:pt x="141" y="291"/>
                  <a:pt x="183" y="244"/>
                </a:cubicBezTo>
                <a:cubicBezTo>
                  <a:pt x="185" y="241"/>
                  <a:pt x="186" y="238"/>
                  <a:pt x="186" y="235"/>
                </a:cubicBezTo>
                <a:cubicBezTo>
                  <a:pt x="186" y="232"/>
                  <a:pt x="185" y="229"/>
                  <a:pt x="183" y="226"/>
                </a:cubicBezTo>
                <a:cubicBezTo>
                  <a:pt x="174" y="216"/>
                  <a:pt x="97" y="125"/>
                  <a:pt x="94" y="121"/>
                </a:cubicBezTo>
                <a:cubicBezTo>
                  <a:pt x="89" y="115"/>
                  <a:pt x="81" y="115"/>
                  <a:pt x="72" y="115"/>
                </a:cubicBezTo>
                <a:cubicBezTo>
                  <a:pt x="52" y="114"/>
                  <a:pt x="35" y="112"/>
                  <a:pt x="28" y="94"/>
                </a:cubicBezTo>
                <a:cubicBezTo>
                  <a:pt x="27" y="90"/>
                  <a:pt x="27" y="87"/>
                  <a:pt x="27" y="83"/>
                </a:cubicBezTo>
                <a:cubicBezTo>
                  <a:pt x="27" y="78"/>
                  <a:pt x="28" y="73"/>
                  <a:pt x="28" y="68"/>
                </a:cubicBezTo>
                <a:cubicBezTo>
                  <a:pt x="35" y="81"/>
                  <a:pt x="44" y="92"/>
                  <a:pt x="56" y="94"/>
                </a:cubicBezTo>
                <a:cubicBezTo>
                  <a:pt x="73" y="96"/>
                  <a:pt x="92" y="82"/>
                  <a:pt x="97" y="78"/>
                </a:cubicBezTo>
                <a:cubicBezTo>
                  <a:pt x="105" y="71"/>
                  <a:pt x="109" y="66"/>
                  <a:pt x="109" y="60"/>
                </a:cubicBezTo>
                <a:cubicBezTo>
                  <a:pt x="109" y="59"/>
                  <a:pt x="109" y="59"/>
                  <a:pt x="109" y="59"/>
                </a:cubicBezTo>
                <a:cubicBezTo>
                  <a:pt x="109" y="57"/>
                  <a:pt x="109" y="55"/>
                  <a:pt x="109" y="51"/>
                </a:cubicBezTo>
                <a:cubicBezTo>
                  <a:pt x="109" y="48"/>
                  <a:pt x="108" y="43"/>
                  <a:pt x="108" y="38"/>
                </a:cubicBezTo>
                <a:cubicBezTo>
                  <a:pt x="120" y="45"/>
                  <a:pt x="135" y="56"/>
                  <a:pt x="136" y="63"/>
                </a:cubicBezTo>
                <a:cubicBezTo>
                  <a:pt x="136" y="63"/>
                  <a:pt x="136" y="64"/>
                  <a:pt x="136" y="65"/>
                </a:cubicBezTo>
                <a:cubicBezTo>
                  <a:pt x="136" y="72"/>
                  <a:pt x="131" y="83"/>
                  <a:pt x="128" y="91"/>
                </a:cubicBezTo>
                <a:cubicBezTo>
                  <a:pt x="124" y="98"/>
                  <a:pt x="121" y="104"/>
                  <a:pt x="121" y="109"/>
                </a:cubicBezTo>
                <a:cubicBezTo>
                  <a:pt x="121" y="111"/>
                  <a:pt x="122" y="113"/>
                  <a:pt x="123" y="115"/>
                </a:cubicBezTo>
                <a:cubicBezTo>
                  <a:pt x="124" y="118"/>
                  <a:pt x="125" y="120"/>
                  <a:pt x="127" y="121"/>
                </a:cubicBezTo>
                <a:cubicBezTo>
                  <a:pt x="129" y="123"/>
                  <a:pt x="132" y="128"/>
                  <a:pt x="136" y="133"/>
                </a:cubicBezTo>
                <a:cubicBezTo>
                  <a:pt x="149" y="149"/>
                  <a:pt x="170" y="175"/>
                  <a:pt x="196" y="205"/>
                </a:cubicBezTo>
                <a:cubicBezTo>
                  <a:pt x="199" y="208"/>
                  <a:pt x="203" y="210"/>
                  <a:pt x="207" y="210"/>
                </a:cubicBezTo>
                <a:cubicBezTo>
                  <a:pt x="213" y="210"/>
                  <a:pt x="216" y="206"/>
                  <a:pt x="221" y="201"/>
                </a:cubicBezTo>
                <a:cubicBezTo>
                  <a:pt x="230" y="190"/>
                  <a:pt x="230" y="190"/>
                  <a:pt x="230" y="190"/>
                </a:cubicBezTo>
                <a:cubicBezTo>
                  <a:pt x="286" y="121"/>
                  <a:pt x="286" y="121"/>
                  <a:pt x="286" y="121"/>
                </a:cubicBezTo>
                <a:cubicBezTo>
                  <a:pt x="286" y="121"/>
                  <a:pt x="287" y="120"/>
                  <a:pt x="287" y="120"/>
                </a:cubicBezTo>
                <a:cubicBezTo>
                  <a:pt x="292" y="114"/>
                  <a:pt x="295" y="108"/>
                  <a:pt x="295" y="101"/>
                </a:cubicBezTo>
                <a:cubicBezTo>
                  <a:pt x="295" y="93"/>
                  <a:pt x="291" y="85"/>
                  <a:pt x="283" y="75"/>
                </a:cubicBezTo>
                <a:cubicBezTo>
                  <a:pt x="279" y="70"/>
                  <a:pt x="273" y="69"/>
                  <a:pt x="249" y="68"/>
                </a:cubicBezTo>
                <a:cubicBezTo>
                  <a:pt x="242" y="67"/>
                  <a:pt x="242" y="67"/>
                  <a:pt x="242" y="67"/>
                </a:cubicBezTo>
                <a:cubicBezTo>
                  <a:pt x="240" y="67"/>
                  <a:pt x="236" y="66"/>
                  <a:pt x="229" y="61"/>
                </a:cubicBezTo>
                <a:cubicBezTo>
                  <a:pt x="234" y="52"/>
                  <a:pt x="245" y="37"/>
                  <a:pt x="252" y="31"/>
                </a:cubicBezTo>
                <a:cubicBezTo>
                  <a:pt x="274" y="41"/>
                  <a:pt x="356" y="81"/>
                  <a:pt x="373" y="95"/>
                </a:cubicBezTo>
                <a:cubicBezTo>
                  <a:pt x="389" y="108"/>
                  <a:pt x="406" y="147"/>
                  <a:pt x="406" y="158"/>
                </a:cubicBezTo>
                <a:cubicBezTo>
                  <a:pt x="406" y="158"/>
                  <a:pt x="406" y="158"/>
                  <a:pt x="406" y="158"/>
                </a:cubicBezTo>
                <a:cubicBezTo>
                  <a:pt x="404" y="161"/>
                  <a:pt x="403" y="163"/>
                  <a:pt x="403" y="166"/>
                </a:cubicBezTo>
                <a:cubicBezTo>
                  <a:pt x="403" y="169"/>
                  <a:pt x="404" y="172"/>
                  <a:pt x="406" y="174"/>
                </a:cubicBezTo>
                <a:cubicBezTo>
                  <a:pt x="411" y="180"/>
                  <a:pt x="419" y="181"/>
                  <a:pt x="425" y="176"/>
                </a:cubicBezTo>
                <a:cubicBezTo>
                  <a:pt x="428" y="174"/>
                  <a:pt x="432" y="168"/>
                  <a:pt x="432" y="159"/>
                </a:cubicBezTo>
                <a:cubicBezTo>
                  <a:pt x="432" y="136"/>
                  <a:pt x="410" y="91"/>
                  <a:pt x="390" y="75"/>
                </a:cubicBezTo>
                <a:cubicBezTo>
                  <a:pt x="368" y="56"/>
                  <a:pt x="264" y="7"/>
                  <a:pt x="255" y="4"/>
                </a:cubicBezTo>
                <a:cubicBezTo>
                  <a:pt x="245" y="0"/>
                  <a:pt x="236" y="8"/>
                  <a:pt x="228" y="17"/>
                </a:cubicBezTo>
                <a:close/>
              </a:path>
            </a:pathLst>
          </a:custGeom>
          <a:solidFill>
            <a:srgbClr val="36C746"/>
          </a:solidFill>
          <a:ln w="9525">
            <a:solidFill>
              <a:srgbClr val="3FAE49"/>
            </a:solidFill>
            <a:round/>
            <a:headEnd/>
            <a:tailEnd/>
          </a:ln>
        </p:spPr>
        <p:txBody>
          <a:bodyPr vert="horz" wrap="square" lIns="91416" tIns="45708" rIns="91416" bIns="45708" numCol="1" anchor="t" anchorCtr="0" compatLnSpc="1">
            <a:prstTxWarp prst="textNoShape">
              <a:avLst/>
            </a:prstTxWarp>
          </a:bodyPr>
          <a:lstStyle/>
          <a:p>
            <a:pPr defTabSz="914171"/>
            <a:endParaRPr lang="en-US" sz="1800" dirty="0">
              <a:solidFill>
                <a:prstClr val="black"/>
              </a:solidFill>
              <a:latin typeface="Arial"/>
            </a:endParaRPr>
          </a:p>
        </p:txBody>
      </p:sp>
      <p:pic>
        <p:nvPicPr>
          <p:cNvPr id="57" name="Picture 2"/>
          <p:cNvPicPr>
            <a:picLocks noChangeAspect="1" noChangeArrowheads="1"/>
          </p:cNvPicPr>
          <p:nvPr/>
        </p:nvPicPr>
        <p:blipFill>
          <a:blip r:embed="rId15" cstate="print"/>
          <a:srcRect/>
          <a:stretch>
            <a:fillRect/>
          </a:stretch>
        </p:blipFill>
        <p:spPr bwMode="auto">
          <a:xfrm>
            <a:off x="6517552" y="3918411"/>
            <a:ext cx="816377" cy="539329"/>
          </a:xfrm>
          <a:prstGeom prst="rect">
            <a:avLst/>
          </a:prstGeom>
          <a:noFill/>
          <a:ln w="9525">
            <a:noFill/>
            <a:miter lim="800000"/>
            <a:headEnd/>
            <a:tailEnd/>
          </a:ln>
        </p:spPr>
      </p:pic>
      <p:pic>
        <p:nvPicPr>
          <p:cNvPr id="61" name="Image 60"/>
          <p:cNvPicPr>
            <a:picLocks noChangeAspect="1"/>
          </p:cNvPicPr>
          <p:nvPr/>
        </p:nvPicPr>
        <p:blipFill>
          <a:blip r:embed="rId16" cstate="print"/>
          <a:stretch>
            <a:fillRect/>
          </a:stretch>
        </p:blipFill>
        <p:spPr>
          <a:xfrm>
            <a:off x="6710508" y="5143456"/>
            <a:ext cx="701625" cy="937466"/>
          </a:xfrm>
          <a:prstGeom prst="rect">
            <a:avLst/>
          </a:prstGeom>
        </p:spPr>
      </p:pic>
      <p:pic>
        <p:nvPicPr>
          <p:cNvPr id="62" name="Image 61"/>
          <p:cNvPicPr>
            <a:picLocks noChangeAspect="1"/>
          </p:cNvPicPr>
          <p:nvPr/>
        </p:nvPicPr>
        <p:blipFill>
          <a:blip r:embed="rId17" cstate="print"/>
          <a:stretch>
            <a:fillRect/>
          </a:stretch>
        </p:blipFill>
        <p:spPr>
          <a:xfrm>
            <a:off x="3374771" y="4222693"/>
            <a:ext cx="1996904" cy="474059"/>
          </a:xfrm>
          <a:prstGeom prst="rect">
            <a:avLst/>
          </a:prstGeom>
        </p:spPr>
      </p:pic>
      <p:sp>
        <p:nvSpPr>
          <p:cNvPr id="64" name="Rectangle à coins arrondis 63"/>
          <p:cNvSpPr/>
          <p:nvPr/>
        </p:nvSpPr>
        <p:spPr>
          <a:xfrm>
            <a:off x="633423" y="1322811"/>
            <a:ext cx="2203953" cy="468655"/>
          </a:xfrm>
          <a:prstGeom prst="roundRect">
            <a:avLst/>
          </a:prstGeom>
          <a:noFill/>
          <a:ln w="38100">
            <a:solidFill>
              <a:srgbClr val="3FAE4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71"/>
            <a:r>
              <a:rPr lang="fr-FR" sz="1100" b="1" dirty="0">
                <a:solidFill>
                  <a:srgbClr val="3FAE49"/>
                </a:solidFill>
                <a:latin typeface="Arial"/>
              </a:rPr>
              <a:t>Ethernet </a:t>
            </a:r>
            <a:r>
              <a:rPr lang="fr-FR" sz="1100" b="1" dirty="0" err="1">
                <a:solidFill>
                  <a:srgbClr val="3FAE49"/>
                </a:solidFill>
                <a:latin typeface="Arial"/>
              </a:rPr>
              <a:t>Ready</a:t>
            </a:r>
            <a:r>
              <a:rPr lang="fr-FR" sz="1100" b="1" dirty="0">
                <a:solidFill>
                  <a:srgbClr val="3FAE49"/>
                </a:solidFill>
                <a:latin typeface="Arial"/>
              </a:rPr>
              <a:t> Smart Panels</a:t>
            </a:r>
          </a:p>
        </p:txBody>
      </p:sp>
      <p:sp>
        <p:nvSpPr>
          <p:cNvPr id="65" name="TextBox 81"/>
          <p:cNvSpPr txBox="1"/>
          <p:nvPr/>
        </p:nvSpPr>
        <p:spPr>
          <a:xfrm>
            <a:off x="8603301" y="1892189"/>
            <a:ext cx="3174452" cy="1361891"/>
          </a:xfrm>
          <a:prstGeom prst="rect">
            <a:avLst/>
          </a:prstGeom>
          <a:noFill/>
          <a:ln w="12700">
            <a:noFill/>
          </a:ln>
        </p:spPr>
        <p:txBody>
          <a:bodyPr wrap="square" lIns="68553" tIns="34280" rIns="68553" bIns="34280" rtlCol="0">
            <a:spAutoFit/>
          </a:bodyPr>
          <a:lstStyle/>
          <a:p>
            <a:pPr marL="128540" indent="-128540" defTabSz="914171">
              <a:buFont typeface="Arial" panose="020B0604020202020204" pitchFamily="34" charset="0"/>
              <a:buChar char="•"/>
            </a:pPr>
            <a:r>
              <a:rPr lang="en-US" sz="1400" dirty="0" err="1">
                <a:solidFill>
                  <a:srgbClr val="000000"/>
                </a:solidFill>
                <a:latin typeface="Arial Rounded MT Std Light" pitchFamily="34" charset="0"/>
              </a:rPr>
              <a:t>Conformitate</a:t>
            </a:r>
            <a:r>
              <a:rPr lang="en-US" sz="1400" dirty="0">
                <a:solidFill>
                  <a:srgbClr val="000000"/>
                </a:solidFill>
                <a:latin typeface="Arial Rounded MT Std Light" pitchFamily="34" charset="0"/>
              </a:rPr>
              <a:t> cu </a:t>
            </a:r>
            <a:r>
              <a:rPr lang="en-US" sz="1400" dirty="0" err="1">
                <a:solidFill>
                  <a:srgbClr val="000000"/>
                </a:solidFill>
                <a:latin typeface="Arial Rounded MT Std Light" pitchFamily="34" charset="0"/>
              </a:rPr>
              <a:t>standarde</a:t>
            </a:r>
            <a:endParaRPr lang="en-US" sz="1400" dirty="0">
              <a:solidFill>
                <a:srgbClr val="000000"/>
              </a:solidFill>
              <a:latin typeface="Arial Rounded MT Std Light" pitchFamily="34" charset="0"/>
            </a:endParaRPr>
          </a:p>
          <a:p>
            <a:pPr marL="128540" indent="-128540" defTabSz="914171">
              <a:buFont typeface="Arial" panose="020B0604020202020204" pitchFamily="34" charset="0"/>
              <a:buChar char="•"/>
            </a:pPr>
            <a:r>
              <a:rPr lang="fr-FR" sz="1400" dirty="0" err="1">
                <a:solidFill>
                  <a:srgbClr val="000000"/>
                </a:solidFill>
                <a:latin typeface="Arial Rounded MT Std Light" pitchFamily="34" charset="0"/>
              </a:rPr>
              <a:t>Vizibilitate</a:t>
            </a:r>
            <a:r>
              <a:rPr lang="fr-FR" sz="1400" dirty="0">
                <a:solidFill>
                  <a:srgbClr val="000000"/>
                </a:solidFill>
                <a:latin typeface="Arial Rounded MT Std Light" pitchFamily="34" charset="0"/>
              </a:rPr>
              <a:t> </a:t>
            </a:r>
            <a:r>
              <a:rPr lang="fr-FR" sz="1400" dirty="0" err="1">
                <a:solidFill>
                  <a:srgbClr val="000000"/>
                </a:solidFill>
                <a:latin typeface="Arial Rounded MT Std Light" pitchFamily="34" charset="0"/>
              </a:rPr>
              <a:t>clara</a:t>
            </a:r>
            <a:r>
              <a:rPr lang="fr-FR" sz="1400" dirty="0">
                <a:solidFill>
                  <a:srgbClr val="000000"/>
                </a:solidFill>
                <a:latin typeface="Arial Rounded MT Std Light" pitchFamily="34" charset="0"/>
              </a:rPr>
              <a:t> </a:t>
            </a:r>
            <a:r>
              <a:rPr lang="fr-FR" sz="1400" dirty="0" err="1">
                <a:solidFill>
                  <a:srgbClr val="000000"/>
                </a:solidFill>
                <a:latin typeface="Arial Rounded MT Std Light" pitchFamily="34" charset="0"/>
              </a:rPr>
              <a:t>asupra</a:t>
            </a:r>
            <a:r>
              <a:rPr lang="fr-FR" sz="1400" dirty="0">
                <a:solidFill>
                  <a:srgbClr val="000000"/>
                </a:solidFill>
                <a:latin typeface="Arial Rounded MT Std Light" pitchFamily="34" charset="0"/>
              </a:rPr>
              <a:t> </a:t>
            </a:r>
            <a:r>
              <a:rPr lang="fr-FR" sz="1400" dirty="0" err="1">
                <a:solidFill>
                  <a:srgbClr val="000000"/>
                </a:solidFill>
                <a:latin typeface="Arial Rounded MT Std Light" pitchFamily="34" charset="0"/>
              </a:rPr>
              <a:t>consumurilor</a:t>
            </a:r>
            <a:r>
              <a:rPr lang="fr-FR" sz="1400" dirty="0">
                <a:solidFill>
                  <a:srgbClr val="000000"/>
                </a:solidFill>
                <a:latin typeface="Arial Rounded MT Std Light" pitchFamily="34" charset="0"/>
              </a:rPr>
              <a:t> de </a:t>
            </a:r>
            <a:r>
              <a:rPr lang="fr-FR" sz="1400" dirty="0" err="1">
                <a:solidFill>
                  <a:srgbClr val="000000"/>
                </a:solidFill>
                <a:latin typeface="Arial Rounded MT Std Light" pitchFamily="34" charset="0"/>
              </a:rPr>
              <a:t>energii</a:t>
            </a:r>
            <a:endParaRPr lang="fr-FR" sz="1400" dirty="0">
              <a:solidFill>
                <a:srgbClr val="000000"/>
              </a:solidFill>
              <a:latin typeface="Arial Rounded MT Std Light" pitchFamily="34" charset="0"/>
            </a:endParaRPr>
          </a:p>
          <a:p>
            <a:pPr marL="114271" indent="-114271">
              <a:buClr>
                <a:schemeClr val="accent6"/>
              </a:buClr>
              <a:buFont typeface="Arial" pitchFamily="34" charset="0"/>
              <a:buChar char="•"/>
            </a:pPr>
            <a:r>
              <a:rPr lang="en-US" sz="1400" dirty="0" err="1">
                <a:solidFill>
                  <a:srgbClr val="000000"/>
                </a:solidFill>
              </a:rPr>
              <a:t>Rapoarte</a:t>
            </a:r>
            <a:r>
              <a:rPr lang="en-US" sz="1400" dirty="0">
                <a:solidFill>
                  <a:srgbClr val="000000"/>
                </a:solidFill>
              </a:rPr>
              <a:t> &amp; dashboards &amp; </a:t>
            </a:r>
            <a:r>
              <a:rPr lang="en-US" sz="1400" dirty="0" err="1">
                <a:solidFill>
                  <a:srgbClr val="000000"/>
                </a:solidFill>
              </a:rPr>
              <a:t>istoric</a:t>
            </a:r>
            <a:r>
              <a:rPr lang="en-US" sz="1400" dirty="0">
                <a:solidFill>
                  <a:srgbClr val="000000"/>
                </a:solidFill>
              </a:rPr>
              <a:t> </a:t>
            </a:r>
          </a:p>
          <a:p>
            <a:pPr marL="114271" indent="-114271">
              <a:buClr>
                <a:schemeClr val="accent6"/>
              </a:buClr>
              <a:buFont typeface="Arial" pitchFamily="34" charset="0"/>
              <a:buChar char="•"/>
            </a:pPr>
            <a:r>
              <a:rPr lang="en-US" sz="1400" dirty="0">
                <a:solidFill>
                  <a:srgbClr val="000000"/>
                </a:solidFill>
              </a:rPr>
              <a:t>Date </a:t>
            </a:r>
            <a:r>
              <a:rPr lang="en-US" sz="1400" dirty="0" err="1">
                <a:solidFill>
                  <a:srgbClr val="000000"/>
                </a:solidFill>
              </a:rPr>
              <a:t>disponibile</a:t>
            </a:r>
            <a:r>
              <a:rPr lang="en-US" sz="1400" dirty="0">
                <a:solidFill>
                  <a:srgbClr val="000000"/>
                </a:solidFill>
              </a:rPr>
              <a:t> in </a:t>
            </a:r>
            <a:r>
              <a:rPr lang="en-US" sz="1400" dirty="0" err="1">
                <a:solidFill>
                  <a:srgbClr val="000000"/>
                </a:solidFill>
              </a:rPr>
              <a:t>timp</a:t>
            </a:r>
            <a:r>
              <a:rPr lang="en-US" sz="1400" dirty="0">
                <a:solidFill>
                  <a:srgbClr val="000000"/>
                </a:solidFill>
              </a:rPr>
              <a:t> real</a:t>
            </a:r>
          </a:p>
          <a:p>
            <a:pPr marL="114271" indent="-114271">
              <a:buClr>
                <a:schemeClr val="accent6"/>
              </a:buClr>
              <a:buFont typeface="Arial" pitchFamily="34" charset="0"/>
              <a:buChar char="•"/>
            </a:pPr>
            <a:r>
              <a:rPr lang="en-US" sz="1400" dirty="0">
                <a:solidFill>
                  <a:srgbClr val="000000"/>
                </a:solidFill>
              </a:rPr>
              <a:t>Status-</a:t>
            </a:r>
            <a:r>
              <a:rPr lang="en-US" sz="1400" dirty="0" err="1">
                <a:solidFill>
                  <a:srgbClr val="000000"/>
                </a:solidFill>
              </a:rPr>
              <a:t>ul</a:t>
            </a:r>
            <a:r>
              <a:rPr lang="en-US" sz="1400" dirty="0">
                <a:solidFill>
                  <a:srgbClr val="000000"/>
                </a:solidFill>
              </a:rPr>
              <a:t> </a:t>
            </a:r>
            <a:r>
              <a:rPr lang="en-US" sz="1400" dirty="0" err="1">
                <a:solidFill>
                  <a:srgbClr val="000000"/>
                </a:solidFill>
              </a:rPr>
              <a:t>aparatajului</a:t>
            </a:r>
            <a:endParaRPr lang="fr-FR" sz="1400" dirty="0">
              <a:solidFill>
                <a:srgbClr val="000000"/>
              </a:solidFill>
              <a:latin typeface="Arial Rounded MT Std Light" pitchFamily="34" charset="0"/>
            </a:endParaRPr>
          </a:p>
        </p:txBody>
      </p:sp>
      <p:sp>
        <p:nvSpPr>
          <p:cNvPr id="66" name="Rectangle 65"/>
          <p:cNvSpPr/>
          <p:nvPr/>
        </p:nvSpPr>
        <p:spPr>
          <a:xfrm>
            <a:off x="8507770" y="3762478"/>
            <a:ext cx="3502226" cy="1169551"/>
          </a:xfrm>
          <a:prstGeom prst="rect">
            <a:avLst/>
          </a:prstGeom>
        </p:spPr>
        <p:txBody>
          <a:bodyPr wrap="square">
            <a:spAutoFit/>
          </a:bodyPr>
          <a:lstStyle/>
          <a:p>
            <a:pPr marL="128540" indent="-128540" defTabSz="914171">
              <a:buFont typeface="Arial" panose="020B0604020202020204" pitchFamily="34" charset="0"/>
              <a:buChar char="•"/>
            </a:pPr>
            <a:r>
              <a:rPr lang="fr-FR" sz="1400" dirty="0" err="1">
                <a:solidFill>
                  <a:srgbClr val="000000"/>
                </a:solidFill>
                <a:latin typeface="Arial Rounded MT Std Light" pitchFamily="34" charset="0"/>
              </a:rPr>
              <a:t>Notificari</a:t>
            </a:r>
            <a:r>
              <a:rPr lang="fr-FR" sz="1400" dirty="0">
                <a:solidFill>
                  <a:srgbClr val="000000"/>
                </a:solidFill>
                <a:latin typeface="Arial Rounded MT Std Light" pitchFamily="34" charset="0"/>
              </a:rPr>
              <a:t> </a:t>
            </a:r>
            <a:r>
              <a:rPr lang="fr-FR" sz="1400" dirty="0" err="1">
                <a:solidFill>
                  <a:srgbClr val="000000"/>
                </a:solidFill>
                <a:latin typeface="Arial Rounded MT Std Light" pitchFamily="34" charset="0"/>
              </a:rPr>
              <a:t>instantanee</a:t>
            </a:r>
            <a:r>
              <a:rPr lang="fr-FR" sz="1400" dirty="0">
                <a:solidFill>
                  <a:srgbClr val="000000"/>
                </a:solidFill>
                <a:latin typeface="Arial Rounded MT Std Light" pitchFamily="34" charset="0"/>
              </a:rPr>
              <a:t> </a:t>
            </a:r>
            <a:r>
              <a:rPr lang="fr-FR" sz="1400" dirty="0" err="1">
                <a:solidFill>
                  <a:srgbClr val="000000"/>
                </a:solidFill>
                <a:latin typeface="Arial Rounded MT Std Light" pitchFamily="34" charset="0"/>
              </a:rPr>
              <a:t>privind</a:t>
            </a:r>
            <a:r>
              <a:rPr lang="fr-FR" sz="1400" dirty="0">
                <a:solidFill>
                  <a:srgbClr val="000000"/>
                </a:solidFill>
                <a:latin typeface="Arial Rounded MT Std Light" pitchFamily="34" charset="0"/>
              </a:rPr>
              <a:t> </a:t>
            </a:r>
            <a:r>
              <a:rPr lang="fr-FR" sz="1400" dirty="0" err="1">
                <a:solidFill>
                  <a:srgbClr val="000000"/>
                </a:solidFill>
                <a:latin typeface="Arial Rounded MT Std Light" pitchFamily="34" charset="0"/>
              </a:rPr>
              <a:t>eventuale</a:t>
            </a:r>
            <a:r>
              <a:rPr lang="fr-FR" sz="1400" dirty="0">
                <a:solidFill>
                  <a:srgbClr val="000000"/>
                </a:solidFill>
                <a:latin typeface="Arial Rounded MT Std Light" pitchFamily="34" charset="0"/>
              </a:rPr>
              <a:t> </a:t>
            </a:r>
            <a:r>
              <a:rPr lang="fr-FR" sz="1400" dirty="0" err="1">
                <a:solidFill>
                  <a:srgbClr val="000000"/>
                </a:solidFill>
                <a:latin typeface="Arial Rounded MT Std Light" pitchFamily="34" charset="0"/>
              </a:rPr>
              <a:t>defecte</a:t>
            </a:r>
            <a:endParaRPr lang="fr-FR" sz="1400" dirty="0">
              <a:solidFill>
                <a:srgbClr val="000000"/>
              </a:solidFill>
              <a:latin typeface="Arial Rounded MT Std Light" pitchFamily="34" charset="0"/>
            </a:endParaRPr>
          </a:p>
          <a:p>
            <a:pPr marL="128540" indent="-128540" defTabSz="914171">
              <a:buFont typeface="Arial" panose="020B0604020202020204" pitchFamily="34" charset="0"/>
              <a:buChar char="•"/>
            </a:pPr>
            <a:r>
              <a:rPr lang="fr-FR" sz="1400" dirty="0" err="1">
                <a:solidFill>
                  <a:srgbClr val="000000"/>
                </a:solidFill>
                <a:latin typeface="Arial Rounded MT Std Light" pitchFamily="34" charset="0"/>
              </a:rPr>
              <a:t>Platforma</a:t>
            </a:r>
            <a:r>
              <a:rPr lang="fr-FR" sz="1400" dirty="0">
                <a:solidFill>
                  <a:srgbClr val="000000"/>
                </a:solidFill>
                <a:latin typeface="Arial Rounded MT Std Light" pitchFamily="34" charset="0"/>
              </a:rPr>
              <a:t> </a:t>
            </a:r>
            <a:r>
              <a:rPr lang="fr-FR" sz="1400" dirty="0" err="1">
                <a:solidFill>
                  <a:srgbClr val="000000"/>
                </a:solidFill>
                <a:latin typeface="Arial Rounded MT Std Light" pitchFamily="34" charset="0"/>
              </a:rPr>
              <a:t>unica</a:t>
            </a:r>
            <a:r>
              <a:rPr lang="fr-FR" sz="1400" dirty="0">
                <a:solidFill>
                  <a:srgbClr val="000000"/>
                </a:solidFill>
                <a:latin typeface="Arial Rounded MT Std Light" pitchFamily="34" charset="0"/>
              </a:rPr>
              <a:t> </a:t>
            </a:r>
            <a:r>
              <a:rPr lang="fr-FR" sz="1400" dirty="0" err="1">
                <a:solidFill>
                  <a:srgbClr val="000000"/>
                </a:solidFill>
                <a:latin typeface="Arial Rounded MT Std Light" pitchFamily="34" charset="0"/>
              </a:rPr>
              <a:t>pentru</a:t>
            </a:r>
            <a:r>
              <a:rPr lang="fr-FR" sz="1400" dirty="0">
                <a:solidFill>
                  <a:srgbClr val="000000"/>
                </a:solidFill>
                <a:latin typeface="Arial Rounded MT Std Light" pitchFamily="34" charset="0"/>
              </a:rPr>
              <a:t> </a:t>
            </a:r>
            <a:r>
              <a:rPr lang="fr-FR" sz="1400" dirty="0" err="1">
                <a:solidFill>
                  <a:srgbClr val="000000"/>
                </a:solidFill>
                <a:latin typeface="Arial Rounded MT Std Light" pitchFamily="34" charset="0"/>
              </a:rPr>
              <a:t>mentenanta</a:t>
            </a:r>
            <a:endParaRPr lang="fr-FR" sz="1400" dirty="0">
              <a:solidFill>
                <a:srgbClr val="000000"/>
              </a:solidFill>
              <a:latin typeface="Arial Rounded MT Std Light" pitchFamily="34" charset="0"/>
            </a:endParaRPr>
          </a:p>
          <a:p>
            <a:pPr marL="128540" indent="-128540" defTabSz="914171">
              <a:buFont typeface="Arial" panose="020B0604020202020204" pitchFamily="34" charset="0"/>
              <a:buChar char="•"/>
            </a:pPr>
            <a:r>
              <a:rPr lang="fr-FR" sz="1400" dirty="0" err="1">
                <a:solidFill>
                  <a:srgbClr val="000000"/>
                </a:solidFill>
                <a:latin typeface="Arial Rounded MT Std Light" pitchFamily="34" charset="0"/>
              </a:rPr>
              <a:t>Disponibilitatea</a:t>
            </a:r>
            <a:r>
              <a:rPr lang="fr-FR" sz="1400" dirty="0">
                <a:solidFill>
                  <a:srgbClr val="000000"/>
                </a:solidFill>
                <a:latin typeface="Arial Rounded MT Std Light" pitchFamily="34" charset="0"/>
              </a:rPr>
              <a:t> </a:t>
            </a:r>
            <a:r>
              <a:rPr lang="fr-FR" sz="1400" dirty="0" err="1">
                <a:solidFill>
                  <a:srgbClr val="000000"/>
                </a:solidFill>
                <a:latin typeface="Arial Rounded MT Std Light" pitchFamily="34" charset="0"/>
              </a:rPr>
              <a:t>datelor</a:t>
            </a:r>
            <a:r>
              <a:rPr lang="fr-FR" sz="1400" dirty="0">
                <a:solidFill>
                  <a:srgbClr val="000000"/>
                </a:solidFill>
                <a:latin typeface="Arial Rounded MT Std Light" pitchFamily="34" charset="0"/>
              </a:rPr>
              <a:t> in </a:t>
            </a:r>
            <a:r>
              <a:rPr lang="fr-FR" sz="1400" dirty="0" err="1">
                <a:solidFill>
                  <a:srgbClr val="000000"/>
                </a:solidFill>
                <a:latin typeface="Arial Rounded MT Std Light" pitchFamily="34" charset="0"/>
              </a:rPr>
              <a:t>situatii</a:t>
            </a:r>
            <a:r>
              <a:rPr lang="fr-FR" sz="1400" dirty="0">
                <a:solidFill>
                  <a:srgbClr val="000000"/>
                </a:solidFill>
                <a:latin typeface="Arial Rounded MT Std Light" pitchFamily="34" charset="0"/>
              </a:rPr>
              <a:t> de </a:t>
            </a:r>
            <a:r>
              <a:rPr lang="fr-FR" sz="1400" dirty="0" err="1">
                <a:solidFill>
                  <a:srgbClr val="000000"/>
                </a:solidFill>
                <a:latin typeface="Arial Rounded MT Std Light" pitchFamily="34" charset="0"/>
              </a:rPr>
              <a:t>criza</a:t>
            </a:r>
            <a:r>
              <a:rPr lang="fr-FR" sz="1400" dirty="0">
                <a:solidFill>
                  <a:srgbClr val="000000"/>
                </a:solidFill>
                <a:latin typeface="Arial Rounded MT Std Light" pitchFamily="34" charset="0"/>
              </a:rPr>
              <a:t> </a:t>
            </a:r>
            <a:endParaRPr lang="en-US" sz="1400" dirty="0">
              <a:solidFill>
                <a:srgbClr val="000000"/>
              </a:solidFill>
              <a:latin typeface="Arial Rounded MT Std Light" pitchFamily="34" charset="0"/>
            </a:endParaRPr>
          </a:p>
        </p:txBody>
      </p:sp>
      <p:sp>
        <p:nvSpPr>
          <p:cNvPr id="67" name="Rectangle 66"/>
          <p:cNvSpPr/>
          <p:nvPr/>
        </p:nvSpPr>
        <p:spPr>
          <a:xfrm>
            <a:off x="8432593" y="5473032"/>
            <a:ext cx="3652579" cy="1169551"/>
          </a:xfrm>
          <a:prstGeom prst="rect">
            <a:avLst/>
          </a:prstGeom>
        </p:spPr>
        <p:txBody>
          <a:bodyPr wrap="square">
            <a:spAutoFit/>
          </a:bodyPr>
          <a:lstStyle/>
          <a:p>
            <a:pPr marL="128540" indent="-128540" defTabSz="914171">
              <a:buFont typeface="Arial" panose="020B0604020202020204" pitchFamily="34" charset="0"/>
              <a:buChar char="•"/>
            </a:pPr>
            <a:r>
              <a:rPr lang="fr-FR" sz="1400" dirty="0">
                <a:solidFill>
                  <a:srgbClr val="000000"/>
                </a:solidFill>
                <a:latin typeface="Arial Rounded MT Std Light" pitchFamily="34" charset="0"/>
              </a:rPr>
              <a:t>Instrument </a:t>
            </a:r>
            <a:r>
              <a:rPr lang="fr-FR" sz="1400" dirty="0" err="1">
                <a:solidFill>
                  <a:srgbClr val="000000"/>
                </a:solidFill>
                <a:latin typeface="Arial Rounded MT Std Light" pitchFamily="34" charset="0"/>
              </a:rPr>
              <a:t>pentru</a:t>
            </a:r>
            <a:r>
              <a:rPr lang="fr-FR" sz="1400" dirty="0">
                <a:solidFill>
                  <a:srgbClr val="000000"/>
                </a:solidFill>
                <a:latin typeface="Arial Rounded MT Std Light" pitchFamily="34" charset="0"/>
              </a:rPr>
              <a:t> </a:t>
            </a:r>
            <a:r>
              <a:rPr lang="fr-FR" sz="1400" dirty="0" err="1">
                <a:solidFill>
                  <a:srgbClr val="000000"/>
                </a:solidFill>
                <a:latin typeface="Arial Rounded MT Std Light" pitchFamily="34" charset="0"/>
              </a:rPr>
              <a:t>mentenanta</a:t>
            </a:r>
            <a:r>
              <a:rPr lang="fr-FR" sz="1400" dirty="0">
                <a:solidFill>
                  <a:srgbClr val="000000"/>
                </a:solidFill>
                <a:latin typeface="Arial Rounded MT Std Light" pitchFamily="34" charset="0"/>
              </a:rPr>
              <a:t> </a:t>
            </a:r>
            <a:r>
              <a:rPr lang="fr-FR" sz="1400" dirty="0" err="1">
                <a:solidFill>
                  <a:srgbClr val="000000"/>
                </a:solidFill>
                <a:latin typeface="Arial Rounded MT Std Light" pitchFamily="34" charset="0"/>
              </a:rPr>
              <a:t>preventiva</a:t>
            </a:r>
            <a:r>
              <a:rPr lang="fr-FR" sz="1400" dirty="0">
                <a:solidFill>
                  <a:srgbClr val="000000"/>
                </a:solidFill>
                <a:latin typeface="Arial Rounded MT Std Light" pitchFamily="34" charset="0"/>
              </a:rPr>
              <a:t> </a:t>
            </a:r>
          </a:p>
          <a:p>
            <a:pPr marL="128540" indent="-128540" defTabSz="914171">
              <a:buFont typeface="Arial" panose="020B0604020202020204" pitchFamily="34" charset="0"/>
              <a:buChar char="•"/>
            </a:pPr>
            <a:r>
              <a:rPr lang="fr-FR" sz="1400" dirty="0" err="1">
                <a:solidFill>
                  <a:srgbClr val="000000"/>
                </a:solidFill>
                <a:latin typeface="Arial Rounded MT Std Light" pitchFamily="34" charset="0"/>
              </a:rPr>
              <a:t>Urmarire</a:t>
            </a:r>
            <a:r>
              <a:rPr lang="fr-FR" sz="1400" dirty="0">
                <a:solidFill>
                  <a:srgbClr val="000000"/>
                </a:solidFill>
                <a:latin typeface="Arial Rounded MT Std Light" pitchFamily="34" charset="0"/>
              </a:rPr>
              <a:t> </a:t>
            </a:r>
            <a:r>
              <a:rPr lang="fr-FR" sz="1400" dirty="0" err="1">
                <a:solidFill>
                  <a:srgbClr val="000000"/>
                </a:solidFill>
                <a:latin typeface="Arial Rounded MT Std Light" pitchFamily="34" charset="0"/>
              </a:rPr>
              <a:t>rapida</a:t>
            </a:r>
            <a:r>
              <a:rPr lang="fr-FR" sz="1400" dirty="0">
                <a:solidFill>
                  <a:srgbClr val="000000"/>
                </a:solidFill>
                <a:latin typeface="Arial Rounded MT Std Light" pitchFamily="34" charset="0"/>
              </a:rPr>
              <a:t> a </a:t>
            </a:r>
            <a:r>
              <a:rPr lang="fr-FR" sz="1400" dirty="0" err="1">
                <a:solidFill>
                  <a:srgbClr val="000000"/>
                </a:solidFill>
                <a:latin typeface="Arial Rounded MT Std Light" pitchFamily="34" charset="0"/>
              </a:rPr>
              <a:t>planurilor</a:t>
            </a:r>
            <a:r>
              <a:rPr lang="fr-FR" sz="1400" dirty="0">
                <a:solidFill>
                  <a:srgbClr val="000000"/>
                </a:solidFill>
                <a:latin typeface="Arial Rounded MT Std Light" pitchFamily="34" charset="0"/>
              </a:rPr>
              <a:t> de </a:t>
            </a:r>
            <a:r>
              <a:rPr lang="fr-FR" sz="1400" dirty="0" err="1">
                <a:solidFill>
                  <a:srgbClr val="000000"/>
                </a:solidFill>
                <a:latin typeface="Arial Rounded MT Std Light" pitchFamily="34" charset="0"/>
              </a:rPr>
              <a:t>mentenanta</a:t>
            </a:r>
            <a:endParaRPr lang="fr-FR" sz="1400" dirty="0">
              <a:solidFill>
                <a:srgbClr val="000000"/>
              </a:solidFill>
              <a:latin typeface="Arial Rounded MT Std Light" pitchFamily="34" charset="0"/>
            </a:endParaRPr>
          </a:p>
          <a:p>
            <a:pPr marL="128540" indent="-128540" defTabSz="914171">
              <a:buFont typeface="Arial" panose="020B0604020202020204" pitchFamily="34" charset="0"/>
              <a:buChar char="•"/>
            </a:pPr>
            <a:r>
              <a:rPr lang="en-US" sz="1400" dirty="0" err="1">
                <a:solidFill>
                  <a:srgbClr val="000000"/>
                </a:solidFill>
                <a:latin typeface="Arial Rounded MT Std Light" pitchFamily="34" charset="0"/>
              </a:rPr>
              <a:t>Rapoarte</a:t>
            </a:r>
            <a:r>
              <a:rPr lang="en-US" sz="1400" dirty="0">
                <a:solidFill>
                  <a:srgbClr val="000000"/>
                </a:solidFill>
                <a:latin typeface="Arial Rounded MT Std Light" pitchFamily="34" charset="0"/>
              </a:rPr>
              <a:t> de </a:t>
            </a:r>
            <a:r>
              <a:rPr lang="en-US" sz="1400" dirty="0" err="1">
                <a:solidFill>
                  <a:srgbClr val="000000"/>
                </a:solidFill>
                <a:latin typeface="Arial Rounded MT Std Light" pitchFamily="34" charset="0"/>
              </a:rPr>
              <a:t>mentenanta</a:t>
            </a:r>
            <a:r>
              <a:rPr lang="en-US" sz="1400" dirty="0">
                <a:solidFill>
                  <a:srgbClr val="000000"/>
                </a:solidFill>
                <a:latin typeface="Arial Rounded MT Std Light" pitchFamily="34" charset="0"/>
              </a:rPr>
              <a:t> </a:t>
            </a:r>
            <a:r>
              <a:rPr lang="en-US" sz="1400" dirty="0" err="1">
                <a:solidFill>
                  <a:srgbClr val="000000"/>
                </a:solidFill>
                <a:latin typeface="Arial Rounded MT Std Light" pitchFamily="34" charset="0"/>
              </a:rPr>
              <a:t>disponibile</a:t>
            </a:r>
            <a:r>
              <a:rPr lang="en-US" sz="1400" dirty="0">
                <a:solidFill>
                  <a:srgbClr val="000000"/>
                </a:solidFill>
                <a:latin typeface="Arial Rounded MT Std Light" pitchFamily="34" charset="0"/>
              </a:rPr>
              <a:t> </a:t>
            </a:r>
            <a:r>
              <a:rPr lang="en-US" sz="1400" dirty="0" err="1">
                <a:solidFill>
                  <a:srgbClr val="000000"/>
                </a:solidFill>
                <a:latin typeface="Arial Rounded MT Std Light" pitchFamily="34" charset="0"/>
              </a:rPr>
              <a:t>imediat</a:t>
            </a:r>
            <a:r>
              <a:rPr lang="en-US" sz="1400" dirty="0">
                <a:solidFill>
                  <a:srgbClr val="000000"/>
                </a:solidFill>
                <a:latin typeface="Arial Rounded MT Std Light" pitchFamily="34" charset="0"/>
              </a:rPr>
              <a:t> </a:t>
            </a:r>
            <a:r>
              <a:rPr lang="en-US" sz="1400" dirty="0" err="1">
                <a:solidFill>
                  <a:srgbClr val="000000"/>
                </a:solidFill>
                <a:latin typeface="Arial Rounded MT Std Light" pitchFamily="34" charset="0"/>
              </a:rPr>
              <a:t>catre</a:t>
            </a:r>
            <a:r>
              <a:rPr lang="en-US" sz="1400" dirty="0">
                <a:solidFill>
                  <a:srgbClr val="000000"/>
                </a:solidFill>
                <a:latin typeface="Arial Rounded MT Std Light" pitchFamily="34" charset="0"/>
              </a:rPr>
              <a:t> </a:t>
            </a:r>
            <a:r>
              <a:rPr lang="en-US" sz="1400" dirty="0" err="1">
                <a:solidFill>
                  <a:srgbClr val="000000"/>
                </a:solidFill>
                <a:latin typeface="Arial Rounded MT Std Light" pitchFamily="34" charset="0"/>
              </a:rPr>
              <a:t>proprietar</a:t>
            </a:r>
            <a:endParaRPr lang="en-US" sz="1400" dirty="0">
              <a:solidFill>
                <a:srgbClr val="000000"/>
              </a:solidFill>
              <a:latin typeface="Arial Rounded MT Std Light" pitchFamily="34" charset="0"/>
            </a:endParaRPr>
          </a:p>
        </p:txBody>
      </p:sp>
      <p:sp>
        <p:nvSpPr>
          <p:cNvPr id="74" name="Rectangle à coins arrondis 73"/>
          <p:cNvSpPr/>
          <p:nvPr/>
        </p:nvSpPr>
        <p:spPr>
          <a:xfrm>
            <a:off x="556438" y="885755"/>
            <a:ext cx="4591955" cy="278761"/>
          </a:xfrm>
          <a:prstGeom prst="roundRect">
            <a:avLst/>
          </a:prstGeom>
          <a:noFill/>
          <a:ln w="38100">
            <a:solidFill>
              <a:srgbClr val="42B4E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71"/>
            <a:r>
              <a:rPr lang="fr-FR" sz="1400" b="1" dirty="0" err="1">
                <a:solidFill>
                  <a:srgbClr val="42B4E6"/>
                </a:solidFill>
                <a:latin typeface="Arial"/>
              </a:rPr>
              <a:t>Act</a:t>
            </a:r>
            <a:endParaRPr lang="fr-FR" sz="1400" b="1" dirty="0">
              <a:solidFill>
                <a:srgbClr val="42B4E6"/>
              </a:solidFill>
              <a:latin typeface="Arial"/>
            </a:endParaRPr>
          </a:p>
        </p:txBody>
      </p:sp>
      <p:sp>
        <p:nvSpPr>
          <p:cNvPr id="75" name="Title 9"/>
          <p:cNvSpPr txBox="1">
            <a:spLocks/>
          </p:cNvSpPr>
          <p:nvPr/>
        </p:nvSpPr>
        <p:spPr>
          <a:xfrm>
            <a:off x="418735" y="195341"/>
            <a:ext cx="4705892" cy="307075"/>
          </a:xfrm>
          <a:prstGeom prst="rect">
            <a:avLst/>
          </a:prstGeom>
          <a:effectLst>
            <a:reflection blurRad="6350" stA="50000" endA="300" endPos="55000" dir="5400000" sy="-100000" algn="bl" rotWithShape="0"/>
          </a:effectLst>
        </p:spPr>
        <p:txBody>
          <a:bodyPr vert="horz" lIns="0" tIns="0" rIns="0" bIns="0" rtlCol="0" anchor="b" anchorCtr="0">
            <a:noAutofit/>
          </a:bodyPr>
          <a:lstStyle>
            <a:lvl1pPr algn="l" defTabSz="914400" rtl="0" eaLnBrk="1" latinLnBrk="0" hangingPunct="1">
              <a:spcBef>
                <a:spcPct val="0"/>
              </a:spcBef>
              <a:buNone/>
              <a:defRPr sz="3600" b="1" kern="1200">
                <a:solidFill>
                  <a:srgbClr val="009530"/>
                </a:solidFill>
                <a:latin typeface="Arial" pitchFamily="34" charset="0"/>
                <a:ea typeface="+mj-ea"/>
                <a:cs typeface="Arial" pitchFamily="34" charset="0"/>
              </a:defRPr>
            </a:lvl1pPr>
          </a:lstStyle>
          <a:p>
            <a:pPr defTabSz="914171">
              <a:defRPr/>
            </a:pPr>
            <a:r>
              <a:rPr lang="en-US" sz="1800" dirty="0" err="1">
                <a:solidFill>
                  <a:srgbClr val="3FAE49"/>
                </a:solidFill>
              </a:rPr>
              <a:t>Prin</a:t>
            </a:r>
            <a:r>
              <a:rPr lang="en-US" sz="1800" dirty="0">
                <a:solidFill>
                  <a:srgbClr val="3FAE49"/>
                </a:solidFill>
              </a:rPr>
              <a:t> Smart Panels, dam voce </a:t>
            </a:r>
            <a:r>
              <a:rPr lang="en-US" sz="1800" dirty="0" err="1">
                <a:solidFill>
                  <a:srgbClr val="3FAE49"/>
                </a:solidFill>
              </a:rPr>
              <a:t>tabloului</a:t>
            </a:r>
            <a:r>
              <a:rPr lang="en-US" sz="1800" dirty="0">
                <a:solidFill>
                  <a:srgbClr val="3FAE49"/>
                </a:solidFill>
              </a:rPr>
              <a:t>….  </a:t>
            </a:r>
          </a:p>
        </p:txBody>
      </p:sp>
      <p:sp>
        <p:nvSpPr>
          <p:cNvPr id="76" name="Title 9"/>
          <p:cNvSpPr txBox="1">
            <a:spLocks/>
          </p:cNvSpPr>
          <p:nvPr/>
        </p:nvSpPr>
        <p:spPr>
          <a:xfrm>
            <a:off x="6556316" y="238112"/>
            <a:ext cx="5453681" cy="307075"/>
          </a:xfrm>
          <a:prstGeom prst="rect">
            <a:avLst/>
          </a:prstGeom>
          <a:effectLst>
            <a:reflection blurRad="6350" stA="50000" endA="300" endPos="55000" dir="5400000" sy="-100000" algn="bl" rotWithShape="0"/>
          </a:effectLst>
        </p:spPr>
        <p:txBody>
          <a:bodyPr vert="horz" lIns="0" tIns="0" rIns="0" bIns="0" rtlCol="0" anchor="b" anchorCtr="0">
            <a:noAutofit/>
          </a:bodyPr>
          <a:lstStyle>
            <a:lvl1pPr algn="l" defTabSz="914400" rtl="0" eaLnBrk="1" latinLnBrk="0" hangingPunct="1">
              <a:spcBef>
                <a:spcPct val="0"/>
              </a:spcBef>
              <a:buNone/>
              <a:defRPr sz="3600" b="1" kern="1200">
                <a:solidFill>
                  <a:srgbClr val="009530"/>
                </a:solidFill>
                <a:latin typeface="Arial" pitchFamily="34" charset="0"/>
                <a:ea typeface="+mj-ea"/>
                <a:cs typeface="Arial" pitchFamily="34" charset="0"/>
              </a:defRPr>
            </a:lvl1pPr>
          </a:lstStyle>
          <a:p>
            <a:pPr defTabSz="914171">
              <a:defRPr/>
            </a:pPr>
            <a:r>
              <a:rPr lang="en-US" sz="1700" dirty="0" err="1">
                <a:solidFill>
                  <a:srgbClr val="3FAE49"/>
                </a:solidFill>
              </a:rPr>
              <a:t>Actioneaza</a:t>
            </a:r>
            <a:r>
              <a:rPr lang="en-US" sz="1700" dirty="0">
                <a:solidFill>
                  <a:srgbClr val="3FAE49"/>
                </a:solidFill>
              </a:rPr>
              <a:t> </a:t>
            </a:r>
            <a:r>
              <a:rPr lang="en-US" sz="1700" dirty="0" err="1">
                <a:solidFill>
                  <a:srgbClr val="3FAE49"/>
                </a:solidFill>
              </a:rPr>
              <a:t>asupra</a:t>
            </a:r>
            <a:r>
              <a:rPr lang="en-US" sz="1700" dirty="0">
                <a:solidFill>
                  <a:srgbClr val="3FAE49"/>
                </a:solidFill>
              </a:rPr>
              <a:t> </a:t>
            </a:r>
            <a:r>
              <a:rPr lang="en-US" sz="1700" dirty="0" err="1">
                <a:solidFill>
                  <a:srgbClr val="3FAE49"/>
                </a:solidFill>
              </a:rPr>
              <a:t>instalatiei</a:t>
            </a:r>
            <a:r>
              <a:rPr lang="en-US" sz="1700" dirty="0">
                <a:solidFill>
                  <a:srgbClr val="3FAE49"/>
                </a:solidFill>
              </a:rPr>
              <a:t> </a:t>
            </a:r>
            <a:r>
              <a:rPr lang="en-US" sz="1700" dirty="0" err="1">
                <a:solidFill>
                  <a:srgbClr val="3FAE49"/>
                </a:solidFill>
              </a:rPr>
              <a:t>electrice</a:t>
            </a:r>
            <a:r>
              <a:rPr lang="en-US" sz="1700" dirty="0">
                <a:solidFill>
                  <a:srgbClr val="3FAE49"/>
                </a:solidFill>
              </a:rPr>
              <a:t> </a:t>
            </a:r>
            <a:r>
              <a:rPr lang="en-US" sz="1700" dirty="0" err="1">
                <a:solidFill>
                  <a:srgbClr val="3FAE49"/>
                </a:solidFill>
              </a:rPr>
              <a:t>si</a:t>
            </a:r>
            <a:r>
              <a:rPr lang="en-US" sz="1700" dirty="0">
                <a:solidFill>
                  <a:srgbClr val="3FAE49"/>
                </a:solidFill>
              </a:rPr>
              <a:t> </a:t>
            </a:r>
            <a:r>
              <a:rPr lang="en-US" sz="1700" dirty="0" err="1">
                <a:solidFill>
                  <a:srgbClr val="3FAE49"/>
                </a:solidFill>
              </a:rPr>
              <a:t>ia</a:t>
            </a:r>
            <a:r>
              <a:rPr lang="en-US" sz="1700" dirty="0">
                <a:solidFill>
                  <a:srgbClr val="3FAE49"/>
                </a:solidFill>
              </a:rPr>
              <a:t> </a:t>
            </a:r>
            <a:r>
              <a:rPr lang="en-US" sz="1700" dirty="0" err="1">
                <a:solidFill>
                  <a:srgbClr val="3FAE49"/>
                </a:solidFill>
              </a:rPr>
              <a:t>masuri</a:t>
            </a:r>
            <a:r>
              <a:rPr lang="en-US" sz="1700" dirty="0">
                <a:solidFill>
                  <a:srgbClr val="3FAE49"/>
                </a:solidFill>
              </a:rPr>
              <a:t>….</a:t>
            </a:r>
          </a:p>
        </p:txBody>
      </p:sp>
      <p:cxnSp>
        <p:nvCxnSpPr>
          <p:cNvPr id="54" name="Elbow Connector 33"/>
          <p:cNvCxnSpPr>
            <a:cxnSpLocks noChangeShapeType="1"/>
          </p:cNvCxnSpPr>
          <p:nvPr/>
        </p:nvCxnSpPr>
        <p:spPr bwMode="auto">
          <a:xfrm rot="10800000" flipV="1">
            <a:off x="7421570" y="3422889"/>
            <a:ext cx="715215" cy="663962"/>
          </a:xfrm>
          <a:prstGeom prst="bentConnector3">
            <a:avLst>
              <a:gd name="adj1" fmla="val 50000"/>
            </a:avLst>
          </a:prstGeom>
          <a:noFill/>
          <a:ln w="38100" algn="ctr">
            <a:solidFill>
              <a:schemeClr val="tx2"/>
            </a:solidFill>
            <a:round/>
            <a:headEnd type="none" w="med" len="med"/>
            <a:tailEnd type="oval" w="med" len="med"/>
          </a:ln>
        </p:spPr>
      </p:cxnSp>
      <p:pic>
        <p:nvPicPr>
          <p:cNvPr id="50" name="Image 49"/>
          <p:cNvPicPr/>
          <p:nvPr/>
        </p:nvPicPr>
        <p:blipFill>
          <a:blip r:embed="rId18" cstate="print"/>
          <a:srcRect l="3555" r="3084"/>
          <a:stretch>
            <a:fillRect/>
          </a:stretch>
        </p:blipFill>
        <p:spPr bwMode="auto">
          <a:xfrm>
            <a:off x="6359691" y="2117353"/>
            <a:ext cx="1207335" cy="718750"/>
          </a:xfrm>
          <a:prstGeom prst="rect">
            <a:avLst/>
          </a:prstGeom>
          <a:noFill/>
          <a:ln w="9525">
            <a:noFill/>
            <a:miter lim="800000"/>
            <a:headEnd/>
            <a:tailEnd/>
          </a:ln>
        </p:spPr>
      </p:pic>
      <p:pic>
        <p:nvPicPr>
          <p:cNvPr id="55" name="Picture 3" descr="C:\Users\SESA55219\Documents\1 - Damien\3 - Facility Insight\7 - Other offers\2 - Facility Hero\1 - Presentations\FH Energy dashboards.png"/>
          <p:cNvPicPr>
            <a:picLocks noChangeAspect="1" noChangeArrowheads="1"/>
          </p:cNvPicPr>
          <p:nvPr/>
        </p:nvPicPr>
        <p:blipFill>
          <a:blip r:embed="rId19" cstate="print"/>
          <a:srcRect r="15991"/>
          <a:stretch>
            <a:fillRect/>
          </a:stretch>
        </p:blipFill>
        <p:spPr bwMode="auto">
          <a:xfrm>
            <a:off x="6513436" y="2181786"/>
            <a:ext cx="879179" cy="579137"/>
          </a:xfrm>
          <a:prstGeom prst="rect">
            <a:avLst/>
          </a:prstGeom>
          <a:noFill/>
        </p:spPr>
      </p:pic>
      <p:pic>
        <p:nvPicPr>
          <p:cNvPr id="58" name="Picture 3"/>
          <p:cNvPicPr>
            <a:picLocks noChangeAspect="1" noChangeArrowheads="1"/>
          </p:cNvPicPr>
          <p:nvPr/>
        </p:nvPicPr>
        <p:blipFill>
          <a:blip r:embed="rId20" cstate="email"/>
          <a:srcRect/>
          <a:stretch>
            <a:fillRect/>
          </a:stretch>
        </p:blipFill>
        <p:spPr bwMode="auto">
          <a:xfrm>
            <a:off x="6887687" y="2880770"/>
            <a:ext cx="655231" cy="374320"/>
          </a:xfrm>
          <a:prstGeom prst="rect">
            <a:avLst/>
          </a:prstGeom>
          <a:noFill/>
          <a:ln w="9525">
            <a:noFill/>
            <a:miter lim="800000"/>
            <a:headEnd/>
            <a:tailEnd/>
          </a:ln>
        </p:spPr>
      </p:pic>
      <p:pic>
        <p:nvPicPr>
          <p:cNvPr id="59" name="Picture 4"/>
          <p:cNvPicPr>
            <a:picLocks noChangeAspect="1" noChangeArrowheads="1"/>
          </p:cNvPicPr>
          <p:nvPr/>
        </p:nvPicPr>
        <p:blipFill>
          <a:blip r:embed="rId21" cstate="email"/>
          <a:srcRect/>
          <a:stretch>
            <a:fillRect/>
          </a:stretch>
        </p:blipFill>
        <p:spPr bwMode="auto">
          <a:xfrm>
            <a:off x="7021837" y="1733152"/>
            <a:ext cx="624181" cy="357985"/>
          </a:xfrm>
          <a:prstGeom prst="rect">
            <a:avLst/>
          </a:prstGeom>
          <a:noFill/>
          <a:ln w="9525">
            <a:noFill/>
            <a:miter lim="800000"/>
            <a:headEnd/>
            <a:tailEnd/>
          </a:ln>
        </p:spPr>
      </p:pic>
      <p:grpSp>
        <p:nvGrpSpPr>
          <p:cNvPr id="60" name="Grouper 11"/>
          <p:cNvGrpSpPr/>
          <p:nvPr/>
        </p:nvGrpSpPr>
        <p:grpSpPr>
          <a:xfrm>
            <a:off x="6450759" y="4154360"/>
            <a:ext cx="298650" cy="568663"/>
            <a:chOff x="2760452" y="578070"/>
            <a:chExt cx="3253780" cy="5528085"/>
          </a:xfrm>
        </p:grpSpPr>
        <p:pic>
          <p:nvPicPr>
            <p:cNvPr id="63" name="Image 62" descr="Capture d’écran 2015-09-11 à 10.59.54.png"/>
            <p:cNvPicPr>
              <a:picLocks noChangeAspect="1"/>
            </p:cNvPicPr>
            <p:nvPr/>
          </p:nvPicPr>
          <p:blipFill rotWithShape="1">
            <a:blip r:embed="rId22" cstate="print">
              <a:extLst>
                <a:ext uri="{BEBA8EAE-BF5A-486C-A8C5-ECC9F3942E4B}">
                  <a14:imgProps xmlns:a14="http://schemas.microsoft.com/office/drawing/2010/main">
                    <a14:imgLayer r:embed="rId23">
                      <a14:imgEffect>
                        <a14:backgroundRemoval t="542" b="98917" l="2303" r="97368"/>
                      </a14:imgEffect>
                    </a14:imgLayer>
                  </a14:imgProps>
                </a:ext>
                <a:ext uri="{28A0092B-C50C-407E-A947-70E740481C1C}">
                  <a14:useLocalDpi xmlns:a14="http://schemas.microsoft.com/office/drawing/2010/main" val="0"/>
                </a:ext>
              </a:extLst>
            </a:blip>
            <a:srcRect b="19158"/>
            <a:stretch/>
          </p:blipFill>
          <p:spPr>
            <a:xfrm>
              <a:off x="2760452" y="578070"/>
              <a:ext cx="3253780" cy="4793561"/>
            </a:xfrm>
            <a:prstGeom prst="rect">
              <a:avLst/>
            </a:prstGeom>
          </p:spPr>
        </p:pic>
        <p:sp>
          <p:nvSpPr>
            <p:cNvPr id="68" name="Rectangle 67"/>
            <p:cNvSpPr/>
            <p:nvPr/>
          </p:nvSpPr>
          <p:spPr>
            <a:xfrm>
              <a:off x="3056759" y="1217448"/>
              <a:ext cx="2715173" cy="4154183"/>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171"/>
              <a:endParaRPr lang="fr-FR" sz="1800">
                <a:solidFill>
                  <a:prstClr val="white"/>
                </a:solidFill>
                <a:latin typeface="Arial"/>
              </a:endParaRPr>
            </a:p>
          </p:txBody>
        </p:sp>
        <p:pic>
          <p:nvPicPr>
            <p:cNvPr id="69" name="Image 68" descr="Capture d’écran 2015-09-11 à 10.59.54.png"/>
            <p:cNvPicPr>
              <a:picLocks noChangeAspect="1"/>
            </p:cNvPicPr>
            <p:nvPr/>
          </p:nvPicPr>
          <p:blipFill rotWithShape="1">
            <a:blip r:embed="rId24" cstate="print">
              <a:extLst>
                <a:ext uri="{BEBA8EAE-BF5A-486C-A8C5-ECC9F3942E4B}">
                  <a14:imgProps xmlns:a14="http://schemas.microsoft.com/office/drawing/2010/main">
                    <a14:imgLayer r:embed="rId25">
                      <a14:imgEffect>
                        <a14:backgroundRemoval t="542" b="98917" l="2303" r="97368"/>
                      </a14:imgEffect>
                    </a14:imgLayer>
                  </a14:imgProps>
                </a:ext>
                <a:ext uri="{28A0092B-C50C-407E-A947-70E740481C1C}">
                  <a14:useLocalDpi xmlns:a14="http://schemas.microsoft.com/office/drawing/2010/main" val="0"/>
                </a:ext>
              </a:extLst>
            </a:blip>
            <a:srcRect t="87613"/>
            <a:stretch/>
          </p:blipFill>
          <p:spPr>
            <a:xfrm>
              <a:off x="2760452" y="5371632"/>
              <a:ext cx="3253780" cy="734523"/>
            </a:xfrm>
            <a:prstGeom prst="rect">
              <a:avLst/>
            </a:prstGeom>
          </p:spPr>
        </p:pic>
      </p:grpSp>
      <p:pic>
        <p:nvPicPr>
          <p:cNvPr id="70" name="Picture 3" descr="C:\Users\SESA34~1\AppData\Local\Temp\notesBAAA25\IMG_4541.PNG"/>
          <p:cNvPicPr>
            <a:picLocks noChangeAspect="1" noChangeArrowheads="1"/>
          </p:cNvPicPr>
          <p:nvPr/>
        </p:nvPicPr>
        <p:blipFill>
          <a:blip r:embed="rId26" cstate="print"/>
          <a:srcRect/>
          <a:stretch>
            <a:fillRect/>
          </a:stretch>
        </p:blipFill>
        <p:spPr bwMode="auto">
          <a:xfrm>
            <a:off x="6504630" y="4260107"/>
            <a:ext cx="205878" cy="365434"/>
          </a:xfrm>
          <a:prstGeom prst="rect">
            <a:avLst/>
          </a:prstGeom>
          <a:noFill/>
        </p:spPr>
      </p:pic>
      <p:sp>
        <p:nvSpPr>
          <p:cNvPr id="72" name="27 Marcador de texto"/>
          <p:cNvSpPr txBox="1">
            <a:spLocks/>
          </p:cNvSpPr>
          <p:nvPr/>
        </p:nvSpPr>
        <p:spPr>
          <a:xfrm>
            <a:off x="6527362" y="1177388"/>
            <a:ext cx="5650305" cy="421408"/>
          </a:xfrm>
          <a:prstGeom prst="rect">
            <a:avLst/>
          </a:prstGeom>
        </p:spPr>
        <p:txBody>
          <a:bodyPr/>
          <a:lstStyle/>
          <a:p>
            <a:pPr marL="230602" indent="-209446" defTabSz="609296">
              <a:spcBef>
                <a:spcPts val="667"/>
              </a:spcBef>
              <a:spcAft>
                <a:spcPts val="667"/>
              </a:spcAft>
              <a:buClr>
                <a:srgbClr val="3DCD58"/>
              </a:buClr>
              <a:defRPr/>
            </a:pPr>
            <a:r>
              <a:rPr lang="fr-FR" sz="1600" dirty="0" err="1">
                <a:solidFill>
                  <a:srgbClr val="42B4E6"/>
                </a:solidFill>
                <a:latin typeface="Arial"/>
                <a:cs typeface="Arial"/>
              </a:rPr>
              <a:t>Oricand</a:t>
            </a:r>
            <a:r>
              <a:rPr lang="fr-FR" sz="1600" dirty="0">
                <a:solidFill>
                  <a:srgbClr val="42B4E6"/>
                </a:solidFill>
                <a:latin typeface="Arial"/>
                <a:cs typeface="Arial"/>
              </a:rPr>
              <a:t>, (de)</a:t>
            </a:r>
            <a:r>
              <a:rPr lang="fr-FR" sz="1600" dirty="0" err="1">
                <a:solidFill>
                  <a:srgbClr val="42B4E6"/>
                </a:solidFill>
                <a:latin typeface="Arial"/>
                <a:cs typeface="Arial"/>
              </a:rPr>
              <a:t>Oriunde</a:t>
            </a:r>
            <a:r>
              <a:rPr lang="fr-FR" sz="1600" dirty="0">
                <a:solidFill>
                  <a:srgbClr val="42B4E6"/>
                </a:solidFill>
                <a:latin typeface="Arial"/>
                <a:cs typeface="Arial"/>
              </a:rPr>
              <a:t> </a:t>
            </a:r>
            <a:r>
              <a:rPr lang="fr-FR" sz="1600" dirty="0" err="1">
                <a:solidFill>
                  <a:srgbClr val="42B4E6"/>
                </a:solidFill>
                <a:latin typeface="Arial"/>
                <a:cs typeface="Arial"/>
              </a:rPr>
              <a:t>multumita</a:t>
            </a:r>
            <a:r>
              <a:rPr lang="fr-FR" sz="1600" dirty="0">
                <a:solidFill>
                  <a:srgbClr val="42B4E6"/>
                </a:solidFill>
                <a:latin typeface="Arial"/>
                <a:cs typeface="Arial"/>
              </a:rPr>
              <a:t> </a:t>
            </a:r>
            <a:r>
              <a:rPr lang="fr-FR" sz="1600" dirty="0" err="1">
                <a:solidFill>
                  <a:srgbClr val="42B4E6"/>
                </a:solidFill>
                <a:latin typeface="Arial"/>
                <a:cs typeface="Arial"/>
              </a:rPr>
              <a:t>unor</a:t>
            </a:r>
            <a:r>
              <a:rPr lang="fr-FR" sz="1600" dirty="0">
                <a:solidFill>
                  <a:srgbClr val="42B4E6"/>
                </a:solidFill>
                <a:latin typeface="Arial"/>
                <a:cs typeface="Arial"/>
              </a:rPr>
              <a:t> instrumente simple…..</a:t>
            </a:r>
          </a:p>
          <a:p>
            <a:pPr marL="230602" indent="-209446" defTabSz="609296">
              <a:spcBef>
                <a:spcPts val="667"/>
              </a:spcBef>
              <a:spcAft>
                <a:spcPts val="667"/>
              </a:spcAft>
              <a:buClr>
                <a:srgbClr val="3DCD58"/>
              </a:buClr>
              <a:buFont typeface="Arial" panose="020B0604020202020204" pitchFamily="34" charset="0"/>
              <a:buChar char="•"/>
              <a:defRPr/>
            </a:pPr>
            <a:endParaRPr lang="en-US" sz="1600" dirty="0">
              <a:solidFill>
                <a:srgbClr val="42B4E6"/>
              </a:solidFill>
              <a:latin typeface="Arial"/>
              <a:cs typeface="Arial"/>
            </a:endParaRPr>
          </a:p>
        </p:txBody>
      </p:sp>
    </p:spTree>
    <p:extLst>
      <p:ext uri="{BB962C8B-B14F-4D97-AF65-F5344CB8AC3E}">
        <p14:creationId xmlns:p14="http://schemas.microsoft.com/office/powerpoint/2010/main" val="31388736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descr="33PLC_9975 R_ppt.jpg"/>
          <p:cNvPicPr>
            <a:picLocks noChangeAspect="1"/>
          </p:cNvPicPr>
          <p:nvPr/>
        </p:nvPicPr>
        <p:blipFill>
          <a:blip r:embed="rId2" cstate="print"/>
          <a:srcRect/>
          <a:stretch>
            <a:fillRect/>
          </a:stretch>
        </p:blipFill>
        <p:spPr>
          <a:xfrm>
            <a:off x="3064159" y="11050"/>
            <a:ext cx="5845529" cy="6856214"/>
          </a:xfrm>
          <a:prstGeom prst="rect">
            <a:avLst/>
          </a:prstGeom>
        </p:spPr>
      </p:pic>
      <p:sp>
        <p:nvSpPr>
          <p:cNvPr id="5" name="Rounded Rectangle 4"/>
          <p:cNvSpPr/>
          <p:nvPr/>
        </p:nvSpPr>
        <p:spPr bwMode="auto">
          <a:xfrm>
            <a:off x="3728633" y="1981577"/>
            <a:ext cx="622301" cy="253934"/>
          </a:xfrm>
          <a:prstGeom prst="roundRect">
            <a:avLst/>
          </a:prstGeom>
          <a:solidFill>
            <a:srgbClr val="FFFFFF">
              <a:alpha val="23922"/>
            </a:srgbClr>
          </a:solidFill>
          <a:ln w="19050" cap="flat" cmpd="sng" algn="ctr">
            <a:solidFill>
              <a:srgbClr val="FFFF00"/>
            </a:solidFill>
            <a:prstDash val="solid"/>
            <a:round/>
            <a:headEnd type="none" w="sm" len="sm"/>
            <a:tailEnd type="none" w="sm" len="sm"/>
          </a:ln>
          <a:effectLst/>
        </p:spPr>
        <p:txBody>
          <a:bodyPr vert="horz" wrap="square" lIns="91428" tIns="45715" rIns="91428" bIns="45715" numCol="1" rtlCol="0" anchor="t" anchorCtr="0" compatLnSpc="1">
            <a:prstTxWarp prst="textNoShape">
              <a:avLst/>
            </a:prstTxWarp>
          </a:bodyPr>
          <a:lstStyle/>
          <a:p>
            <a:pPr fontAlgn="base">
              <a:spcBef>
                <a:spcPct val="0"/>
              </a:spcBef>
              <a:spcAft>
                <a:spcPct val="0"/>
              </a:spcAft>
            </a:pPr>
            <a:endParaRPr lang="en-US" sz="2533">
              <a:solidFill>
                <a:srgbClr val="626469"/>
              </a:solidFill>
            </a:endParaRPr>
          </a:p>
        </p:txBody>
      </p:sp>
      <p:sp>
        <p:nvSpPr>
          <p:cNvPr id="7" name="Rounded Rectangle 6"/>
          <p:cNvSpPr/>
          <p:nvPr/>
        </p:nvSpPr>
        <p:spPr bwMode="auto">
          <a:xfrm>
            <a:off x="157499" y="748647"/>
            <a:ext cx="2845701" cy="1583594"/>
          </a:xfrm>
          <a:prstGeom prst="roundRect">
            <a:avLst>
              <a:gd name="adj" fmla="val 8164"/>
            </a:avLst>
          </a:prstGeom>
          <a:solidFill>
            <a:srgbClr val="FFFFFF"/>
          </a:solidFill>
          <a:ln w="19050" cap="flat" cmpd="sng" algn="ctr">
            <a:solidFill>
              <a:srgbClr val="4F4F4F"/>
            </a:solidFill>
            <a:prstDash val="solid"/>
            <a:round/>
            <a:headEnd type="none" w="sm" len="sm"/>
            <a:tailEnd type="none" w="sm" len="sm"/>
          </a:ln>
          <a:effectLst/>
        </p:spPr>
        <p:txBody>
          <a:bodyPr vert="horz" wrap="square" lIns="91428" tIns="45715" rIns="91428" bIns="45715" numCol="1" rtlCol="0" anchor="t" anchorCtr="0" compatLnSpc="1">
            <a:prstTxWarp prst="textNoShape">
              <a:avLst/>
            </a:prstTxWarp>
          </a:bodyPr>
          <a:lstStyle/>
          <a:p>
            <a:pPr fontAlgn="base">
              <a:spcBef>
                <a:spcPct val="0"/>
              </a:spcBef>
              <a:spcAft>
                <a:spcPct val="0"/>
              </a:spcAft>
            </a:pPr>
            <a:r>
              <a:rPr lang="en-US" sz="1466" b="1" dirty="0">
                <a:solidFill>
                  <a:srgbClr val="000000"/>
                </a:solidFill>
              </a:rPr>
              <a:t>PowerTag</a:t>
            </a:r>
            <a:br>
              <a:rPr lang="en-US" sz="1466" b="1" dirty="0">
                <a:solidFill>
                  <a:srgbClr val="000000"/>
                </a:solidFill>
              </a:rPr>
            </a:br>
            <a:r>
              <a:rPr lang="en-US" sz="1466" b="1" dirty="0">
                <a:solidFill>
                  <a:srgbClr val="000000"/>
                </a:solidFill>
              </a:rPr>
              <a:t>Cap de </a:t>
            </a:r>
            <a:r>
              <a:rPr lang="en-US" sz="1466" b="1" dirty="0" err="1">
                <a:solidFill>
                  <a:srgbClr val="000000"/>
                </a:solidFill>
              </a:rPr>
              <a:t>tablou</a:t>
            </a:r>
            <a:endParaRPr lang="en-US" sz="1466" b="1" dirty="0">
              <a:solidFill>
                <a:srgbClr val="000000"/>
              </a:solidFill>
            </a:endParaRPr>
          </a:p>
          <a:p>
            <a:pPr fontAlgn="base">
              <a:spcBef>
                <a:spcPct val="0"/>
              </a:spcBef>
              <a:spcAft>
                <a:spcPct val="0"/>
              </a:spcAft>
            </a:pPr>
            <a:endParaRPr lang="en-US" sz="1466" dirty="0">
              <a:solidFill>
                <a:srgbClr val="000000"/>
              </a:solidFill>
            </a:endParaRPr>
          </a:p>
          <a:p>
            <a:pPr fontAlgn="base">
              <a:spcBef>
                <a:spcPct val="0"/>
              </a:spcBef>
              <a:spcAft>
                <a:spcPct val="0"/>
              </a:spcAft>
            </a:pPr>
            <a:r>
              <a:rPr lang="en-US" sz="1066" dirty="0" err="1">
                <a:solidFill>
                  <a:srgbClr val="000000"/>
                </a:solidFill>
              </a:rPr>
              <a:t>Senzor</a:t>
            </a:r>
            <a:r>
              <a:rPr lang="en-US" sz="1066" dirty="0">
                <a:solidFill>
                  <a:srgbClr val="000000"/>
                </a:solidFill>
              </a:rPr>
              <a:t> de </a:t>
            </a:r>
            <a:r>
              <a:rPr lang="en-US" sz="1066" dirty="0" err="1">
                <a:solidFill>
                  <a:srgbClr val="000000"/>
                </a:solidFill>
              </a:rPr>
              <a:t>energie</a:t>
            </a:r>
            <a:r>
              <a:rPr lang="en-US" sz="1066" dirty="0">
                <a:solidFill>
                  <a:srgbClr val="000000"/>
                </a:solidFill>
              </a:rPr>
              <a:t> wireless</a:t>
            </a:r>
          </a:p>
          <a:p>
            <a:pPr fontAlgn="base">
              <a:spcBef>
                <a:spcPct val="0"/>
              </a:spcBef>
              <a:spcAft>
                <a:spcPct val="0"/>
              </a:spcAft>
            </a:pPr>
            <a:r>
              <a:rPr lang="en-US" sz="1066" dirty="0">
                <a:solidFill>
                  <a:srgbClr val="000000"/>
                </a:solidFill>
              </a:rPr>
              <a:t>Class 1  in </a:t>
            </a:r>
            <a:r>
              <a:rPr lang="en-US" sz="1066" dirty="0" err="1">
                <a:solidFill>
                  <a:srgbClr val="000000"/>
                </a:solidFill>
              </a:rPr>
              <a:t>Energie</a:t>
            </a:r>
            <a:r>
              <a:rPr lang="en-US" sz="1066" dirty="0">
                <a:solidFill>
                  <a:srgbClr val="000000"/>
                </a:solidFill>
              </a:rPr>
              <a:t> </a:t>
            </a:r>
            <a:r>
              <a:rPr lang="en-US" sz="1066" dirty="0" err="1">
                <a:solidFill>
                  <a:srgbClr val="000000"/>
                </a:solidFill>
              </a:rPr>
              <a:t>si</a:t>
            </a:r>
            <a:r>
              <a:rPr lang="en-US" sz="1066" dirty="0">
                <a:solidFill>
                  <a:srgbClr val="000000"/>
                </a:solidFill>
              </a:rPr>
              <a:t> </a:t>
            </a:r>
            <a:r>
              <a:rPr lang="en-US" sz="1066" dirty="0" err="1">
                <a:solidFill>
                  <a:srgbClr val="000000"/>
                </a:solidFill>
              </a:rPr>
              <a:t>Curent</a:t>
            </a:r>
            <a:br>
              <a:rPr lang="en-US" sz="1066" dirty="0">
                <a:solidFill>
                  <a:srgbClr val="000000"/>
                </a:solidFill>
              </a:rPr>
            </a:br>
            <a:r>
              <a:rPr lang="en-US" sz="1066" dirty="0" err="1">
                <a:solidFill>
                  <a:srgbClr val="000000"/>
                </a:solidFill>
              </a:rPr>
              <a:t>Valori</a:t>
            </a:r>
            <a:r>
              <a:rPr lang="en-US" sz="1066" dirty="0">
                <a:solidFill>
                  <a:srgbClr val="000000"/>
                </a:solidFill>
              </a:rPr>
              <a:t> </a:t>
            </a:r>
            <a:r>
              <a:rPr lang="en-US" sz="1066" dirty="0" err="1">
                <a:solidFill>
                  <a:srgbClr val="000000"/>
                </a:solidFill>
              </a:rPr>
              <a:t>instantanee</a:t>
            </a:r>
            <a:r>
              <a:rPr lang="en-US" sz="1066" dirty="0">
                <a:solidFill>
                  <a:srgbClr val="000000"/>
                </a:solidFill>
              </a:rPr>
              <a:t> </a:t>
            </a:r>
            <a:r>
              <a:rPr lang="en-US" sz="1066" dirty="0" err="1">
                <a:solidFill>
                  <a:srgbClr val="000000"/>
                </a:solidFill>
              </a:rPr>
              <a:t>afisate</a:t>
            </a:r>
            <a:r>
              <a:rPr lang="en-US" sz="1066" dirty="0">
                <a:solidFill>
                  <a:srgbClr val="000000"/>
                </a:solidFill>
              </a:rPr>
              <a:t> </a:t>
            </a:r>
            <a:r>
              <a:rPr lang="en-US" sz="1066" dirty="0" err="1">
                <a:solidFill>
                  <a:srgbClr val="000000"/>
                </a:solidFill>
              </a:rPr>
              <a:t>pe</a:t>
            </a:r>
            <a:r>
              <a:rPr lang="en-US" sz="1066" dirty="0">
                <a:solidFill>
                  <a:srgbClr val="000000"/>
                </a:solidFill>
              </a:rPr>
              <a:t> </a:t>
            </a:r>
            <a:r>
              <a:rPr lang="en-US" sz="1066" dirty="0" err="1">
                <a:solidFill>
                  <a:srgbClr val="000000"/>
                </a:solidFill>
              </a:rPr>
              <a:t>pagini</a:t>
            </a:r>
            <a:r>
              <a:rPr lang="en-US" sz="1066" dirty="0">
                <a:solidFill>
                  <a:srgbClr val="000000"/>
                </a:solidFill>
              </a:rPr>
              <a:t> web de </a:t>
            </a:r>
            <a:r>
              <a:rPr lang="en-US" sz="1066" dirty="0" err="1">
                <a:solidFill>
                  <a:srgbClr val="000000"/>
                </a:solidFill>
              </a:rPr>
              <a:t>Smartlink</a:t>
            </a:r>
            <a:endParaRPr lang="en-US" sz="1066" dirty="0">
              <a:solidFill>
                <a:srgbClr val="000000"/>
              </a:solidFill>
            </a:endParaRPr>
          </a:p>
          <a:p>
            <a:pPr fontAlgn="base">
              <a:spcBef>
                <a:spcPct val="0"/>
              </a:spcBef>
              <a:spcAft>
                <a:spcPct val="0"/>
              </a:spcAft>
            </a:pPr>
            <a:r>
              <a:rPr lang="en-US" sz="1066" dirty="0">
                <a:solidFill>
                  <a:srgbClr val="000000"/>
                </a:solidFill>
              </a:rPr>
              <a:t>Dashboard-</a:t>
            </a:r>
            <a:r>
              <a:rPr lang="en-US" sz="1066" dirty="0" err="1">
                <a:solidFill>
                  <a:srgbClr val="000000"/>
                </a:solidFill>
              </a:rPr>
              <a:t>uri</a:t>
            </a:r>
            <a:r>
              <a:rPr lang="en-US" sz="1066" dirty="0">
                <a:solidFill>
                  <a:srgbClr val="000000"/>
                </a:solidFill>
              </a:rPr>
              <a:t> cu Com’X510 </a:t>
            </a:r>
            <a:r>
              <a:rPr lang="en-US" sz="1066" dirty="0" err="1">
                <a:solidFill>
                  <a:srgbClr val="000000"/>
                </a:solidFill>
              </a:rPr>
              <a:t>sau</a:t>
            </a:r>
            <a:r>
              <a:rPr lang="en-US" sz="1066" dirty="0">
                <a:solidFill>
                  <a:srgbClr val="000000"/>
                </a:solidFill>
              </a:rPr>
              <a:t> BMS</a:t>
            </a:r>
          </a:p>
        </p:txBody>
      </p:sp>
      <p:sp>
        <p:nvSpPr>
          <p:cNvPr id="9" name="Rounded Rectangle 8"/>
          <p:cNvSpPr/>
          <p:nvPr/>
        </p:nvSpPr>
        <p:spPr bwMode="auto">
          <a:xfrm>
            <a:off x="9045338" y="547662"/>
            <a:ext cx="2845701" cy="1232931"/>
          </a:xfrm>
          <a:prstGeom prst="roundRect">
            <a:avLst>
              <a:gd name="adj" fmla="val 8164"/>
            </a:avLst>
          </a:prstGeom>
          <a:solidFill>
            <a:srgbClr val="FFFFFF"/>
          </a:solidFill>
          <a:ln w="19050" cap="flat" cmpd="sng" algn="ctr">
            <a:solidFill>
              <a:srgbClr val="4F4F4F"/>
            </a:solidFill>
            <a:prstDash val="solid"/>
            <a:round/>
            <a:headEnd type="none" w="sm" len="sm"/>
            <a:tailEnd type="none" w="sm" len="sm"/>
          </a:ln>
          <a:effectLst/>
        </p:spPr>
        <p:txBody>
          <a:bodyPr vert="horz" wrap="square" lIns="91428" tIns="45715" rIns="91428" bIns="45715" numCol="1" rtlCol="0" anchor="t" anchorCtr="0" compatLnSpc="1">
            <a:prstTxWarp prst="textNoShape">
              <a:avLst/>
            </a:prstTxWarp>
          </a:bodyPr>
          <a:lstStyle/>
          <a:p>
            <a:pPr fontAlgn="base">
              <a:spcBef>
                <a:spcPct val="0"/>
              </a:spcBef>
              <a:spcAft>
                <a:spcPct val="0"/>
              </a:spcAft>
            </a:pPr>
            <a:r>
              <a:rPr lang="en-US" sz="1466" b="1" dirty="0">
                <a:solidFill>
                  <a:srgbClr val="000000"/>
                </a:solidFill>
              </a:rPr>
              <a:t>Smartlink</a:t>
            </a:r>
          </a:p>
          <a:p>
            <a:pPr fontAlgn="base">
              <a:spcBef>
                <a:spcPct val="0"/>
              </a:spcBef>
              <a:spcAft>
                <a:spcPct val="0"/>
              </a:spcAft>
            </a:pPr>
            <a:r>
              <a:rPr lang="en-US" sz="1466" b="1" dirty="0">
                <a:solidFill>
                  <a:srgbClr val="000000"/>
                </a:solidFill>
              </a:rPr>
              <a:t>SI B</a:t>
            </a:r>
          </a:p>
          <a:p>
            <a:pPr fontAlgn="base">
              <a:spcBef>
                <a:spcPct val="0"/>
              </a:spcBef>
              <a:spcAft>
                <a:spcPct val="0"/>
              </a:spcAft>
            </a:pPr>
            <a:r>
              <a:rPr lang="en-US" sz="1070" dirty="0">
                <a:solidFill>
                  <a:srgbClr val="000000"/>
                </a:solidFill>
              </a:rPr>
              <a:t>Module I/O </a:t>
            </a:r>
            <a:r>
              <a:rPr lang="en-US" sz="1066" dirty="0">
                <a:solidFill>
                  <a:srgbClr val="000000"/>
                </a:solidFill>
              </a:rPr>
              <a:t>Ethernet </a:t>
            </a:r>
          </a:p>
          <a:p>
            <a:pPr fontAlgn="base">
              <a:spcBef>
                <a:spcPct val="0"/>
              </a:spcBef>
              <a:spcAft>
                <a:spcPct val="0"/>
              </a:spcAft>
            </a:pPr>
            <a:r>
              <a:rPr lang="en-US" sz="1066" dirty="0" err="1">
                <a:solidFill>
                  <a:srgbClr val="000000"/>
                </a:solidFill>
              </a:rPr>
              <a:t>Conectare</a:t>
            </a:r>
            <a:r>
              <a:rPr lang="en-US" sz="1066" dirty="0">
                <a:solidFill>
                  <a:srgbClr val="000000"/>
                </a:solidFill>
              </a:rPr>
              <a:t> </a:t>
            </a:r>
            <a:r>
              <a:rPr lang="en-US" sz="1066" dirty="0" err="1">
                <a:solidFill>
                  <a:srgbClr val="000000"/>
                </a:solidFill>
              </a:rPr>
              <a:t>usoara</a:t>
            </a:r>
            <a:endParaRPr lang="en-US" sz="1066" dirty="0">
              <a:solidFill>
                <a:srgbClr val="000000"/>
              </a:solidFill>
            </a:endParaRPr>
          </a:p>
          <a:p>
            <a:pPr fontAlgn="base">
              <a:spcBef>
                <a:spcPct val="0"/>
              </a:spcBef>
              <a:spcAft>
                <a:spcPct val="0"/>
              </a:spcAft>
            </a:pPr>
            <a:r>
              <a:rPr lang="en-US" sz="1066" dirty="0" err="1">
                <a:solidFill>
                  <a:srgbClr val="000000"/>
                </a:solidFill>
              </a:rPr>
              <a:t>Conectare</a:t>
            </a:r>
            <a:r>
              <a:rPr lang="en-US" sz="1066" dirty="0">
                <a:solidFill>
                  <a:srgbClr val="000000"/>
                </a:solidFill>
              </a:rPr>
              <a:t> Wireless cu PowerTag</a:t>
            </a:r>
          </a:p>
          <a:p>
            <a:pPr fontAlgn="base">
              <a:spcBef>
                <a:spcPct val="0"/>
              </a:spcBef>
              <a:spcAft>
                <a:spcPct val="0"/>
              </a:spcAft>
            </a:pPr>
            <a:r>
              <a:rPr lang="en-US" sz="1066" dirty="0">
                <a:solidFill>
                  <a:srgbClr val="000000"/>
                </a:solidFill>
              </a:rPr>
              <a:t>Gateway Modbus RS485 </a:t>
            </a:r>
          </a:p>
        </p:txBody>
      </p:sp>
      <p:cxnSp>
        <p:nvCxnSpPr>
          <p:cNvPr id="12" name="Straight Arrow Connector 11"/>
          <p:cNvCxnSpPr>
            <a:stCxn id="7" idx="3"/>
          </p:cNvCxnSpPr>
          <p:nvPr/>
        </p:nvCxnSpPr>
        <p:spPr bwMode="auto">
          <a:xfrm>
            <a:off x="3003200" y="1540444"/>
            <a:ext cx="725432" cy="441133"/>
          </a:xfrm>
          <a:prstGeom prst="straightConnector1">
            <a:avLst/>
          </a:prstGeom>
          <a:solidFill>
            <a:srgbClr val="FFFFFF">
              <a:alpha val="23922"/>
            </a:srgbClr>
          </a:solidFill>
          <a:ln w="38100" cap="flat" cmpd="sng" algn="ctr">
            <a:solidFill>
              <a:srgbClr val="FFFF00"/>
            </a:solidFill>
            <a:prstDash val="solid"/>
            <a:round/>
            <a:headEnd type="none" w="med" len="med"/>
            <a:tailEnd type="arrow" w="med" len="med"/>
          </a:ln>
          <a:effectLst/>
        </p:spPr>
      </p:cxnSp>
      <p:cxnSp>
        <p:nvCxnSpPr>
          <p:cNvPr id="14" name="Straight Arrow Connector 13"/>
          <p:cNvCxnSpPr/>
          <p:nvPr/>
        </p:nvCxnSpPr>
        <p:spPr bwMode="auto">
          <a:xfrm rot="10800000" flipV="1">
            <a:off x="6463998" y="1215526"/>
            <a:ext cx="2581341" cy="766051"/>
          </a:xfrm>
          <a:prstGeom prst="straightConnector1">
            <a:avLst/>
          </a:prstGeom>
          <a:solidFill>
            <a:srgbClr val="FFFFFF">
              <a:alpha val="23922"/>
            </a:srgbClr>
          </a:solidFill>
          <a:ln w="38100" cap="flat" cmpd="sng" algn="ctr">
            <a:solidFill>
              <a:srgbClr val="FFFF00"/>
            </a:solidFill>
            <a:prstDash val="solid"/>
            <a:round/>
            <a:headEnd type="none" w="med" len="med"/>
            <a:tailEnd type="arrow" w="med" len="med"/>
          </a:ln>
          <a:effectLst/>
        </p:spPr>
      </p:cxnSp>
      <p:sp>
        <p:nvSpPr>
          <p:cNvPr id="16" name="Rounded Rectangle 15"/>
          <p:cNvSpPr/>
          <p:nvPr/>
        </p:nvSpPr>
        <p:spPr bwMode="auto">
          <a:xfrm>
            <a:off x="4350934" y="1800043"/>
            <a:ext cx="2113064" cy="253934"/>
          </a:xfrm>
          <a:prstGeom prst="roundRect">
            <a:avLst/>
          </a:prstGeom>
          <a:solidFill>
            <a:srgbClr val="FFFFFF">
              <a:alpha val="23922"/>
            </a:srgbClr>
          </a:solidFill>
          <a:ln w="19050" cap="flat" cmpd="sng" algn="ctr">
            <a:solidFill>
              <a:srgbClr val="FFFF00"/>
            </a:solidFill>
            <a:prstDash val="solid"/>
            <a:round/>
            <a:headEnd type="none" w="sm" len="sm"/>
            <a:tailEnd type="none" w="sm" len="sm"/>
          </a:ln>
          <a:effectLst/>
        </p:spPr>
        <p:txBody>
          <a:bodyPr vert="horz" wrap="square" lIns="91428" tIns="45715" rIns="91428" bIns="45715" numCol="1" rtlCol="0" anchor="t" anchorCtr="0" compatLnSpc="1">
            <a:prstTxWarp prst="textNoShape">
              <a:avLst/>
            </a:prstTxWarp>
          </a:bodyPr>
          <a:lstStyle/>
          <a:p>
            <a:pPr fontAlgn="base">
              <a:spcBef>
                <a:spcPct val="0"/>
              </a:spcBef>
              <a:spcAft>
                <a:spcPct val="0"/>
              </a:spcAft>
            </a:pPr>
            <a:endParaRPr lang="en-US" sz="2533">
              <a:solidFill>
                <a:srgbClr val="626469"/>
              </a:solidFill>
            </a:endParaRPr>
          </a:p>
        </p:txBody>
      </p:sp>
      <p:sp>
        <p:nvSpPr>
          <p:cNvPr id="18" name="Oval 17"/>
          <p:cNvSpPr/>
          <p:nvPr/>
        </p:nvSpPr>
        <p:spPr bwMode="auto">
          <a:xfrm>
            <a:off x="6347265" y="1663891"/>
            <a:ext cx="233465" cy="233403"/>
          </a:xfrm>
          <a:prstGeom prst="ellipse">
            <a:avLst/>
          </a:prstGeom>
          <a:solidFill>
            <a:schemeClr val="bg1"/>
          </a:solidFill>
          <a:ln w="19050" cap="flat" cmpd="sng" algn="ctr">
            <a:solidFill>
              <a:srgbClr val="FFFF00"/>
            </a:solidFill>
            <a:prstDash val="solid"/>
            <a:round/>
            <a:headEnd type="none" w="sm" len="sm"/>
            <a:tailEnd type="none" w="sm" len="sm"/>
          </a:ln>
          <a:effectLst/>
        </p:spPr>
        <p:txBody>
          <a:bodyPr vert="horz" wrap="square" lIns="91428" tIns="45715" rIns="91428" bIns="45715" numCol="1" rtlCol="0" anchor="ctr" anchorCtr="0" compatLnSpc="1">
            <a:prstTxWarp prst="textNoShape">
              <a:avLst/>
            </a:prstTxWarp>
          </a:bodyPr>
          <a:lstStyle/>
          <a:p>
            <a:pPr algn="ctr" fontAlgn="base">
              <a:spcBef>
                <a:spcPct val="0"/>
              </a:spcBef>
              <a:spcAft>
                <a:spcPct val="0"/>
              </a:spcAft>
            </a:pPr>
            <a:r>
              <a:rPr lang="en-US" sz="1066" b="1" dirty="0">
                <a:solidFill>
                  <a:srgbClr val="626469"/>
                </a:solidFill>
              </a:rPr>
              <a:t>3</a:t>
            </a:r>
          </a:p>
        </p:txBody>
      </p:sp>
      <p:sp>
        <p:nvSpPr>
          <p:cNvPr id="19" name="Oval 18"/>
          <p:cNvSpPr/>
          <p:nvPr/>
        </p:nvSpPr>
        <p:spPr bwMode="auto">
          <a:xfrm>
            <a:off x="11706214" y="440685"/>
            <a:ext cx="233465" cy="233403"/>
          </a:xfrm>
          <a:prstGeom prst="ellipse">
            <a:avLst/>
          </a:prstGeom>
          <a:solidFill>
            <a:srgbClr val="D7D7D7"/>
          </a:solidFill>
          <a:ln w="19050" cap="flat" cmpd="sng" algn="ctr">
            <a:solidFill>
              <a:srgbClr val="FFFF00"/>
            </a:solidFill>
            <a:prstDash val="solid"/>
            <a:round/>
            <a:headEnd type="none" w="sm" len="sm"/>
            <a:tailEnd type="none" w="sm" len="sm"/>
          </a:ln>
          <a:effectLst/>
        </p:spPr>
        <p:txBody>
          <a:bodyPr vert="horz" wrap="square" lIns="91428" tIns="45715" rIns="91428" bIns="45715" numCol="1" rtlCol="0" anchor="ctr" anchorCtr="0" compatLnSpc="1">
            <a:prstTxWarp prst="textNoShape">
              <a:avLst/>
            </a:prstTxWarp>
          </a:bodyPr>
          <a:lstStyle/>
          <a:p>
            <a:pPr algn="ctr" fontAlgn="base">
              <a:spcBef>
                <a:spcPct val="0"/>
              </a:spcBef>
              <a:spcAft>
                <a:spcPct val="0"/>
              </a:spcAft>
            </a:pPr>
            <a:r>
              <a:rPr lang="en-US" sz="1066" b="1" dirty="0">
                <a:solidFill>
                  <a:srgbClr val="626469"/>
                </a:solidFill>
              </a:rPr>
              <a:t>3</a:t>
            </a:r>
          </a:p>
        </p:txBody>
      </p:sp>
      <p:sp>
        <p:nvSpPr>
          <p:cNvPr id="20" name="Oval 19"/>
          <p:cNvSpPr/>
          <p:nvPr/>
        </p:nvSpPr>
        <p:spPr bwMode="auto">
          <a:xfrm>
            <a:off x="40766" y="631945"/>
            <a:ext cx="233465" cy="233403"/>
          </a:xfrm>
          <a:prstGeom prst="ellipse">
            <a:avLst/>
          </a:prstGeom>
          <a:solidFill>
            <a:srgbClr val="D7D7D7"/>
          </a:solidFill>
          <a:ln w="19050" cap="flat" cmpd="sng" algn="ctr">
            <a:solidFill>
              <a:srgbClr val="FFFF00"/>
            </a:solidFill>
            <a:prstDash val="solid"/>
            <a:round/>
            <a:headEnd type="none" w="sm" len="sm"/>
            <a:tailEnd type="none" w="sm" len="sm"/>
          </a:ln>
          <a:effectLst/>
        </p:spPr>
        <p:txBody>
          <a:bodyPr vert="horz" wrap="square" lIns="91428" tIns="45715" rIns="91428" bIns="45715" numCol="1" rtlCol="0" anchor="ctr" anchorCtr="0" compatLnSpc="1">
            <a:prstTxWarp prst="textNoShape">
              <a:avLst/>
            </a:prstTxWarp>
          </a:bodyPr>
          <a:lstStyle/>
          <a:p>
            <a:pPr algn="ctr" fontAlgn="base">
              <a:spcBef>
                <a:spcPct val="0"/>
              </a:spcBef>
              <a:spcAft>
                <a:spcPct val="0"/>
              </a:spcAft>
            </a:pPr>
            <a:r>
              <a:rPr lang="en-US" sz="1066" b="1" dirty="0">
                <a:solidFill>
                  <a:srgbClr val="626469"/>
                </a:solidFill>
              </a:rPr>
              <a:t>1</a:t>
            </a:r>
          </a:p>
        </p:txBody>
      </p:sp>
      <p:sp>
        <p:nvSpPr>
          <p:cNvPr id="21" name="Oval 20"/>
          <p:cNvSpPr/>
          <p:nvPr/>
        </p:nvSpPr>
        <p:spPr bwMode="auto">
          <a:xfrm>
            <a:off x="3882922" y="1800043"/>
            <a:ext cx="233465" cy="233403"/>
          </a:xfrm>
          <a:prstGeom prst="ellipse">
            <a:avLst/>
          </a:prstGeom>
          <a:solidFill>
            <a:schemeClr val="bg1"/>
          </a:solidFill>
          <a:ln w="19050" cap="flat" cmpd="sng" algn="ctr">
            <a:solidFill>
              <a:srgbClr val="FFFF00"/>
            </a:solidFill>
            <a:prstDash val="solid"/>
            <a:round/>
            <a:headEnd type="none" w="sm" len="sm"/>
            <a:tailEnd type="none" w="sm" len="sm"/>
          </a:ln>
          <a:effectLst/>
        </p:spPr>
        <p:txBody>
          <a:bodyPr vert="horz" wrap="square" lIns="91428" tIns="45715" rIns="91428" bIns="45715" numCol="1" rtlCol="0" anchor="ctr" anchorCtr="0" compatLnSpc="1">
            <a:prstTxWarp prst="textNoShape">
              <a:avLst/>
            </a:prstTxWarp>
          </a:bodyPr>
          <a:lstStyle/>
          <a:p>
            <a:pPr algn="ctr" fontAlgn="base">
              <a:spcBef>
                <a:spcPct val="0"/>
              </a:spcBef>
              <a:spcAft>
                <a:spcPct val="0"/>
              </a:spcAft>
            </a:pPr>
            <a:r>
              <a:rPr lang="en-US" sz="1066" b="1" dirty="0">
                <a:solidFill>
                  <a:srgbClr val="626469"/>
                </a:solidFill>
              </a:rPr>
              <a:t>1</a:t>
            </a:r>
          </a:p>
        </p:txBody>
      </p:sp>
      <p:pic>
        <p:nvPicPr>
          <p:cNvPr id="22" name="Picture 21" descr="SmartlinkIP.png"/>
          <p:cNvPicPr>
            <a:picLocks noChangeAspect="1"/>
          </p:cNvPicPr>
          <p:nvPr/>
        </p:nvPicPr>
        <p:blipFill>
          <a:blip r:embed="rId3" cstate="print"/>
          <a:stretch>
            <a:fillRect/>
          </a:stretch>
        </p:blipFill>
        <p:spPr>
          <a:xfrm>
            <a:off x="10111780" y="674089"/>
            <a:ext cx="1594435" cy="233562"/>
          </a:xfrm>
          <a:prstGeom prst="rect">
            <a:avLst/>
          </a:prstGeom>
        </p:spPr>
      </p:pic>
      <p:sp>
        <p:nvSpPr>
          <p:cNvPr id="23" name="Rounded Rectangle 22"/>
          <p:cNvSpPr/>
          <p:nvPr/>
        </p:nvSpPr>
        <p:spPr bwMode="auto">
          <a:xfrm>
            <a:off x="194248" y="5129817"/>
            <a:ext cx="2845701" cy="1095157"/>
          </a:xfrm>
          <a:prstGeom prst="roundRect">
            <a:avLst>
              <a:gd name="adj" fmla="val 8164"/>
            </a:avLst>
          </a:prstGeom>
          <a:solidFill>
            <a:srgbClr val="FFFFFF"/>
          </a:solidFill>
          <a:ln w="19050" cap="flat" cmpd="sng" algn="ctr">
            <a:solidFill>
              <a:srgbClr val="4F4F4F"/>
            </a:solidFill>
            <a:prstDash val="solid"/>
            <a:round/>
            <a:headEnd type="none" w="sm" len="sm"/>
            <a:tailEnd type="none" w="sm" len="sm"/>
          </a:ln>
          <a:effectLst/>
        </p:spPr>
        <p:txBody>
          <a:bodyPr vert="horz" wrap="square" lIns="91428" tIns="45715" rIns="91428" bIns="45715" numCol="1" rtlCol="0" anchor="t" anchorCtr="0" compatLnSpc="1">
            <a:prstTxWarp prst="textNoShape">
              <a:avLst/>
            </a:prstTxWarp>
          </a:bodyPr>
          <a:lstStyle/>
          <a:p>
            <a:pPr fontAlgn="base">
              <a:spcBef>
                <a:spcPct val="0"/>
              </a:spcBef>
              <a:spcAft>
                <a:spcPct val="0"/>
              </a:spcAft>
            </a:pPr>
            <a:r>
              <a:rPr lang="en-US" sz="1466" b="1" dirty="0">
                <a:solidFill>
                  <a:srgbClr val="000000"/>
                </a:solidFill>
              </a:rPr>
              <a:t>OF/SD Ti24</a:t>
            </a:r>
          </a:p>
          <a:p>
            <a:pPr fontAlgn="base">
              <a:spcBef>
                <a:spcPct val="0"/>
              </a:spcBef>
              <a:spcAft>
                <a:spcPct val="0"/>
              </a:spcAft>
            </a:pPr>
            <a:r>
              <a:rPr lang="en-US" sz="1466" b="1" dirty="0" err="1">
                <a:solidFill>
                  <a:srgbClr val="000000"/>
                </a:solidFill>
              </a:rPr>
              <a:t>Pentru</a:t>
            </a:r>
            <a:r>
              <a:rPr lang="en-US" sz="1466" b="1" dirty="0">
                <a:solidFill>
                  <a:srgbClr val="000000"/>
                </a:solidFill>
              </a:rPr>
              <a:t> Smartlink</a:t>
            </a:r>
          </a:p>
          <a:p>
            <a:pPr fontAlgn="base">
              <a:spcBef>
                <a:spcPct val="0"/>
              </a:spcBef>
              <a:spcAft>
                <a:spcPct val="0"/>
              </a:spcAft>
            </a:pPr>
            <a:endParaRPr lang="en-US" sz="1466" dirty="0">
              <a:solidFill>
                <a:srgbClr val="000000"/>
              </a:solidFill>
            </a:endParaRPr>
          </a:p>
          <a:p>
            <a:pPr fontAlgn="base">
              <a:spcBef>
                <a:spcPct val="0"/>
              </a:spcBef>
              <a:spcAft>
                <a:spcPct val="0"/>
              </a:spcAft>
            </a:pPr>
            <a:r>
              <a:rPr lang="en-US" sz="1066" dirty="0" err="1">
                <a:solidFill>
                  <a:srgbClr val="000000"/>
                </a:solidFill>
              </a:rPr>
              <a:t>Conectare</a:t>
            </a:r>
            <a:r>
              <a:rPr lang="en-US" sz="1066" dirty="0">
                <a:solidFill>
                  <a:srgbClr val="000000"/>
                </a:solidFill>
              </a:rPr>
              <a:t> </a:t>
            </a:r>
            <a:r>
              <a:rPr lang="en-US" sz="1066" dirty="0" err="1">
                <a:solidFill>
                  <a:srgbClr val="000000"/>
                </a:solidFill>
              </a:rPr>
              <a:t>usoara</a:t>
            </a:r>
            <a:endParaRPr lang="en-US" sz="1066" dirty="0">
              <a:solidFill>
                <a:srgbClr val="000000"/>
              </a:solidFill>
            </a:endParaRPr>
          </a:p>
          <a:p>
            <a:pPr fontAlgn="base">
              <a:spcBef>
                <a:spcPct val="0"/>
              </a:spcBef>
              <a:spcAft>
                <a:spcPct val="0"/>
              </a:spcAft>
            </a:pPr>
            <a:r>
              <a:rPr lang="en-US" sz="1066" dirty="0" err="1">
                <a:solidFill>
                  <a:srgbClr val="000000"/>
                </a:solidFill>
              </a:rPr>
              <a:t>Alarme</a:t>
            </a:r>
            <a:r>
              <a:rPr lang="en-US" sz="1066" dirty="0">
                <a:solidFill>
                  <a:srgbClr val="000000"/>
                </a:solidFill>
              </a:rPr>
              <a:t> </a:t>
            </a:r>
            <a:r>
              <a:rPr lang="en-US" sz="1066" dirty="0" err="1">
                <a:solidFill>
                  <a:srgbClr val="000000"/>
                </a:solidFill>
              </a:rPr>
              <a:t>pe</a:t>
            </a:r>
            <a:r>
              <a:rPr lang="en-US" sz="1066" dirty="0">
                <a:solidFill>
                  <a:srgbClr val="000000"/>
                </a:solidFill>
              </a:rPr>
              <a:t> e-mal cu Smartlink</a:t>
            </a:r>
          </a:p>
        </p:txBody>
      </p:sp>
      <p:sp>
        <p:nvSpPr>
          <p:cNvPr id="24" name="Oval 23"/>
          <p:cNvSpPr/>
          <p:nvPr/>
        </p:nvSpPr>
        <p:spPr bwMode="auto">
          <a:xfrm>
            <a:off x="77515" y="5013115"/>
            <a:ext cx="233465" cy="233403"/>
          </a:xfrm>
          <a:prstGeom prst="ellipse">
            <a:avLst/>
          </a:prstGeom>
          <a:solidFill>
            <a:srgbClr val="D7D7D7"/>
          </a:solidFill>
          <a:ln w="19050" cap="flat" cmpd="sng" algn="ctr">
            <a:solidFill>
              <a:srgbClr val="FFFF00"/>
            </a:solidFill>
            <a:prstDash val="solid"/>
            <a:round/>
            <a:headEnd type="none" w="sm" len="sm"/>
            <a:tailEnd type="none" w="sm" len="sm"/>
          </a:ln>
          <a:effectLst/>
        </p:spPr>
        <p:txBody>
          <a:bodyPr vert="horz" wrap="square" lIns="91428" tIns="45715" rIns="91428" bIns="45715" numCol="1" rtlCol="0" anchor="ctr" anchorCtr="0" compatLnSpc="1">
            <a:prstTxWarp prst="textNoShape">
              <a:avLst/>
            </a:prstTxWarp>
          </a:bodyPr>
          <a:lstStyle/>
          <a:p>
            <a:pPr algn="ctr" fontAlgn="base">
              <a:spcBef>
                <a:spcPct val="0"/>
              </a:spcBef>
              <a:spcAft>
                <a:spcPct val="0"/>
              </a:spcAft>
            </a:pPr>
            <a:r>
              <a:rPr lang="en-US" sz="1066" b="1" dirty="0">
                <a:solidFill>
                  <a:srgbClr val="626469"/>
                </a:solidFill>
              </a:rPr>
              <a:t>4</a:t>
            </a:r>
          </a:p>
        </p:txBody>
      </p:sp>
      <p:sp>
        <p:nvSpPr>
          <p:cNvPr id="27" name="Rounded Rectangle 26"/>
          <p:cNvSpPr/>
          <p:nvPr/>
        </p:nvSpPr>
        <p:spPr bwMode="auto">
          <a:xfrm>
            <a:off x="3682562" y="4958544"/>
            <a:ext cx="200362" cy="806646"/>
          </a:xfrm>
          <a:prstGeom prst="roundRect">
            <a:avLst/>
          </a:prstGeom>
          <a:solidFill>
            <a:srgbClr val="FFFFFF">
              <a:alpha val="23922"/>
            </a:srgbClr>
          </a:solidFill>
          <a:ln w="19050" cap="flat" cmpd="sng" algn="ctr">
            <a:solidFill>
              <a:srgbClr val="FFFF00"/>
            </a:solidFill>
            <a:prstDash val="solid"/>
            <a:round/>
            <a:headEnd type="none" w="sm" len="sm"/>
            <a:tailEnd type="none" w="sm" len="sm"/>
          </a:ln>
          <a:effectLst/>
        </p:spPr>
        <p:txBody>
          <a:bodyPr vert="horz" wrap="square" lIns="91428" tIns="45715" rIns="91428" bIns="45715" numCol="1" rtlCol="0" anchor="t" anchorCtr="0" compatLnSpc="1">
            <a:prstTxWarp prst="textNoShape">
              <a:avLst/>
            </a:prstTxWarp>
          </a:bodyPr>
          <a:lstStyle/>
          <a:p>
            <a:pPr fontAlgn="base">
              <a:spcBef>
                <a:spcPct val="0"/>
              </a:spcBef>
              <a:spcAft>
                <a:spcPct val="0"/>
              </a:spcAft>
            </a:pPr>
            <a:endParaRPr lang="en-US" sz="2533">
              <a:solidFill>
                <a:srgbClr val="626469"/>
              </a:solidFill>
            </a:endParaRPr>
          </a:p>
        </p:txBody>
      </p:sp>
      <p:cxnSp>
        <p:nvCxnSpPr>
          <p:cNvPr id="28" name="Straight Arrow Connector 27"/>
          <p:cNvCxnSpPr>
            <a:stCxn id="23" idx="3"/>
          </p:cNvCxnSpPr>
          <p:nvPr/>
        </p:nvCxnSpPr>
        <p:spPr bwMode="auto">
          <a:xfrm flipV="1">
            <a:off x="3039947" y="5437783"/>
            <a:ext cx="724353" cy="239614"/>
          </a:xfrm>
          <a:prstGeom prst="straightConnector1">
            <a:avLst/>
          </a:prstGeom>
          <a:solidFill>
            <a:srgbClr val="FFFFFF">
              <a:alpha val="23922"/>
            </a:srgbClr>
          </a:solidFill>
          <a:ln w="38100" cap="flat" cmpd="sng" algn="ctr">
            <a:solidFill>
              <a:srgbClr val="FFFF00"/>
            </a:solidFill>
            <a:prstDash val="solid"/>
            <a:round/>
            <a:headEnd type="none" w="med" len="med"/>
            <a:tailEnd type="arrow" w="med" len="med"/>
          </a:ln>
          <a:effectLst/>
        </p:spPr>
      </p:cxnSp>
      <p:sp>
        <p:nvSpPr>
          <p:cNvPr id="29" name="Oval 28"/>
          <p:cNvSpPr/>
          <p:nvPr/>
        </p:nvSpPr>
        <p:spPr bwMode="auto">
          <a:xfrm>
            <a:off x="3800779" y="4798621"/>
            <a:ext cx="233465" cy="233403"/>
          </a:xfrm>
          <a:prstGeom prst="ellipse">
            <a:avLst/>
          </a:prstGeom>
          <a:solidFill>
            <a:schemeClr val="bg1"/>
          </a:solidFill>
          <a:ln w="19050" cap="flat" cmpd="sng" algn="ctr">
            <a:solidFill>
              <a:srgbClr val="FFFF00"/>
            </a:solidFill>
            <a:prstDash val="solid"/>
            <a:round/>
            <a:headEnd type="none" w="sm" len="sm"/>
            <a:tailEnd type="none" w="sm" len="sm"/>
          </a:ln>
          <a:effectLst/>
        </p:spPr>
        <p:txBody>
          <a:bodyPr vert="horz" wrap="square" lIns="91428" tIns="45715" rIns="91428" bIns="45715" numCol="1" rtlCol="0" anchor="ctr" anchorCtr="0" compatLnSpc="1">
            <a:prstTxWarp prst="textNoShape">
              <a:avLst/>
            </a:prstTxWarp>
          </a:bodyPr>
          <a:lstStyle/>
          <a:p>
            <a:pPr algn="ctr" fontAlgn="base">
              <a:spcBef>
                <a:spcPct val="0"/>
              </a:spcBef>
              <a:spcAft>
                <a:spcPct val="0"/>
              </a:spcAft>
            </a:pPr>
            <a:r>
              <a:rPr lang="en-US" sz="1066" b="1" dirty="0">
                <a:solidFill>
                  <a:srgbClr val="626469"/>
                </a:solidFill>
              </a:rPr>
              <a:t>4</a:t>
            </a:r>
          </a:p>
        </p:txBody>
      </p:sp>
      <p:sp>
        <p:nvSpPr>
          <p:cNvPr id="30" name="Rounded Rectangle 29"/>
          <p:cNvSpPr/>
          <p:nvPr/>
        </p:nvSpPr>
        <p:spPr bwMode="auto">
          <a:xfrm>
            <a:off x="9045338" y="2280819"/>
            <a:ext cx="2845701" cy="1135486"/>
          </a:xfrm>
          <a:prstGeom prst="roundRect">
            <a:avLst>
              <a:gd name="adj" fmla="val 8164"/>
            </a:avLst>
          </a:prstGeom>
          <a:solidFill>
            <a:srgbClr val="FFFFFF"/>
          </a:solidFill>
          <a:ln w="19050" cap="flat" cmpd="sng" algn="ctr">
            <a:solidFill>
              <a:srgbClr val="4F4F4F"/>
            </a:solidFill>
            <a:prstDash val="solid"/>
            <a:round/>
            <a:headEnd type="none" w="sm" len="sm"/>
            <a:tailEnd type="none" w="sm" len="sm"/>
          </a:ln>
          <a:effectLst/>
        </p:spPr>
        <p:txBody>
          <a:bodyPr vert="horz" wrap="square" lIns="91428" tIns="45715" rIns="91428" bIns="45715" numCol="1" rtlCol="0" anchor="t" anchorCtr="0" compatLnSpc="1">
            <a:prstTxWarp prst="textNoShape">
              <a:avLst/>
            </a:prstTxWarp>
          </a:bodyPr>
          <a:lstStyle/>
          <a:p>
            <a:pPr fontAlgn="base">
              <a:spcBef>
                <a:spcPct val="0"/>
              </a:spcBef>
              <a:spcAft>
                <a:spcPct val="0"/>
              </a:spcAft>
            </a:pPr>
            <a:r>
              <a:rPr lang="en-US" sz="1466" b="1" dirty="0">
                <a:solidFill>
                  <a:srgbClr val="000000"/>
                </a:solidFill>
              </a:rPr>
              <a:t>Contactor</a:t>
            </a:r>
          </a:p>
          <a:p>
            <a:pPr fontAlgn="base">
              <a:spcBef>
                <a:spcPct val="0"/>
              </a:spcBef>
              <a:spcAft>
                <a:spcPct val="0"/>
              </a:spcAft>
            </a:pPr>
            <a:r>
              <a:rPr lang="en-US" sz="1466" b="1" dirty="0" err="1">
                <a:solidFill>
                  <a:srgbClr val="000000"/>
                </a:solidFill>
              </a:rPr>
              <a:t>pentru</a:t>
            </a:r>
            <a:r>
              <a:rPr lang="en-US" sz="1466" b="1" dirty="0">
                <a:solidFill>
                  <a:srgbClr val="000000"/>
                </a:solidFill>
              </a:rPr>
              <a:t> Smartlink</a:t>
            </a:r>
          </a:p>
          <a:p>
            <a:pPr fontAlgn="base">
              <a:spcBef>
                <a:spcPct val="0"/>
              </a:spcBef>
              <a:spcAft>
                <a:spcPct val="0"/>
              </a:spcAft>
            </a:pPr>
            <a:endParaRPr lang="en-US" sz="1466" b="1" dirty="0">
              <a:solidFill>
                <a:srgbClr val="000000"/>
              </a:solidFill>
            </a:endParaRPr>
          </a:p>
          <a:p>
            <a:pPr fontAlgn="base">
              <a:spcBef>
                <a:spcPct val="0"/>
              </a:spcBef>
              <a:spcAft>
                <a:spcPct val="0"/>
              </a:spcAft>
            </a:pPr>
            <a:r>
              <a:rPr lang="en-US" sz="1066" b="1" dirty="0" err="1">
                <a:solidFill>
                  <a:srgbClr val="000000"/>
                </a:solidFill>
              </a:rPr>
              <a:t>Conectare</a:t>
            </a:r>
            <a:r>
              <a:rPr lang="en-US" sz="1066" b="1" dirty="0">
                <a:solidFill>
                  <a:srgbClr val="000000"/>
                </a:solidFill>
              </a:rPr>
              <a:t> </a:t>
            </a:r>
            <a:r>
              <a:rPr lang="en-US" sz="1066" b="1" dirty="0" err="1">
                <a:solidFill>
                  <a:srgbClr val="000000"/>
                </a:solidFill>
              </a:rPr>
              <a:t>usoara</a:t>
            </a:r>
            <a:endParaRPr lang="en-US" sz="1066" b="1" dirty="0">
              <a:solidFill>
                <a:srgbClr val="000000"/>
              </a:solidFill>
            </a:endParaRPr>
          </a:p>
          <a:p>
            <a:pPr fontAlgn="base">
              <a:spcBef>
                <a:spcPct val="0"/>
              </a:spcBef>
              <a:spcAft>
                <a:spcPct val="0"/>
              </a:spcAft>
            </a:pPr>
            <a:r>
              <a:rPr lang="en-US" sz="1066" b="1" dirty="0">
                <a:solidFill>
                  <a:srgbClr val="000000"/>
                </a:solidFill>
              </a:rPr>
              <a:t>Control Remote cu </a:t>
            </a:r>
            <a:r>
              <a:rPr lang="en-US" sz="1066" b="1" dirty="0" err="1">
                <a:solidFill>
                  <a:srgbClr val="000000"/>
                </a:solidFill>
              </a:rPr>
              <a:t>Smartlink</a:t>
            </a:r>
            <a:endParaRPr lang="en-US" sz="1066" b="1" dirty="0">
              <a:solidFill>
                <a:srgbClr val="000000"/>
              </a:solidFill>
            </a:endParaRPr>
          </a:p>
        </p:txBody>
      </p:sp>
      <p:sp>
        <p:nvSpPr>
          <p:cNvPr id="31" name="Oval 30"/>
          <p:cNvSpPr/>
          <p:nvPr/>
        </p:nvSpPr>
        <p:spPr bwMode="auto">
          <a:xfrm>
            <a:off x="11657575" y="2164118"/>
            <a:ext cx="233465" cy="233403"/>
          </a:xfrm>
          <a:prstGeom prst="ellipse">
            <a:avLst/>
          </a:prstGeom>
          <a:solidFill>
            <a:srgbClr val="D7D7D7"/>
          </a:solidFill>
          <a:ln w="19050" cap="flat" cmpd="sng" algn="ctr">
            <a:solidFill>
              <a:srgbClr val="FFFF00"/>
            </a:solidFill>
            <a:prstDash val="solid"/>
            <a:round/>
            <a:headEnd type="none" w="sm" len="sm"/>
            <a:tailEnd type="none" w="sm" len="sm"/>
          </a:ln>
          <a:effectLst/>
        </p:spPr>
        <p:txBody>
          <a:bodyPr vert="horz" wrap="square" lIns="91428" tIns="45715" rIns="91428" bIns="45715" numCol="1" rtlCol="0" anchor="ctr" anchorCtr="0" compatLnSpc="1">
            <a:prstTxWarp prst="textNoShape">
              <a:avLst/>
            </a:prstTxWarp>
          </a:bodyPr>
          <a:lstStyle/>
          <a:p>
            <a:pPr algn="ctr" fontAlgn="base">
              <a:spcBef>
                <a:spcPct val="0"/>
              </a:spcBef>
              <a:spcAft>
                <a:spcPct val="0"/>
              </a:spcAft>
            </a:pPr>
            <a:r>
              <a:rPr lang="en-US" sz="1066" b="1" dirty="0">
                <a:solidFill>
                  <a:srgbClr val="626469"/>
                </a:solidFill>
              </a:rPr>
              <a:t>5</a:t>
            </a:r>
          </a:p>
        </p:txBody>
      </p:sp>
      <p:sp>
        <p:nvSpPr>
          <p:cNvPr id="34" name="Rounded Rectangle 33"/>
          <p:cNvSpPr/>
          <p:nvPr/>
        </p:nvSpPr>
        <p:spPr bwMode="auto">
          <a:xfrm>
            <a:off x="4781112" y="2592098"/>
            <a:ext cx="846306" cy="253934"/>
          </a:xfrm>
          <a:prstGeom prst="roundRect">
            <a:avLst/>
          </a:prstGeom>
          <a:solidFill>
            <a:srgbClr val="FFFFFF">
              <a:alpha val="23922"/>
            </a:srgbClr>
          </a:solidFill>
          <a:ln w="19050" cap="flat" cmpd="sng" algn="ctr">
            <a:solidFill>
              <a:srgbClr val="FFFF00"/>
            </a:solidFill>
            <a:prstDash val="solid"/>
            <a:round/>
            <a:headEnd type="none" w="sm" len="sm"/>
            <a:tailEnd type="none" w="sm" len="sm"/>
          </a:ln>
          <a:effectLst/>
        </p:spPr>
        <p:txBody>
          <a:bodyPr vert="horz" wrap="square" lIns="91428" tIns="45715" rIns="91428" bIns="45715" numCol="1" rtlCol="0" anchor="t" anchorCtr="0" compatLnSpc="1">
            <a:prstTxWarp prst="textNoShape">
              <a:avLst/>
            </a:prstTxWarp>
          </a:bodyPr>
          <a:lstStyle/>
          <a:p>
            <a:pPr fontAlgn="base">
              <a:spcBef>
                <a:spcPct val="0"/>
              </a:spcBef>
              <a:spcAft>
                <a:spcPct val="0"/>
              </a:spcAft>
            </a:pPr>
            <a:endParaRPr lang="en-US" sz="2533">
              <a:solidFill>
                <a:srgbClr val="626469"/>
              </a:solidFill>
            </a:endParaRPr>
          </a:p>
        </p:txBody>
      </p:sp>
      <p:sp>
        <p:nvSpPr>
          <p:cNvPr id="35" name="Rounded Rectangle 34"/>
          <p:cNvSpPr/>
          <p:nvPr/>
        </p:nvSpPr>
        <p:spPr bwMode="auto">
          <a:xfrm>
            <a:off x="193167" y="2942203"/>
            <a:ext cx="2845701" cy="1441442"/>
          </a:xfrm>
          <a:prstGeom prst="roundRect">
            <a:avLst>
              <a:gd name="adj" fmla="val 8164"/>
            </a:avLst>
          </a:prstGeom>
          <a:solidFill>
            <a:srgbClr val="FFFFFF"/>
          </a:solidFill>
          <a:ln w="19050" cap="flat" cmpd="sng" algn="ctr">
            <a:solidFill>
              <a:srgbClr val="4F4F4F"/>
            </a:solidFill>
            <a:prstDash val="solid"/>
            <a:round/>
            <a:headEnd type="none" w="sm" len="sm"/>
            <a:tailEnd type="none" w="sm" len="sm"/>
          </a:ln>
          <a:effectLst/>
        </p:spPr>
        <p:txBody>
          <a:bodyPr vert="horz" wrap="square" lIns="91428" tIns="45715" rIns="91428" bIns="45715" numCol="1" rtlCol="0" anchor="t" anchorCtr="0" compatLnSpc="1">
            <a:prstTxWarp prst="textNoShape">
              <a:avLst/>
            </a:prstTxWarp>
          </a:bodyPr>
          <a:lstStyle/>
          <a:p>
            <a:pPr fontAlgn="base">
              <a:spcBef>
                <a:spcPct val="0"/>
              </a:spcBef>
              <a:spcAft>
                <a:spcPct val="0"/>
              </a:spcAft>
            </a:pPr>
            <a:r>
              <a:rPr lang="en-US" sz="1466" b="1" dirty="0">
                <a:solidFill>
                  <a:srgbClr val="000000"/>
                </a:solidFill>
              </a:rPr>
              <a:t>PowerTag</a:t>
            </a:r>
            <a:br>
              <a:rPr lang="en-US" sz="1466" b="1" dirty="0">
                <a:solidFill>
                  <a:srgbClr val="000000"/>
                </a:solidFill>
              </a:rPr>
            </a:br>
            <a:r>
              <a:rPr lang="en-US" sz="1466" b="1" dirty="0" err="1">
                <a:solidFill>
                  <a:srgbClr val="000000"/>
                </a:solidFill>
              </a:rPr>
              <a:t>Plecari</a:t>
            </a:r>
            <a:endParaRPr lang="en-US" sz="1466" b="1" dirty="0">
              <a:solidFill>
                <a:srgbClr val="000000"/>
              </a:solidFill>
            </a:endParaRPr>
          </a:p>
          <a:p>
            <a:pPr fontAlgn="base">
              <a:spcBef>
                <a:spcPct val="0"/>
              </a:spcBef>
              <a:spcAft>
                <a:spcPct val="0"/>
              </a:spcAft>
            </a:pPr>
            <a:endParaRPr lang="en-US" sz="1466" dirty="0">
              <a:solidFill>
                <a:srgbClr val="000000"/>
              </a:solidFill>
            </a:endParaRPr>
          </a:p>
          <a:p>
            <a:pPr fontAlgn="base">
              <a:spcBef>
                <a:spcPct val="0"/>
              </a:spcBef>
              <a:spcAft>
                <a:spcPct val="0"/>
              </a:spcAft>
            </a:pPr>
            <a:r>
              <a:rPr lang="en-US" sz="1066" dirty="0" err="1">
                <a:solidFill>
                  <a:srgbClr val="000000"/>
                </a:solidFill>
              </a:rPr>
              <a:t>Senzor</a:t>
            </a:r>
            <a:r>
              <a:rPr lang="en-US" sz="1066" dirty="0">
                <a:solidFill>
                  <a:srgbClr val="000000"/>
                </a:solidFill>
              </a:rPr>
              <a:t> de </a:t>
            </a:r>
            <a:r>
              <a:rPr lang="en-US" sz="1066" dirty="0" err="1">
                <a:solidFill>
                  <a:srgbClr val="000000"/>
                </a:solidFill>
              </a:rPr>
              <a:t>energie</a:t>
            </a:r>
            <a:r>
              <a:rPr lang="en-US" sz="1066" dirty="0">
                <a:solidFill>
                  <a:srgbClr val="000000"/>
                </a:solidFill>
              </a:rPr>
              <a:t> wireless</a:t>
            </a:r>
          </a:p>
          <a:p>
            <a:pPr fontAlgn="base">
              <a:spcBef>
                <a:spcPct val="0"/>
              </a:spcBef>
              <a:spcAft>
                <a:spcPct val="0"/>
              </a:spcAft>
            </a:pPr>
            <a:r>
              <a:rPr lang="en-US" sz="1066" dirty="0">
                <a:solidFill>
                  <a:srgbClr val="000000"/>
                </a:solidFill>
              </a:rPr>
              <a:t>Class 1  in </a:t>
            </a:r>
            <a:r>
              <a:rPr lang="en-US" sz="1066" dirty="0" err="1">
                <a:solidFill>
                  <a:srgbClr val="000000"/>
                </a:solidFill>
              </a:rPr>
              <a:t>Energie</a:t>
            </a:r>
            <a:r>
              <a:rPr lang="en-US" sz="1066" dirty="0">
                <a:solidFill>
                  <a:srgbClr val="000000"/>
                </a:solidFill>
              </a:rPr>
              <a:t> </a:t>
            </a:r>
            <a:r>
              <a:rPr lang="en-US" sz="1066" dirty="0" err="1">
                <a:solidFill>
                  <a:srgbClr val="000000"/>
                </a:solidFill>
              </a:rPr>
              <a:t>si</a:t>
            </a:r>
            <a:r>
              <a:rPr lang="en-US" sz="1066" dirty="0">
                <a:solidFill>
                  <a:srgbClr val="000000"/>
                </a:solidFill>
              </a:rPr>
              <a:t> </a:t>
            </a:r>
            <a:r>
              <a:rPr lang="en-US" sz="1066" dirty="0" err="1">
                <a:solidFill>
                  <a:srgbClr val="000000"/>
                </a:solidFill>
              </a:rPr>
              <a:t>Curent</a:t>
            </a:r>
            <a:r>
              <a:rPr lang="en-US" sz="1066" dirty="0">
                <a:solidFill>
                  <a:srgbClr val="000000"/>
                </a:solidFill>
              </a:rPr>
              <a:t> </a:t>
            </a:r>
          </a:p>
          <a:p>
            <a:pPr fontAlgn="base">
              <a:spcBef>
                <a:spcPct val="0"/>
              </a:spcBef>
              <a:spcAft>
                <a:spcPct val="0"/>
              </a:spcAft>
            </a:pPr>
            <a:r>
              <a:rPr lang="en-US" sz="1066" dirty="0" err="1">
                <a:solidFill>
                  <a:srgbClr val="000000"/>
                </a:solidFill>
              </a:rPr>
              <a:t>Detectie</a:t>
            </a:r>
            <a:r>
              <a:rPr lang="en-US" sz="1066" dirty="0">
                <a:solidFill>
                  <a:srgbClr val="000000"/>
                </a:solidFill>
              </a:rPr>
              <a:t> de </a:t>
            </a:r>
            <a:r>
              <a:rPr lang="en-US" sz="1066" dirty="0" err="1">
                <a:solidFill>
                  <a:srgbClr val="000000"/>
                </a:solidFill>
              </a:rPr>
              <a:t>caderi</a:t>
            </a:r>
            <a:r>
              <a:rPr lang="en-US" sz="1066" dirty="0">
                <a:solidFill>
                  <a:srgbClr val="000000"/>
                </a:solidFill>
              </a:rPr>
              <a:t> de </a:t>
            </a:r>
            <a:r>
              <a:rPr lang="en-US" sz="1066" dirty="0" err="1">
                <a:solidFill>
                  <a:srgbClr val="000000"/>
                </a:solidFill>
              </a:rPr>
              <a:t>tensiune</a:t>
            </a:r>
            <a:r>
              <a:rPr lang="en-US" sz="1066" dirty="0">
                <a:solidFill>
                  <a:srgbClr val="000000"/>
                </a:solidFill>
              </a:rPr>
              <a:t> </a:t>
            </a:r>
            <a:r>
              <a:rPr lang="en-US" sz="1066" dirty="0" err="1">
                <a:solidFill>
                  <a:srgbClr val="000000"/>
                </a:solidFill>
              </a:rPr>
              <a:t>si</a:t>
            </a:r>
            <a:r>
              <a:rPr lang="en-US" sz="1066" dirty="0">
                <a:solidFill>
                  <a:srgbClr val="000000"/>
                </a:solidFill>
              </a:rPr>
              <a:t> </a:t>
            </a:r>
            <a:r>
              <a:rPr lang="en-US" sz="1066" dirty="0" err="1">
                <a:solidFill>
                  <a:srgbClr val="000000"/>
                </a:solidFill>
              </a:rPr>
              <a:t>alarme</a:t>
            </a:r>
            <a:r>
              <a:rPr lang="en-US" sz="1066" dirty="0">
                <a:solidFill>
                  <a:srgbClr val="000000"/>
                </a:solidFill>
              </a:rPr>
              <a:t> </a:t>
            </a:r>
            <a:r>
              <a:rPr lang="en-US" sz="1066" dirty="0" err="1">
                <a:solidFill>
                  <a:srgbClr val="000000"/>
                </a:solidFill>
              </a:rPr>
              <a:t>pe</a:t>
            </a:r>
            <a:r>
              <a:rPr lang="en-US" sz="1066" dirty="0">
                <a:solidFill>
                  <a:srgbClr val="000000"/>
                </a:solidFill>
              </a:rPr>
              <a:t> e-mail cu </a:t>
            </a:r>
            <a:r>
              <a:rPr lang="en-US" sz="1066" dirty="0" err="1">
                <a:solidFill>
                  <a:srgbClr val="000000"/>
                </a:solidFill>
              </a:rPr>
              <a:t>Smartlink</a:t>
            </a:r>
            <a:endParaRPr lang="en-US" sz="1066" dirty="0">
              <a:solidFill>
                <a:srgbClr val="000000"/>
              </a:solidFill>
            </a:endParaRPr>
          </a:p>
        </p:txBody>
      </p:sp>
      <p:cxnSp>
        <p:nvCxnSpPr>
          <p:cNvPr id="37" name="Straight Arrow Connector 36"/>
          <p:cNvCxnSpPr>
            <a:stCxn id="35" idx="3"/>
          </p:cNvCxnSpPr>
          <p:nvPr/>
        </p:nvCxnSpPr>
        <p:spPr bwMode="auto">
          <a:xfrm flipV="1">
            <a:off x="3038868" y="2825503"/>
            <a:ext cx="1742244" cy="837421"/>
          </a:xfrm>
          <a:prstGeom prst="straightConnector1">
            <a:avLst/>
          </a:prstGeom>
          <a:solidFill>
            <a:srgbClr val="FFFFFF">
              <a:alpha val="23922"/>
            </a:srgbClr>
          </a:solidFill>
          <a:ln w="38100" cap="flat" cmpd="sng" algn="ctr">
            <a:solidFill>
              <a:srgbClr val="FFFF00"/>
            </a:solidFill>
            <a:prstDash val="solid"/>
            <a:round/>
            <a:headEnd type="none" w="med" len="med"/>
            <a:tailEnd type="arrow" w="med" len="med"/>
          </a:ln>
          <a:effectLst/>
        </p:spPr>
      </p:cxnSp>
      <p:sp>
        <p:nvSpPr>
          <p:cNvPr id="38" name="Oval 37"/>
          <p:cNvSpPr/>
          <p:nvPr/>
        </p:nvSpPr>
        <p:spPr bwMode="auto">
          <a:xfrm>
            <a:off x="76434" y="2825501"/>
            <a:ext cx="233465" cy="233403"/>
          </a:xfrm>
          <a:prstGeom prst="ellipse">
            <a:avLst/>
          </a:prstGeom>
          <a:solidFill>
            <a:srgbClr val="D7D7D7"/>
          </a:solidFill>
          <a:ln w="19050" cap="flat" cmpd="sng" algn="ctr">
            <a:solidFill>
              <a:srgbClr val="FFFF00"/>
            </a:solidFill>
            <a:prstDash val="solid"/>
            <a:round/>
            <a:headEnd type="none" w="sm" len="sm"/>
            <a:tailEnd type="none" w="sm" len="sm"/>
          </a:ln>
          <a:effectLst/>
        </p:spPr>
        <p:txBody>
          <a:bodyPr vert="horz" wrap="square" lIns="91428" tIns="45715" rIns="91428" bIns="45715" numCol="1" rtlCol="0" anchor="ctr" anchorCtr="0" compatLnSpc="1">
            <a:prstTxWarp prst="textNoShape">
              <a:avLst/>
            </a:prstTxWarp>
          </a:bodyPr>
          <a:lstStyle/>
          <a:p>
            <a:pPr algn="ctr" fontAlgn="base">
              <a:spcBef>
                <a:spcPct val="0"/>
              </a:spcBef>
              <a:spcAft>
                <a:spcPct val="0"/>
              </a:spcAft>
            </a:pPr>
            <a:r>
              <a:rPr lang="en-US" sz="1066" b="1" dirty="0">
                <a:solidFill>
                  <a:srgbClr val="626469"/>
                </a:solidFill>
              </a:rPr>
              <a:t>2</a:t>
            </a:r>
          </a:p>
        </p:txBody>
      </p:sp>
      <p:sp>
        <p:nvSpPr>
          <p:cNvPr id="39" name="Oval 38"/>
          <p:cNvSpPr/>
          <p:nvPr/>
        </p:nvSpPr>
        <p:spPr bwMode="auto">
          <a:xfrm>
            <a:off x="5510685" y="2475397"/>
            <a:ext cx="233465" cy="233403"/>
          </a:xfrm>
          <a:prstGeom prst="ellipse">
            <a:avLst/>
          </a:prstGeom>
          <a:solidFill>
            <a:schemeClr val="bg1"/>
          </a:solidFill>
          <a:ln w="19050" cap="flat" cmpd="sng" algn="ctr">
            <a:solidFill>
              <a:srgbClr val="FFFF00"/>
            </a:solidFill>
            <a:prstDash val="solid"/>
            <a:round/>
            <a:headEnd type="none" w="sm" len="sm"/>
            <a:tailEnd type="none" w="sm" len="sm"/>
          </a:ln>
          <a:effectLst/>
        </p:spPr>
        <p:txBody>
          <a:bodyPr vert="horz" wrap="square" lIns="91428" tIns="45715" rIns="91428" bIns="45715" numCol="1" rtlCol="0" anchor="ctr" anchorCtr="0" compatLnSpc="1">
            <a:prstTxWarp prst="textNoShape">
              <a:avLst/>
            </a:prstTxWarp>
          </a:bodyPr>
          <a:lstStyle/>
          <a:p>
            <a:pPr algn="ctr" fontAlgn="base">
              <a:spcBef>
                <a:spcPct val="0"/>
              </a:spcBef>
              <a:spcAft>
                <a:spcPct val="0"/>
              </a:spcAft>
            </a:pPr>
            <a:r>
              <a:rPr lang="en-US" sz="1066" b="1" dirty="0">
                <a:solidFill>
                  <a:srgbClr val="626469"/>
                </a:solidFill>
              </a:rPr>
              <a:t>2</a:t>
            </a:r>
          </a:p>
        </p:txBody>
      </p:sp>
      <p:pic>
        <p:nvPicPr>
          <p:cNvPr id="42" name="Picture 41" descr="PowerTag_A9MEM1522_Image.jpg"/>
          <p:cNvPicPr>
            <a:picLocks noChangeAspect="1"/>
          </p:cNvPicPr>
          <p:nvPr/>
        </p:nvPicPr>
        <p:blipFill>
          <a:blip r:embed="rId4" cstate="print"/>
          <a:stretch>
            <a:fillRect/>
          </a:stretch>
        </p:blipFill>
        <p:spPr>
          <a:xfrm>
            <a:off x="2154644" y="3058906"/>
            <a:ext cx="731820" cy="522555"/>
          </a:xfrm>
          <a:prstGeom prst="rect">
            <a:avLst/>
          </a:prstGeom>
        </p:spPr>
      </p:pic>
      <p:pic>
        <p:nvPicPr>
          <p:cNvPr id="46" name="Picture 45" descr="PowerTag_A9MEM1541_Image.jpg"/>
          <p:cNvPicPr>
            <a:picLocks noChangeAspect="1"/>
          </p:cNvPicPr>
          <p:nvPr/>
        </p:nvPicPr>
        <p:blipFill>
          <a:blip r:embed="rId5" cstate="print"/>
          <a:stretch>
            <a:fillRect/>
          </a:stretch>
        </p:blipFill>
        <p:spPr>
          <a:xfrm>
            <a:off x="1641540" y="865350"/>
            <a:ext cx="1244924" cy="525526"/>
          </a:xfrm>
          <a:prstGeom prst="rect">
            <a:avLst/>
          </a:prstGeom>
        </p:spPr>
      </p:pic>
      <p:cxnSp>
        <p:nvCxnSpPr>
          <p:cNvPr id="48" name="Straight Arrow Connector 47"/>
          <p:cNvCxnSpPr>
            <a:stCxn id="30" idx="1"/>
            <a:endCxn id="49" idx="3"/>
          </p:cNvCxnSpPr>
          <p:nvPr/>
        </p:nvCxnSpPr>
        <p:spPr bwMode="auto">
          <a:xfrm rot="10800000" flipV="1">
            <a:off x="5004849" y="2848563"/>
            <a:ext cx="4040490" cy="1535084"/>
          </a:xfrm>
          <a:prstGeom prst="straightConnector1">
            <a:avLst/>
          </a:prstGeom>
          <a:solidFill>
            <a:srgbClr val="FFFFFF">
              <a:alpha val="23922"/>
            </a:srgbClr>
          </a:solidFill>
          <a:ln w="38100" cap="flat" cmpd="sng" algn="ctr">
            <a:solidFill>
              <a:srgbClr val="FFFF00"/>
            </a:solidFill>
            <a:prstDash val="solid"/>
            <a:round/>
            <a:headEnd type="none" w="med" len="med"/>
            <a:tailEnd type="arrow" w="med" len="med"/>
          </a:ln>
          <a:effectLst/>
        </p:spPr>
      </p:cxnSp>
      <p:sp>
        <p:nvSpPr>
          <p:cNvPr id="49" name="Rounded Rectangle 48"/>
          <p:cNvSpPr/>
          <p:nvPr/>
        </p:nvSpPr>
        <p:spPr bwMode="auto">
          <a:xfrm>
            <a:off x="4510360" y="3968671"/>
            <a:ext cx="494489" cy="829949"/>
          </a:xfrm>
          <a:prstGeom prst="roundRect">
            <a:avLst/>
          </a:prstGeom>
          <a:solidFill>
            <a:srgbClr val="FFFFFF">
              <a:alpha val="23922"/>
            </a:srgbClr>
          </a:solidFill>
          <a:ln w="19050" cap="flat" cmpd="sng" algn="ctr">
            <a:solidFill>
              <a:srgbClr val="FFFF00"/>
            </a:solidFill>
            <a:prstDash val="solid"/>
            <a:round/>
            <a:headEnd type="none" w="sm" len="sm"/>
            <a:tailEnd type="none" w="sm" len="sm"/>
          </a:ln>
          <a:effectLst/>
        </p:spPr>
        <p:txBody>
          <a:bodyPr vert="horz" wrap="square" lIns="91428" tIns="45715" rIns="91428" bIns="45715" numCol="1" rtlCol="0" anchor="t" anchorCtr="0" compatLnSpc="1">
            <a:prstTxWarp prst="textNoShape">
              <a:avLst/>
            </a:prstTxWarp>
          </a:bodyPr>
          <a:lstStyle/>
          <a:p>
            <a:pPr fontAlgn="base">
              <a:spcBef>
                <a:spcPct val="0"/>
              </a:spcBef>
              <a:spcAft>
                <a:spcPct val="0"/>
              </a:spcAft>
            </a:pPr>
            <a:endParaRPr lang="en-US" sz="2533">
              <a:solidFill>
                <a:srgbClr val="626469"/>
              </a:solidFill>
            </a:endParaRPr>
          </a:p>
        </p:txBody>
      </p:sp>
      <p:sp>
        <p:nvSpPr>
          <p:cNvPr id="53" name="Oval 52"/>
          <p:cNvSpPr/>
          <p:nvPr/>
        </p:nvSpPr>
        <p:spPr bwMode="auto">
          <a:xfrm>
            <a:off x="4888115" y="3851969"/>
            <a:ext cx="233465" cy="233403"/>
          </a:xfrm>
          <a:prstGeom prst="ellipse">
            <a:avLst/>
          </a:prstGeom>
          <a:solidFill>
            <a:schemeClr val="bg1"/>
          </a:solidFill>
          <a:ln w="19050" cap="flat" cmpd="sng" algn="ctr">
            <a:solidFill>
              <a:srgbClr val="FFFF00"/>
            </a:solidFill>
            <a:prstDash val="solid"/>
            <a:round/>
            <a:headEnd type="none" w="sm" len="sm"/>
            <a:tailEnd type="none" w="sm" len="sm"/>
          </a:ln>
          <a:effectLst/>
        </p:spPr>
        <p:txBody>
          <a:bodyPr vert="horz" wrap="square" lIns="91428" tIns="45715" rIns="91428" bIns="45715" numCol="1" rtlCol="0" anchor="ctr" anchorCtr="0" compatLnSpc="1">
            <a:prstTxWarp prst="textNoShape">
              <a:avLst/>
            </a:prstTxWarp>
          </a:bodyPr>
          <a:lstStyle/>
          <a:p>
            <a:pPr algn="ctr" fontAlgn="base">
              <a:spcBef>
                <a:spcPct val="0"/>
              </a:spcBef>
              <a:spcAft>
                <a:spcPct val="0"/>
              </a:spcAft>
            </a:pPr>
            <a:r>
              <a:rPr lang="en-US" sz="1066" b="1" dirty="0">
                <a:solidFill>
                  <a:srgbClr val="626469"/>
                </a:solidFill>
              </a:rPr>
              <a:t>5</a:t>
            </a:r>
          </a:p>
        </p:txBody>
      </p:sp>
      <p:sp>
        <p:nvSpPr>
          <p:cNvPr id="54" name="Rounded Rectangle 53"/>
          <p:cNvSpPr/>
          <p:nvPr/>
        </p:nvSpPr>
        <p:spPr bwMode="auto">
          <a:xfrm>
            <a:off x="7820025" y="3929768"/>
            <a:ext cx="4329888" cy="2640849"/>
          </a:xfrm>
          <a:prstGeom prst="roundRect">
            <a:avLst>
              <a:gd name="adj" fmla="val 2482"/>
            </a:avLst>
          </a:prstGeom>
          <a:solidFill>
            <a:srgbClr val="FFFFFF"/>
          </a:solidFill>
          <a:ln w="19050" cap="flat" cmpd="sng" algn="ctr">
            <a:solidFill>
              <a:srgbClr val="4F4F4F"/>
            </a:solidFill>
            <a:prstDash val="solid"/>
            <a:round/>
            <a:headEnd type="none" w="sm" len="sm"/>
            <a:tailEnd type="none" w="sm" len="sm"/>
          </a:ln>
          <a:effectLst/>
        </p:spPr>
        <p:txBody>
          <a:bodyPr vert="horz" wrap="square" lIns="91428" tIns="45715" rIns="91428" bIns="45715" numCol="1" rtlCol="0" anchor="t" anchorCtr="0" compatLnSpc="1">
            <a:prstTxWarp prst="textNoShape">
              <a:avLst/>
            </a:prstTxWarp>
          </a:bodyPr>
          <a:lstStyle/>
          <a:p>
            <a:pPr algn="ctr" fontAlgn="base">
              <a:spcBef>
                <a:spcPct val="0"/>
              </a:spcBef>
              <a:spcAft>
                <a:spcPct val="0"/>
              </a:spcAft>
            </a:pPr>
            <a:r>
              <a:rPr lang="en-US" sz="1400" b="1" dirty="0">
                <a:solidFill>
                  <a:srgbClr val="000000"/>
                </a:solidFill>
              </a:rPr>
              <a:t>PowerTag + Acti 9 Com System – </a:t>
            </a:r>
            <a:r>
              <a:rPr lang="en-US" sz="1400" b="1" dirty="0" err="1">
                <a:solidFill>
                  <a:srgbClr val="000000"/>
                </a:solidFill>
              </a:rPr>
              <a:t>beneficii</a:t>
            </a:r>
            <a:r>
              <a:rPr lang="en-US" sz="1400" b="1" dirty="0">
                <a:solidFill>
                  <a:srgbClr val="000000"/>
                </a:solidFill>
              </a:rPr>
              <a:t> </a:t>
            </a:r>
            <a:r>
              <a:rPr lang="en-US" sz="1400" b="1" dirty="0" err="1">
                <a:solidFill>
                  <a:srgbClr val="000000"/>
                </a:solidFill>
              </a:rPr>
              <a:t>principale</a:t>
            </a:r>
            <a:endParaRPr lang="en-US" sz="1400" b="1" dirty="0">
              <a:solidFill>
                <a:srgbClr val="000000"/>
              </a:solidFill>
            </a:endParaRPr>
          </a:p>
          <a:p>
            <a:pPr fontAlgn="base">
              <a:spcBef>
                <a:spcPct val="0"/>
              </a:spcBef>
              <a:spcAft>
                <a:spcPct val="0"/>
              </a:spcAft>
            </a:pPr>
            <a:endParaRPr lang="en-US" sz="1066" dirty="0">
              <a:solidFill>
                <a:srgbClr val="626469"/>
              </a:solidFill>
            </a:endParaRPr>
          </a:p>
          <a:p>
            <a:pPr fontAlgn="base">
              <a:spcBef>
                <a:spcPct val="0"/>
              </a:spcBef>
              <a:spcAft>
                <a:spcPct val="0"/>
              </a:spcAft>
            </a:pPr>
            <a:r>
              <a:rPr lang="en-US" sz="1066" b="1" dirty="0" err="1">
                <a:solidFill>
                  <a:srgbClr val="000000"/>
                </a:solidFill>
              </a:rPr>
              <a:t>Monitorizarea</a:t>
            </a:r>
            <a:r>
              <a:rPr lang="en-US" sz="1066" b="1" dirty="0">
                <a:solidFill>
                  <a:srgbClr val="000000"/>
                </a:solidFill>
              </a:rPr>
              <a:t> </a:t>
            </a:r>
            <a:r>
              <a:rPr lang="en-US" sz="1066" b="1" dirty="0" err="1">
                <a:solidFill>
                  <a:srgbClr val="000000"/>
                </a:solidFill>
              </a:rPr>
              <a:t>sarcinilor</a:t>
            </a:r>
            <a:r>
              <a:rPr lang="en-US" sz="1066" b="1" dirty="0">
                <a:solidFill>
                  <a:srgbClr val="000000"/>
                </a:solidFill>
              </a:rPr>
              <a:t> </a:t>
            </a:r>
            <a:r>
              <a:rPr lang="en-US" sz="1066" b="1" dirty="0" err="1">
                <a:solidFill>
                  <a:srgbClr val="000000"/>
                </a:solidFill>
              </a:rPr>
              <a:t>critice</a:t>
            </a:r>
            <a:r>
              <a:rPr lang="en-US" sz="1066" b="1" dirty="0">
                <a:solidFill>
                  <a:srgbClr val="000000"/>
                </a:solidFill>
              </a:rPr>
              <a:t> </a:t>
            </a:r>
          </a:p>
          <a:p>
            <a:pPr fontAlgn="base">
              <a:spcBef>
                <a:spcPct val="0"/>
              </a:spcBef>
              <a:spcAft>
                <a:spcPct val="0"/>
              </a:spcAft>
            </a:pPr>
            <a:r>
              <a:rPr lang="en-US" sz="1066" dirty="0">
                <a:solidFill>
                  <a:srgbClr val="000000"/>
                </a:solidFill>
              </a:rPr>
              <a:t>   </a:t>
            </a:r>
          </a:p>
          <a:p>
            <a:pPr fontAlgn="base">
              <a:spcBef>
                <a:spcPct val="0"/>
              </a:spcBef>
              <a:spcAft>
                <a:spcPct val="0"/>
              </a:spcAft>
            </a:pPr>
            <a:r>
              <a:rPr lang="en-US" sz="1066" dirty="0">
                <a:solidFill>
                  <a:srgbClr val="000000"/>
                </a:solidFill>
              </a:rPr>
              <a:t>   </a:t>
            </a:r>
            <a:r>
              <a:rPr lang="en-US" sz="1066" dirty="0" err="1">
                <a:solidFill>
                  <a:srgbClr val="000000"/>
                </a:solidFill>
              </a:rPr>
              <a:t>Detectia</a:t>
            </a:r>
            <a:r>
              <a:rPr lang="en-US" sz="1066" dirty="0">
                <a:solidFill>
                  <a:srgbClr val="000000"/>
                </a:solidFill>
              </a:rPr>
              <a:t> </a:t>
            </a:r>
            <a:r>
              <a:rPr lang="en-US" sz="1066" dirty="0" err="1">
                <a:solidFill>
                  <a:srgbClr val="000000"/>
                </a:solidFill>
              </a:rPr>
              <a:t>caderilor</a:t>
            </a:r>
            <a:r>
              <a:rPr lang="en-US" sz="1066" dirty="0">
                <a:solidFill>
                  <a:srgbClr val="000000"/>
                </a:solidFill>
              </a:rPr>
              <a:t> de </a:t>
            </a:r>
            <a:r>
              <a:rPr lang="en-US" sz="1066" dirty="0" err="1">
                <a:solidFill>
                  <a:srgbClr val="000000"/>
                </a:solidFill>
              </a:rPr>
              <a:t>tensiune</a:t>
            </a:r>
            <a:endParaRPr lang="en-US" sz="1066" dirty="0">
              <a:solidFill>
                <a:srgbClr val="000000"/>
              </a:solidFill>
            </a:endParaRPr>
          </a:p>
          <a:p>
            <a:pPr fontAlgn="base">
              <a:spcBef>
                <a:spcPct val="0"/>
              </a:spcBef>
              <a:spcAft>
                <a:spcPct val="0"/>
              </a:spcAft>
            </a:pPr>
            <a:r>
              <a:rPr lang="en-US" sz="1066" dirty="0">
                <a:solidFill>
                  <a:srgbClr val="000000"/>
                </a:solidFill>
              </a:rPr>
              <a:t>   </a:t>
            </a:r>
            <a:r>
              <a:rPr lang="en-US" sz="1066" dirty="0" err="1">
                <a:solidFill>
                  <a:srgbClr val="000000"/>
                </a:solidFill>
              </a:rPr>
              <a:t>Alarme</a:t>
            </a:r>
            <a:r>
              <a:rPr lang="en-US" sz="1066" dirty="0">
                <a:solidFill>
                  <a:srgbClr val="000000"/>
                </a:solidFill>
              </a:rPr>
              <a:t> la xx% </a:t>
            </a:r>
            <a:r>
              <a:rPr lang="en-US" sz="1066" dirty="0" err="1">
                <a:solidFill>
                  <a:srgbClr val="000000"/>
                </a:solidFill>
              </a:rPr>
              <a:t>sarcina</a:t>
            </a:r>
            <a:r>
              <a:rPr lang="en-US" sz="1066" dirty="0">
                <a:solidFill>
                  <a:srgbClr val="000000"/>
                </a:solidFill>
              </a:rPr>
              <a:t> (email </a:t>
            </a:r>
            <a:r>
              <a:rPr lang="en-US" sz="1066" dirty="0" err="1">
                <a:solidFill>
                  <a:srgbClr val="000000"/>
                </a:solidFill>
              </a:rPr>
              <a:t>sau</a:t>
            </a:r>
            <a:r>
              <a:rPr lang="en-US" sz="1066" dirty="0">
                <a:solidFill>
                  <a:srgbClr val="000000"/>
                </a:solidFill>
              </a:rPr>
              <a:t> Modbus)</a:t>
            </a:r>
          </a:p>
          <a:p>
            <a:pPr fontAlgn="base">
              <a:spcBef>
                <a:spcPct val="0"/>
              </a:spcBef>
              <a:spcAft>
                <a:spcPct val="0"/>
              </a:spcAft>
            </a:pPr>
            <a:endParaRPr lang="en-US" sz="1066" dirty="0">
              <a:solidFill>
                <a:srgbClr val="000000"/>
              </a:solidFill>
            </a:endParaRPr>
          </a:p>
          <a:p>
            <a:pPr fontAlgn="base">
              <a:spcBef>
                <a:spcPct val="0"/>
              </a:spcBef>
              <a:spcAft>
                <a:spcPct val="0"/>
              </a:spcAft>
            </a:pPr>
            <a:r>
              <a:rPr lang="en-US" sz="1066" b="1" dirty="0">
                <a:solidFill>
                  <a:srgbClr val="000000"/>
                </a:solidFill>
              </a:rPr>
              <a:t>   15% </a:t>
            </a:r>
            <a:r>
              <a:rPr lang="en-US" sz="1066" b="1" dirty="0" err="1">
                <a:solidFill>
                  <a:srgbClr val="000000"/>
                </a:solidFill>
              </a:rPr>
              <a:t>spatiu</a:t>
            </a:r>
            <a:r>
              <a:rPr lang="en-US" sz="1066" b="1" dirty="0">
                <a:solidFill>
                  <a:srgbClr val="000000"/>
                </a:solidFill>
              </a:rPr>
              <a:t> </a:t>
            </a:r>
            <a:r>
              <a:rPr lang="en-US" sz="1066" b="1" dirty="0" err="1">
                <a:solidFill>
                  <a:srgbClr val="000000"/>
                </a:solidFill>
              </a:rPr>
              <a:t>salvat</a:t>
            </a:r>
            <a:r>
              <a:rPr lang="en-US" sz="1066" b="1" dirty="0">
                <a:solidFill>
                  <a:srgbClr val="000000"/>
                </a:solidFill>
              </a:rPr>
              <a:t> (1 rand) </a:t>
            </a:r>
          </a:p>
          <a:p>
            <a:pPr fontAlgn="base">
              <a:spcBef>
                <a:spcPct val="0"/>
              </a:spcBef>
              <a:spcAft>
                <a:spcPct val="0"/>
              </a:spcAft>
            </a:pPr>
            <a:r>
              <a:rPr lang="en-US" sz="1066" dirty="0">
                <a:solidFill>
                  <a:srgbClr val="000000"/>
                </a:solidFill>
              </a:rPr>
              <a:t>   </a:t>
            </a:r>
            <a:r>
              <a:rPr lang="en-US" sz="1066" dirty="0" err="1">
                <a:solidFill>
                  <a:srgbClr val="000000"/>
                </a:solidFill>
              </a:rPr>
              <a:t>Smartlink</a:t>
            </a:r>
            <a:r>
              <a:rPr lang="en-US" sz="1066" dirty="0">
                <a:solidFill>
                  <a:srgbClr val="000000"/>
                </a:solidFill>
              </a:rPr>
              <a:t> </a:t>
            </a:r>
            <a:r>
              <a:rPr lang="en-US" sz="1066" dirty="0" err="1">
                <a:solidFill>
                  <a:srgbClr val="000000"/>
                </a:solidFill>
              </a:rPr>
              <a:t>instalat</a:t>
            </a:r>
            <a:r>
              <a:rPr lang="en-US" sz="1066" dirty="0">
                <a:solidFill>
                  <a:srgbClr val="000000"/>
                </a:solidFill>
              </a:rPr>
              <a:t> </a:t>
            </a:r>
            <a:r>
              <a:rPr lang="en-US" sz="1066" dirty="0" err="1">
                <a:solidFill>
                  <a:srgbClr val="000000"/>
                </a:solidFill>
              </a:rPr>
              <a:t>intre</a:t>
            </a:r>
            <a:r>
              <a:rPr lang="en-US" sz="1066" dirty="0">
                <a:solidFill>
                  <a:srgbClr val="000000"/>
                </a:solidFill>
              </a:rPr>
              <a:t> 2 sine DIN </a:t>
            </a:r>
          </a:p>
          <a:p>
            <a:pPr fontAlgn="base">
              <a:spcBef>
                <a:spcPct val="0"/>
              </a:spcBef>
              <a:spcAft>
                <a:spcPct val="0"/>
              </a:spcAft>
            </a:pPr>
            <a:endParaRPr lang="en-US" sz="1066" dirty="0">
              <a:solidFill>
                <a:srgbClr val="000000"/>
              </a:solidFill>
            </a:endParaRPr>
          </a:p>
          <a:p>
            <a:pPr fontAlgn="base">
              <a:spcBef>
                <a:spcPct val="0"/>
              </a:spcBef>
              <a:spcAft>
                <a:spcPct val="0"/>
              </a:spcAft>
            </a:pPr>
            <a:r>
              <a:rPr lang="en-US" sz="1066" b="1" dirty="0" err="1">
                <a:solidFill>
                  <a:srgbClr val="000000"/>
                </a:solidFill>
              </a:rPr>
              <a:t>Implementare</a:t>
            </a:r>
            <a:r>
              <a:rPr lang="en-US" sz="1066" b="1" dirty="0">
                <a:solidFill>
                  <a:srgbClr val="000000"/>
                </a:solidFill>
              </a:rPr>
              <a:t> </a:t>
            </a:r>
            <a:r>
              <a:rPr lang="en-US" sz="1066" b="1" dirty="0" err="1">
                <a:solidFill>
                  <a:srgbClr val="000000"/>
                </a:solidFill>
              </a:rPr>
              <a:t>monitorizare</a:t>
            </a:r>
            <a:r>
              <a:rPr lang="en-US" sz="1066" b="1" dirty="0">
                <a:solidFill>
                  <a:srgbClr val="000000"/>
                </a:solidFill>
              </a:rPr>
              <a:t> &amp; control</a:t>
            </a:r>
          </a:p>
          <a:p>
            <a:pPr fontAlgn="base">
              <a:spcBef>
                <a:spcPct val="0"/>
              </a:spcBef>
              <a:spcAft>
                <a:spcPct val="0"/>
              </a:spcAft>
            </a:pPr>
            <a:endParaRPr lang="en-US" sz="1066" b="1" dirty="0">
              <a:solidFill>
                <a:srgbClr val="000000"/>
              </a:solidFill>
            </a:endParaRPr>
          </a:p>
          <a:p>
            <a:pPr fontAlgn="base">
              <a:spcBef>
                <a:spcPct val="0"/>
              </a:spcBef>
              <a:spcAft>
                <a:spcPct val="0"/>
              </a:spcAft>
            </a:pPr>
            <a:r>
              <a:rPr lang="en-US" sz="1066" dirty="0">
                <a:solidFill>
                  <a:srgbClr val="000000"/>
                </a:solidFill>
              </a:rPr>
              <a:t>   </a:t>
            </a:r>
            <a:r>
              <a:rPr lang="en-US" sz="1066" dirty="0" err="1">
                <a:solidFill>
                  <a:srgbClr val="000000"/>
                </a:solidFill>
              </a:rPr>
              <a:t>Conectare</a:t>
            </a:r>
            <a:r>
              <a:rPr lang="en-US" sz="1066" dirty="0">
                <a:solidFill>
                  <a:srgbClr val="000000"/>
                </a:solidFill>
              </a:rPr>
              <a:t> </a:t>
            </a:r>
            <a:r>
              <a:rPr lang="en-US" sz="1066" dirty="0" err="1">
                <a:solidFill>
                  <a:srgbClr val="000000"/>
                </a:solidFill>
              </a:rPr>
              <a:t>usoara</a:t>
            </a:r>
            <a:r>
              <a:rPr lang="en-US" sz="1066" dirty="0">
                <a:solidFill>
                  <a:srgbClr val="000000"/>
                </a:solidFill>
              </a:rPr>
              <a:t> </a:t>
            </a:r>
            <a:r>
              <a:rPr lang="en-US" sz="1066" dirty="0" err="1">
                <a:solidFill>
                  <a:srgbClr val="000000"/>
                </a:solidFill>
              </a:rPr>
              <a:t>contacte</a:t>
            </a:r>
            <a:r>
              <a:rPr lang="en-US" sz="1066" dirty="0">
                <a:solidFill>
                  <a:srgbClr val="000000"/>
                </a:solidFill>
              </a:rPr>
              <a:t> OF/SD – Ti24</a:t>
            </a:r>
          </a:p>
          <a:p>
            <a:pPr fontAlgn="base">
              <a:spcBef>
                <a:spcPct val="0"/>
              </a:spcBef>
              <a:spcAft>
                <a:spcPct val="0"/>
              </a:spcAft>
            </a:pPr>
            <a:r>
              <a:rPr lang="en-US" sz="1066" dirty="0">
                <a:solidFill>
                  <a:srgbClr val="626469"/>
                </a:solidFill>
              </a:rPr>
              <a:t>   </a:t>
            </a:r>
          </a:p>
        </p:txBody>
      </p:sp>
      <p:pic>
        <p:nvPicPr>
          <p:cNvPr id="55" name="Image 44" descr="PB106142.jpg"/>
          <p:cNvPicPr>
            <a:picLocks noChangeAspect="1"/>
          </p:cNvPicPr>
          <p:nvPr/>
        </p:nvPicPr>
        <p:blipFill>
          <a:blip r:embed="rId6" cstate="print"/>
          <a:srcRect/>
          <a:stretch>
            <a:fillRect/>
          </a:stretch>
        </p:blipFill>
        <p:spPr bwMode="auto">
          <a:xfrm>
            <a:off x="11194868" y="2397521"/>
            <a:ext cx="462707" cy="731745"/>
          </a:xfrm>
          <a:prstGeom prst="rect">
            <a:avLst/>
          </a:prstGeom>
          <a:noFill/>
          <a:ln w="9525">
            <a:noFill/>
            <a:miter lim="800000"/>
            <a:headEnd/>
            <a:tailEnd/>
          </a:ln>
        </p:spPr>
      </p:pic>
      <p:pic>
        <p:nvPicPr>
          <p:cNvPr id="56" name="Picture 13" descr="P:\SchneiderElectric-Electropole\Acti9Ctrl\sources\images\chap5_monitoring.png"/>
          <p:cNvPicPr>
            <a:picLocks noChangeAspect="1" noChangeArrowheads="1"/>
          </p:cNvPicPr>
          <p:nvPr/>
        </p:nvPicPr>
        <p:blipFill>
          <a:blip r:embed="rId7" cstate="print"/>
          <a:srcRect/>
          <a:stretch>
            <a:fillRect/>
          </a:stretch>
        </p:blipFill>
        <p:spPr bwMode="auto">
          <a:xfrm>
            <a:off x="2505918" y="5172936"/>
            <a:ext cx="380546" cy="1008920"/>
          </a:xfrm>
          <a:prstGeom prst="rect">
            <a:avLst/>
          </a:prstGeom>
          <a:noFill/>
          <a:ln w="9525">
            <a:noFill/>
            <a:miter lim="800000"/>
            <a:headEnd/>
            <a:tailEnd/>
          </a:ln>
        </p:spPr>
      </p:pic>
      <p:cxnSp>
        <p:nvCxnSpPr>
          <p:cNvPr id="59" name="Straight Connector 58"/>
          <p:cNvCxnSpPr/>
          <p:nvPr/>
        </p:nvCxnSpPr>
        <p:spPr bwMode="auto">
          <a:xfrm>
            <a:off x="7820027" y="4493623"/>
            <a:ext cx="4368798" cy="0"/>
          </a:xfrm>
          <a:prstGeom prst="line">
            <a:avLst/>
          </a:prstGeom>
          <a:solidFill>
            <a:schemeClr val="accent1"/>
          </a:solidFill>
          <a:ln w="19050" cap="flat" cmpd="sng" algn="ctr">
            <a:solidFill>
              <a:srgbClr val="4F4F4F"/>
            </a:solidFill>
            <a:prstDash val="solid"/>
            <a:round/>
            <a:headEnd type="none" w="sm" len="sm"/>
            <a:tailEnd type="none" w="sm" len="sm"/>
          </a:ln>
          <a:effectLst/>
        </p:spPr>
      </p:cxnSp>
      <p:sp>
        <p:nvSpPr>
          <p:cNvPr id="36" name="Freeform 263"/>
          <p:cNvSpPr>
            <a:spLocks/>
          </p:cNvSpPr>
          <p:nvPr/>
        </p:nvSpPr>
        <p:spPr bwMode="auto">
          <a:xfrm rot="18932178">
            <a:off x="5770118" y="2314341"/>
            <a:ext cx="470246" cy="599499"/>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rgbClr val="FFFF00"/>
          </a:solidFill>
          <a:ln w="9525">
            <a:noFill/>
            <a:round/>
            <a:headEnd/>
            <a:tailEnd/>
          </a:ln>
        </p:spPr>
        <p:txBody>
          <a:bodyPr vert="horz" wrap="square" lIns="91428" tIns="45715" rIns="91428" bIns="45715" numCol="1" anchor="t" anchorCtr="0" compatLnSpc="1">
            <a:prstTxWarp prst="textNoShape">
              <a:avLst/>
            </a:prstTxWarp>
          </a:bodyPr>
          <a:lstStyle/>
          <a:p>
            <a:endParaRPr lang="en-US" sz="2533"/>
          </a:p>
        </p:txBody>
      </p:sp>
      <p:sp>
        <p:nvSpPr>
          <p:cNvPr id="40" name="Freeform 263"/>
          <p:cNvSpPr>
            <a:spLocks/>
          </p:cNvSpPr>
          <p:nvPr/>
        </p:nvSpPr>
        <p:spPr bwMode="auto">
          <a:xfrm rot="18932178">
            <a:off x="4025623" y="1294354"/>
            <a:ext cx="470246" cy="599499"/>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rgbClr val="FFFF00"/>
          </a:solidFill>
          <a:ln w="9525">
            <a:noFill/>
            <a:round/>
            <a:headEnd/>
            <a:tailEnd/>
          </a:ln>
        </p:spPr>
        <p:txBody>
          <a:bodyPr vert="horz" wrap="square" lIns="91428" tIns="45715" rIns="91428" bIns="45715" numCol="1" anchor="t" anchorCtr="0" compatLnSpc="1">
            <a:prstTxWarp prst="textNoShape">
              <a:avLst/>
            </a:prstTxWarp>
          </a:bodyPr>
          <a:lstStyle/>
          <a:p>
            <a:endParaRPr lang="en-US" sz="2533"/>
          </a:p>
        </p:txBody>
      </p:sp>
      <p:sp>
        <p:nvSpPr>
          <p:cNvPr id="43" name="Freeform 263"/>
          <p:cNvSpPr>
            <a:spLocks/>
          </p:cNvSpPr>
          <p:nvPr/>
        </p:nvSpPr>
        <p:spPr bwMode="auto">
          <a:xfrm rot="18932178">
            <a:off x="6112142" y="1121712"/>
            <a:ext cx="470246" cy="599499"/>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rgbClr val="FFFF00"/>
          </a:solidFill>
          <a:ln w="9525">
            <a:noFill/>
            <a:round/>
            <a:headEnd/>
            <a:tailEnd/>
          </a:ln>
        </p:spPr>
        <p:txBody>
          <a:bodyPr vert="horz" wrap="square" lIns="91428" tIns="45715" rIns="91428" bIns="45715" numCol="1" anchor="t" anchorCtr="0" compatLnSpc="1">
            <a:prstTxWarp prst="textNoShape">
              <a:avLst/>
            </a:prstTxWarp>
          </a:bodyPr>
          <a:lstStyle/>
          <a:p>
            <a:endParaRPr lang="en-US" sz="2533"/>
          </a:p>
        </p:txBody>
      </p:sp>
      <p:sp>
        <p:nvSpPr>
          <p:cNvPr id="44" name="Freeform 263"/>
          <p:cNvSpPr>
            <a:spLocks/>
          </p:cNvSpPr>
          <p:nvPr/>
        </p:nvSpPr>
        <p:spPr bwMode="auto">
          <a:xfrm rot="3600000">
            <a:off x="11278757" y="915695"/>
            <a:ext cx="470123" cy="599654"/>
          </a:xfrm>
          <a:custGeom>
            <a:avLst/>
            <a:gdLst/>
            <a:ahLst/>
            <a:cxnLst>
              <a:cxn ang="0">
                <a:pos x="269" y="4"/>
              </a:cxn>
              <a:cxn ang="0">
                <a:pos x="259" y="0"/>
              </a:cxn>
              <a:cxn ang="0">
                <a:pos x="250" y="4"/>
              </a:cxn>
              <a:cxn ang="0">
                <a:pos x="184" y="70"/>
              </a:cxn>
              <a:cxn ang="0">
                <a:pos x="180" y="80"/>
              </a:cxn>
              <a:cxn ang="0">
                <a:pos x="184" y="89"/>
              </a:cxn>
              <a:cxn ang="0">
                <a:pos x="243" y="231"/>
              </a:cxn>
              <a:cxn ang="0">
                <a:pos x="193" y="362"/>
              </a:cxn>
              <a:cxn ang="0">
                <a:pos x="148" y="316"/>
              </a:cxn>
              <a:cxn ang="0">
                <a:pos x="178" y="230"/>
              </a:cxn>
              <a:cxn ang="0">
                <a:pos x="139" y="135"/>
              </a:cxn>
              <a:cxn ang="0">
                <a:pos x="120" y="134"/>
              </a:cxn>
              <a:cxn ang="0">
                <a:pos x="54" y="195"/>
              </a:cxn>
              <a:cxn ang="0">
                <a:pos x="44" y="193"/>
              </a:cxn>
              <a:cxn ang="0">
                <a:pos x="15" y="202"/>
              </a:cxn>
              <a:cxn ang="0">
                <a:pos x="2" y="229"/>
              </a:cxn>
              <a:cxn ang="0">
                <a:pos x="37" y="271"/>
              </a:cxn>
              <a:cxn ang="0">
                <a:pos x="66" y="262"/>
              </a:cxn>
              <a:cxn ang="0">
                <a:pos x="80" y="236"/>
              </a:cxn>
              <a:cxn ang="0">
                <a:pos x="74" y="213"/>
              </a:cxn>
              <a:cxn ang="0">
                <a:pos x="128" y="163"/>
              </a:cxn>
              <a:cxn ang="0">
                <a:pos x="152" y="230"/>
              </a:cxn>
              <a:cxn ang="0">
                <a:pos x="120" y="307"/>
              </a:cxn>
              <a:cxn ang="0">
                <a:pos x="116" y="317"/>
              </a:cxn>
              <a:cxn ang="0">
                <a:pos x="120" y="326"/>
              </a:cxn>
              <a:cxn ang="0">
                <a:pos x="184" y="391"/>
              </a:cxn>
              <a:cxn ang="0">
                <a:pos x="193" y="395"/>
              </a:cxn>
              <a:cxn ang="0">
                <a:pos x="203" y="391"/>
              </a:cxn>
              <a:cxn ang="0">
                <a:pos x="269" y="231"/>
              </a:cxn>
              <a:cxn ang="0">
                <a:pos x="269" y="231"/>
              </a:cxn>
              <a:cxn ang="0">
                <a:pos x="212" y="80"/>
              </a:cxn>
              <a:cxn ang="0">
                <a:pos x="259" y="32"/>
              </a:cxn>
              <a:cxn ang="0">
                <a:pos x="336" y="230"/>
              </a:cxn>
              <a:cxn ang="0">
                <a:pos x="336" y="230"/>
              </a:cxn>
              <a:cxn ang="0">
                <a:pos x="250" y="438"/>
              </a:cxn>
              <a:cxn ang="0">
                <a:pos x="246" y="448"/>
              </a:cxn>
              <a:cxn ang="0">
                <a:pos x="250" y="457"/>
              </a:cxn>
              <a:cxn ang="0">
                <a:pos x="269" y="457"/>
              </a:cxn>
              <a:cxn ang="0">
                <a:pos x="363" y="230"/>
              </a:cxn>
              <a:cxn ang="0">
                <a:pos x="269" y="4"/>
              </a:cxn>
            </a:cxnLst>
            <a:rect l="0" t="0" r="r" b="b"/>
            <a:pathLst>
              <a:path w="363" h="462">
                <a:moveTo>
                  <a:pt x="269" y="4"/>
                </a:moveTo>
                <a:cubicBezTo>
                  <a:pt x="266" y="1"/>
                  <a:pt x="263" y="0"/>
                  <a:pt x="259" y="0"/>
                </a:cubicBezTo>
                <a:cubicBezTo>
                  <a:pt x="255" y="0"/>
                  <a:pt x="252" y="1"/>
                  <a:pt x="250" y="4"/>
                </a:cubicBezTo>
                <a:cubicBezTo>
                  <a:pt x="184" y="70"/>
                  <a:pt x="184" y="70"/>
                  <a:pt x="184" y="70"/>
                </a:cubicBezTo>
                <a:cubicBezTo>
                  <a:pt x="181" y="73"/>
                  <a:pt x="180" y="76"/>
                  <a:pt x="180" y="80"/>
                </a:cubicBezTo>
                <a:cubicBezTo>
                  <a:pt x="180" y="83"/>
                  <a:pt x="181" y="87"/>
                  <a:pt x="184" y="89"/>
                </a:cubicBezTo>
                <a:cubicBezTo>
                  <a:pt x="222" y="127"/>
                  <a:pt x="243" y="177"/>
                  <a:pt x="243" y="231"/>
                </a:cubicBezTo>
                <a:cubicBezTo>
                  <a:pt x="243" y="280"/>
                  <a:pt x="225" y="326"/>
                  <a:pt x="193" y="362"/>
                </a:cubicBezTo>
                <a:cubicBezTo>
                  <a:pt x="181" y="350"/>
                  <a:pt x="158" y="327"/>
                  <a:pt x="148" y="316"/>
                </a:cubicBezTo>
                <a:cubicBezTo>
                  <a:pt x="168" y="291"/>
                  <a:pt x="178" y="261"/>
                  <a:pt x="178" y="230"/>
                </a:cubicBezTo>
                <a:cubicBezTo>
                  <a:pt x="178" y="196"/>
                  <a:pt x="165" y="161"/>
                  <a:pt x="139" y="135"/>
                </a:cubicBezTo>
                <a:cubicBezTo>
                  <a:pt x="134" y="130"/>
                  <a:pt x="126" y="129"/>
                  <a:pt x="120" y="134"/>
                </a:cubicBezTo>
                <a:cubicBezTo>
                  <a:pt x="54" y="195"/>
                  <a:pt x="54" y="195"/>
                  <a:pt x="54" y="195"/>
                </a:cubicBezTo>
                <a:cubicBezTo>
                  <a:pt x="51" y="194"/>
                  <a:pt x="48" y="193"/>
                  <a:pt x="44" y="193"/>
                </a:cubicBezTo>
                <a:cubicBezTo>
                  <a:pt x="33" y="193"/>
                  <a:pt x="24" y="195"/>
                  <a:pt x="15" y="202"/>
                </a:cubicBezTo>
                <a:cubicBezTo>
                  <a:pt x="8" y="209"/>
                  <a:pt x="3" y="218"/>
                  <a:pt x="2" y="229"/>
                </a:cubicBezTo>
                <a:cubicBezTo>
                  <a:pt x="0" y="248"/>
                  <a:pt x="16" y="271"/>
                  <a:pt x="37" y="271"/>
                </a:cubicBezTo>
                <a:cubicBezTo>
                  <a:pt x="48" y="271"/>
                  <a:pt x="57" y="269"/>
                  <a:pt x="66" y="262"/>
                </a:cubicBezTo>
                <a:cubicBezTo>
                  <a:pt x="74" y="256"/>
                  <a:pt x="79" y="246"/>
                  <a:pt x="80" y="236"/>
                </a:cubicBezTo>
                <a:cubicBezTo>
                  <a:pt x="80" y="228"/>
                  <a:pt x="78" y="220"/>
                  <a:pt x="74" y="213"/>
                </a:cubicBezTo>
                <a:cubicBezTo>
                  <a:pt x="84" y="203"/>
                  <a:pt x="116" y="174"/>
                  <a:pt x="128" y="163"/>
                </a:cubicBezTo>
                <a:cubicBezTo>
                  <a:pt x="144" y="183"/>
                  <a:pt x="152" y="207"/>
                  <a:pt x="152" y="230"/>
                </a:cubicBezTo>
                <a:cubicBezTo>
                  <a:pt x="152" y="258"/>
                  <a:pt x="141" y="286"/>
                  <a:pt x="120" y="307"/>
                </a:cubicBezTo>
                <a:cubicBezTo>
                  <a:pt x="117" y="310"/>
                  <a:pt x="116" y="313"/>
                  <a:pt x="116" y="317"/>
                </a:cubicBezTo>
                <a:cubicBezTo>
                  <a:pt x="116" y="320"/>
                  <a:pt x="117" y="323"/>
                  <a:pt x="120" y="326"/>
                </a:cubicBezTo>
                <a:cubicBezTo>
                  <a:pt x="184" y="391"/>
                  <a:pt x="184" y="391"/>
                  <a:pt x="184" y="391"/>
                </a:cubicBezTo>
                <a:cubicBezTo>
                  <a:pt x="186" y="394"/>
                  <a:pt x="190" y="395"/>
                  <a:pt x="193" y="395"/>
                </a:cubicBezTo>
                <a:cubicBezTo>
                  <a:pt x="197" y="395"/>
                  <a:pt x="200" y="394"/>
                  <a:pt x="203" y="391"/>
                </a:cubicBezTo>
                <a:cubicBezTo>
                  <a:pt x="246" y="348"/>
                  <a:pt x="269" y="291"/>
                  <a:pt x="269" y="231"/>
                </a:cubicBezTo>
                <a:cubicBezTo>
                  <a:pt x="269" y="231"/>
                  <a:pt x="269" y="231"/>
                  <a:pt x="269" y="231"/>
                </a:cubicBezTo>
                <a:cubicBezTo>
                  <a:pt x="269" y="175"/>
                  <a:pt x="249" y="122"/>
                  <a:pt x="212" y="80"/>
                </a:cubicBezTo>
                <a:cubicBezTo>
                  <a:pt x="223" y="69"/>
                  <a:pt x="247" y="44"/>
                  <a:pt x="259" y="32"/>
                </a:cubicBezTo>
                <a:cubicBezTo>
                  <a:pt x="309" y="86"/>
                  <a:pt x="336" y="156"/>
                  <a:pt x="336" y="230"/>
                </a:cubicBezTo>
                <a:cubicBezTo>
                  <a:pt x="336" y="230"/>
                  <a:pt x="336" y="230"/>
                  <a:pt x="336" y="230"/>
                </a:cubicBezTo>
                <a:cubicBezTo>
                  <a:pt x="336" y="309"/>
                  <a:pt x="305" y="383"/>
                  <a:pt x="250" y="438"/>
                </a:cubicBezTo>
                <a:cubicBezTo>
                  <a:pt x="247" y="441"/>
                  <a:pt x="246" y="444"/>
                  <a:pt x="246" y="448"/>
                </a:cubicBezTo>
                <a:cubicBezTo>
                  <a:pt x="246" y="451"/>
                  <a:pt x="247" y="454"/>
                  <a:pt x="250" y="457"/>
                </a:cubicBezTo>
                <a:cubicBezTo>
                  <a:pt x="255" y="462"/>
                  <a:pt x="263" y="462"/>
                  <a:pt x="269" y="457"/>
                </a:cubicBezTo>
                <a:cubicBezTo>
                  <a:pt x="329" y="396"/>
                  <a:pt x="363" y="316"/>
                  <a:pt x="363" y="230"/>
                </a:cubicBezTo>
                <a:cubicBezTo>
                  <a:pt x="363" y="145"/>
                  <a:pt x="329" y="64"/>
                  <a:pt x="269" y="4"/>
                </a:cubicBezTo>
                <a:close/>
              </a:path>
            </a:pathLst>
          </a:custGeom>
          <a:solidFill>
            <a:srgbClr val="009530"/>
          </a:solidFill>
          <a:ln w="9525">
            <a:noFill/>
            <a:round/>
            <a:headEnd/>
            <a:tailEnd/>
          </a:ln>
        </p:spPr>
        <p:txBody>
          <a:bodyPr vert="horz" wrap="square" lIns="91428" tIns="45715" rIns="91428" bIns="45715" numCol="1" anchor="t" anchorCtr="0" compatLnSpc="1">
            <a:prstTxWarp prst="textNoShape">
              <a:avLst/>
            </a:prstTxWarp>
          </a:bodyPr>
          <a:lstStyle/>
          <a:p>
            <a:endParaRPr lang="en-US" sz="2533" dirty="0">
              <a:solidFill>
                <a:srgbClr val="009530"/>
              </a:solidFill>
            </a:endParaRPr>
          </a:p>
        </p:txBody>
      </p:sp>
    </p:spTree>
    <p:extLst>
      <p:ext uri="{BB962C8B-B14F-4D97-AF65-F5344CB8AC3E}">
        <p14:creationId xmlns:p14="http://schemas.microsoft.com/office/powerpoint/2010/main" val="106678423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4"/>
                                        </p:tgtEl>
                                        <p:attrNameLst>
                                          <p:attrName>style.visibility</p:attrName>
                                        </p:attrNameLst>
                                      </p:cBhvr>
                                      <p:to>
                                        <p:strVal val="visible"/>
                                      </p:to>
                                    </p:set>
                                    <p:animEffect transition="in" filter="fade">
                                      <p:cBhvr>
                                        <p:cTn id="1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0" grpId="0" animBg="1"/>
      <p:bldP spid="43" grpId="0" animBg="1"/>
      <p:bldP spid="4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4948" y="1283852"/>
            <a:ext cx="12185654" cy="5573255"/>
          </a:xfrm>
          <a:prstGeom prst="rect">
            <a:avLst/>
          </a:prstGeom>
        </p:spPr>
      </p:pic>
      <p:sp>
        <p:nvSpPr>
          <p:cNvPr id="35" name="Rectangle 34"/>
          <p:cNvSpPr/>
          <p:nvPr/>
        </p:nvSpPr>
        <p:spPr>
          <a:xfrm>
            <a:off x="-46648" y="1297311"/>
            <a:ext cx="12185651" cy="5559797"/>
          </a:xfrm>
          <a:prstGeom prst="rect">
            <a:avLst/>
          </a:prstGeom>
          <a:solidFill>
            <a:srgbClr val="000000">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386">
              <a:defRPr/>
            </a:pPr>
            <a:endParaRPr lang="en-US" sz="2399" kern="0">
              <a:solidFill>
                <a:prstClr val="white"/>
              </a:solidFill>
              <a:latin typeface="Arial"/>
            </a:endParaRPr>
          </a:p>
        </p:txBody>
      </p:sp>
      <p:sp>
        <p:nvSpPr>
          <p:cNvPr id="30" name="Rectangle 29"/>
          <p:cNvSpPr/>
          <p:nvPr/>
        </p:nvSpPr>
        <p:spPr>
          <a:xfrm>
            <a:off x="-1" y="896"/>
            <a:ext cx="12188825" cy="1296416"/>
          </a:xfrm>
          <a:prstGeom prst="rect">
            <a:avLst/>
          </a:prstGeom>
          <a:solidFill>
            <a:srgbClr val="3DCD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386">
              <a:defRPr/>
            </a:pPr>
            <a:endParaRPr lang="en-US" sz="2399" kern="0">
              <a:solidFill>
                <a:prstClr val="white"/>
              </a:solidFill>
              <a:latin typeface="Arial"/>
            </a:endParaRPr>
          </a:p>
        </p:txBody>
      </p:sp>
      <p:cxnSp>
        <p:nvCxnSpPr>
          <p:cNvPr id="37" name="Straight Connector 36"/>
          <p:cNvCxnSpPr/>
          <p:nvPr/>
        </p:nvCxnSpPr>
        <p:spPr>
          <a:xfrm>
            <a:off x="5414267" y="281168"/>
            <a:ext cx="0" cy="7560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5513759" y="371219"/>
            <a:ext cx="6675068" cy="502573"/>
          </a:xfrm>
          <a:prstGeom prst="rect">
            <a:avLst/>
          </a:prstGeom>
          <a:noFill/>
        </p:spPr>
        <p:txBody>
          <a:bodyPr wrap="square" rtlCol="0">
            <a:spAutoFit/>
          </a:bodyPr>
          <a:lstStyle/>
          <a:p>
            <a:pPr defTabSz="609386">
              <a:defRPr/>
            </a:pPr>
            <a:r>
              <a:rPr lang="en-US" sz="2666" b="1" kern="0" dirty="0" err="1">
                <a:solidFill>
                  <a:srgbClr val="000000"/>
                </a:solidFill>
                <a:latin typeface="Arial"/>
              </a:rPr>
              <a:t>Propunere</a:t>
            </a:r>
            <a:r>
              <a:rPr lang="en-US" sz="2666" b="1" kern="0" dirty="0">
                <a:solidFill>
                  <a:srgbClr val="000000"/>
                </a:solidFill>
                <a:latin typeface="Arial"/>
              </a:rPr>
              <a:t> de </a:t>
            </a:r>
            <a:r>
              <a:rPr lang="en-US" sz="2666" b="1" kern="0" dirty="0" err="1">
                <a:solidFill>
                  <a:srgbClr val="000000"/>
                </a:solidFill>
                <a:latin typeface="Arial"/>
              </a:rPr>
              <a:t>valoare</a:t>
            </a:r>
            <a:endParaRPr lang="en-US" sz="2666" b="1" kern="0" dirty="0">
              <a:solidFill>
                <a:srgbClr val="000000"/>
              </a:solidFill>
              <a:latin typeface="Arial"/>
            </a:endParaRPr>
          </a:p>
        </p:txBody>
      </p:sp>
      <p:sp>
        <p:nvSpPr>
          <p:cNvPr id="54" name="TextBox 69"/>
          <p:cNvSpPr txBox="1"/>
          <p:nvPr/>
        </p:nvSpPr>
        <p:spPr>
          <a:xfrm rot="16200000">
            <a:off x="-641616" y="2264536"/>
            <a:ext cx="1594661" cy="21544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09433">
              <a:defRPr/>
            </a:pPr>
            <a:r>
              <a:rPr lang="en-US" sz="800" b="1" i="1" dirty="0">
                <a:solidFill>
                  <a:prstClr val="white"/>
                </a:solidFill>
                <a:latin typeface="Arial"/>
              </a:rPr>
              <a:t>OUR VALUE</a:t>
            </a:r>
          </a:p>
        </p:txBody>
      </p:sp>
      <p:sp>
        <p:nvSpPr>
          <p:cNvPr id="55" name="TextBox 69"/>
          <p:cNvSpPr txBox="1"/>
          <p:nvPr/>
        </p:nvSpPr>
        <p:spPr>
          <a:xfrm rot="16200000">
            <a:off x="-903726" y="5163411"/>
            <a:ext cx="2182926" cy="21544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09433">
              <a:defRPr/>
            </a:pPr>
            <a:r>
              <a:rPr lang="en-US" sz="800" b="1" i="1" dirty="0">
                <a:solidFill>
                  <a:prstClr val="white"/>
                </a:solidFill>
                <a:latin typeface="Arial"/>
              </a:rPr>
              <a:t>PERSONAS</a:t>
            </a:r>
          </a:p>
        </p:txBody>
      </p:sp>
      <p:pic>
        <p:nvPicPr>
          <p:cNvPr id="58" name="Picture 57" descr="schneider_LIO_Life-Green_RGB.png"/>
          <p:cNvPicPr>
            <a:picLocks noChangeAspect="1"/>
          </p:cNvPicPr>
          <p:nvPr/>
        </p:nvPicPr>
        <p:blipFill>
          <a:blip r:embed="rId4" cstate="print">
            <a:biLevel thresh="25000"/>
          </a:blip>
          <a:stretch>
            <a:fillRect/>
          </a:stretch>
        </p:blipFill>
        <p:spPr>
          <a:xfrm>
            <a:off x="9468905" y="6182660"/>
            <a:ext cx="2721688" cy="750409"/>
          </a:xfrm>
          <a:prstGeom prst="rect">
            <a:avLst/>
          </a:prstGeom>
        </p:spPr>
      </p:pic>
      <p:pic>
        <p:nvPicPr>
          <p:cNvPr id="41" name="Picture 26"/>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78795" y="285816"/>
            <a:ext cx="4959919" cy="815958"/>
          </a:xfrm>
          <a:prstGeom prst="rect">
            <a:avLst/>
          </a:prstGeom>
        </p:spPr>
      </p:pic>
      <p:sp>
        <p:nvSpPr>
          <p:cNvPr id="29" name="Slide Number Placeholder 5"/>
          <p:cNvSpPr txBox="1">
            <a:spLocks/>
          </p:cNvSpPr>
          <p:nvPr/>
        </p:nvSpPr>
        <p:spPr>
          <a:xfrm>
            <a:off x="2306408" y="6673983"/>
            <a:ext cx="700737" cy="123111"/>
          </a:xfrm>
          <a:prstGeom prst="rect">
            <a:avLst/>
          </a:prstGeom>
        </p:spPr>
        <p:txBody>
          <a:bodyPr vert="horz" lIns="0" tIns="0" rIns="0" bIns="0" rtlCol="0" anchor="ctr">
            <a:spAutoFit/>
          </a:bodyPr>
          <a:lstStyle>
            <a:defPPr>
              <a:defRPr lang="en-US"/>
            </a:defPPr>
            <a:lvl1pPr marL="0" algn="l" defTabSz="457145" rtl="0" eaLnBrk="1" latinLnBrk="0" hangingPunct="1">
              <a:defRPr sz="600" kern="1200">
                <a:solidFill>
                  <a:schemeClr val="bg2"/>
                </a:solidFill>
                <a:latin typeface="Arial"/>
                <a:ea typeface="+mn-ea"/>
                <a:cs typeface="Arial"/>
              </a:defRPr>
            </a:lvl1pPr>
            <a:lvl2pPr marL="457145" algn="l" defTabSz="457145" rtl="0" eaLnBrk="1" latinLnBrk="0" hangingPunct="1">
              <a:defRPr sz="1800" kern="1200">
                <a:solidFill>
                  <a:schemeClr val="tx1"/>
                </a:solidFill>
                <a:latin typeface="+mn-lt"/>
                <a:ea typeface="+mn-ea"/>
                <a:cs typeface="+mn-cs"/>
              </a:defRPr>
            </a:lvl2pPr>
            <a:lvl3pPr marL="914294" algn="l" defTabSz="457145" rtl="0" eaLnBrk="1" latinLnBrk="0" hangingPunct="1">
              <a:defRPr sz="1800" kern="1200">
                <a:solidFill>
                  <a:schemeClr val="tx1"/>
                </a:solidFill>
                <a:latin typeface="+mn-lt"/>
                <a:ea typeface="+mn-ea"/>
                <a:cs typeface="+mn-cs"/>
              </a:defRPr>
            </a:lvl3pPr>
            <a:lvl4pPr marL="1371441" algn="l" defTabSz="457145" rtl="0" eaLnBrk="1" latinLnBrk="0" hangingPunct="1">
              <a:defRPr sz="1800" kern="1200">
                <a:solidFill>
                  <a:schemeClr val="tx1"/>
                </a:solidFill>
                <a:latin typeface="+mn-lt"/>
                <a:ea typeface="+mn-ea"/>
                <a:cs typeface="+mn-cs"/>
              </a:defRPr>
            </a:lvl4pPr>
            <a:lvl5pPr marL="1828589" algn="l" defTabSz="457145" rtl="0" eaLnBrk="1" latinLnBrk="0" hangingPunct="1">
              <a:defRPr sz="1800" kern="1200">
                <a:solidFill>
                  <a:schemeClr val="tx1"/>
                </a:solidFill>
                <a:latin typeface="+mn-lt"/>
                <a:ea typeface="+mn-ea"/>
                <a:cs typeface="+mn-cs"/>
              </a:defRPr>
            </a:lvl5pPr>
            <a:lvl6pPr marL="2285734" algn="l" defTabSz="457145" rtl="0" eaLnBrk="1" latinLnBrk="0" hangingPunct="1">
              <a:defRPr sz="1800" kern="1200">
                <a:solidFill>
                  <a:schemeClr val="tx1"/>
                </a:solidFill>
                <a:latin typeface="+mn-lt"/>
                <a:ea typeface="+mn-ea"/>
                <a:cs typeface="+mn-cs"/>
              </a:defRPr>
            </a:lvl6pPr>
            <a:lvl7pPr marL="2742881" algn="l" defTabSz="457145" rtl="0" eaLnBrk="1" latinLnBrk="0" hangingPunct="1">
              <a:defRPr sz="1800" kern="1200">
                <a:solidFill>
                  <a:schemeClr val="tx1"/>
                </a:solidFill>
                <a:latin typeface="+mn-lt"/>
                <a:ea typeface="+mn-ea"/>
                <a:cs typeface="+mn-cs"/>
              </a:defRPr>
            </a:lvl7pPr>
            <a:lvl8pPr marL="3200026" algn="l" defTabSz="457145" rtl="0" eaLnBrk="1" latinLnBrk="0" hangingPunct="1">
              <a:defRPr sz="1800" kern="1200">
                <a:solidFill>
                  <a:schemeClr val="tx1"/>
                </a:solidFill>
                <a:latin typeface="+mn-lt"/>
                <a:ea typeface="+mn-ea"/>
                <a:cs typeface="+mn-cs"/>
              </a:defRPr>
            </a:lvl8pPr>
            <a:lvl9pPr marL="3657173" algn="l" defTabSz="457145" rtl="0" eaLnBrk="1" latinLnBrk="0" hangingPunct="1">
              <a:defRPr sz="1800" kern="1200">
                <a:solidFill>
                  <a:schemeClr val="tx1"/>
                </a:solidFill>
                <a:latin typeface="+mn-lt"/>
                <a:ea typeface="+mn-ea"/>
                <a:cs typeface="+mn-cs"/>
              </a:defRPr>
            </a:lvl9pPr>
          </a:lstStyle>
          <a:p>
            <a:pPr defTabSz="609342">
              <a:defRPr/>
            </a:pPr>
            <a:r>
              <a:rPr lang="en-US" sz="800" dirty="0">
                <a:solidFill>
                  <a:srgbClr val="3DCD58"/>
                </a:solidFill>
              </a:rPr>
              <a:t>Page </a:t>
            </a:r>
            <a:fld id="{5A9C12DC-491F-9444-86A2-13AC5C62A2FC}" type="slidenum">
              <a:rPr lang="en-US" sz="800">
                <a:solidFill>
                  <a:srgbClr val="3DCD58"/>
                </a:solidFill>
              </a:rPr>
              <a:pPr defTabSz="609342">
                <a:defRPr/>
              </a:pPr>
              <a:t>13</a:t>
            </a:fld>
            <a:endParaRPr lang="en-US" sz="800" dirty="0">
              <a:solidFill>
                <a:srgbClr val="3DCD58"/>
              </a:solidFill>
            </a:endParaRPr>
          </a:p>
        </p:txBody>
      </p:sp>
      <p:sp>
        <p:nvSpPr>
          <p:cNvPr id="32" name="Footer Placeholder 4"/>
          <p:cNvSpPr txBox="1">
            <a:spLocks/>
          </p:cNvSpPr>
          <p:nvPr/>
        </p:nvSpPr>
        <p:spPr>
          <a:xfrm>
            <a:off x="312967" y="6673983"/>
            <a:ext cx="2012498" cy="123111"/>
          </a:xfrm>
          <a:prstGeom prst="rect">
            <a:avLst/>
          </a:prstGeom>
        </p:spPr>
        <p:txBody>
          <a:bodyPr vert="horz" wrap="square" lIns="0" tIns="0" rIns="0" bIns="0" rtlCol="0" anchor="ctr">
            <a:spAutoFit/>
          </a:bodyPr>
          <a:lstStyle>
            <a:defPPr>
              <a:defRPr lang="en-US"/>
            </a:defPPr>
            <a:lvl1pPr marL="0" algn="l" defTabSz="457145" rtl="0" eaLnBrk="1" latinLnBrk="0" hangingPunct="1">
              <a:defRPr sz="600" kern="1200">
                <a:solidFill>
                  <a:schemeClr val="accent1"/>
                </a:solidFill>
                <a:latin typeface="Arial"/>
                <a:ea typeface="+mn-ea"/>
                <a:cs typeface="Arial"/>
              </a:defRPr>
            </a:lvl1pPr>
            <a:lvl2pPr marL="457145" algn="l" defTabSz="457145" rtl="0" eaLnBrk="1" latinLnBrk="0" hangingPunct="1">
              <a:defRPr sz="1800" kern="1200">
                <a:solidFill>
                  <a:schemeClr val="tx1"/>
                </a:solidFill>
                <a:latin typeface="+mn-lt"/>
                <a:ea typeface="+mn-ea"/>
                <a:cs typeface="+mn-cs"/>
              </a:defRPr>
            </a:lvl2pPr>
            <a:lvl3pPr marL="914294" algn="l" defTabSz="457145" rtl="0" eaLnBrk="1" latinLnBrk="0" hangingPunct="1">
              <a:defRPr sz="1800" kern="1200">
                <a:solidFill>
                  <a:schemeClr val="tx1"/>
                </a:solidFill>
                <a:latin typeface="+mn-lt"/>
                <a:ea typeface="+mn-ea"/>
                <a:cs typeface="+mn-cs"/>
              </a:defRPr>
            </a:lvl3pPr>
            <a:lvl4pPr marL="1371441" algn="l" defTabSz="457145" rtl="0" eaLnBrk="1" latinLnBrk="0" hangingPunct="1">
              <a:defRPr sz="1800" kern="1200">
                <a:solidFill>
                  <a:schemeClr val="tx1"/>
                </a:solidFill>
                <a:latin typeface="+mn-lt"/>
                <a:ea typeface="+mn-ea"/>
                <a:cs typeface="+mn-cs"/>
              </a:defRPr>
            </a:lvl4pPr>
            <a:lvl5pPr marL="1828589" algn="l" defTabSz="457145" rtl="0" eaLnBrk="1" latinLnBrk="0" hangingPunct="1">
              <a:defRPr sz="1800" kern="1200">
                <a:solidFill>
                  <a:schemeClr val="tx1"/>
                </a:solidFill>
                <a:latin typeface="+mn-lt"/>
                <a:ea typeface="+mn-ea"/>
                <a:cs typeface="+mn-cs"/>
              </a:defRPr>
            </a:lvl5pPr>
            <a:lvl6pPr marL="2285734" algn="l" defTabSz="457145" rtl="0" eaLnBrk="1" latinLnBrk="0" hangingPunct="1">
              <a:defRPr sz="1800" kern="1200">
                <a:solidFill>
                  <a:schemeClr val="tx1"/>
                </a:solidFill>
                <a:latin typeface="+mn-lt"/>
                <a:ea typeface="+mn-ea"/>
                <a:cs typeface="+mn-cs"/>
              </a:defRPr>
            </a:lvl6pPr>
            <a:lvl7pPr marL="2742881" algn="l" defTabSz="457145" rtl="0" eaLnBrk="1" latinLnBrk="0" hangingPunct="1">
              <a:defRPr sz="1800" kern="1200">
                <a:solidFill>
                  <a:schemeClr val="tx1"/>
                </a:solidFill>
                <a:latin typeface="+mn-lt"/>
                <a:ea typeface="+mn-ea"/>
                <a:cs typeface="+mn-cs"/>
              </a:defRPr>
            </a:lvl7pPr>
            <a:lvl8pPr marL="3200026" algn="l" defTabSz="457145" rtl="0" eaLnBrk="1" latinLnBrk="0" hangingPunct="1">
              <a:defRPr sz="1800" kern="1200">
                <a:solidFill>
                  <a:schemeClr val="tx1"/>
                </a:solidFill>
                <a:latin typeface="+mn-lt"/>
                <a:ea typeface="+mn-ea"/>
                <a:cs typeface="+mn-cs"/>
              </a:defRPr>
            </a:lvl8pPr>
            <a:lvl9pPr marL="3657173" algn="l" defTabSz="457145" rtl="0" eaLnBrk="1" latinLnBrk="0" hangingPunct="1">
              <a:defRPr sz="1800" kern="1200">
                <a:solidFill>
                  <a:schemeClr val="tx1"/>
                </a:solidFill>
                <a:latin typeface="+mn-lt"/>
                <a:ea typeface="+mn-ea"/>
                <a:cs typeface="+mn-cs"/>
              </a:defRPr>
            </a:lvl9pPr>
          </a:lstStyle>
          <a:p>
            <a:pPr defTabSz="609342">
              <a:defRPr/>
            </a:pPr>
            <a:r>
              <a:rPr lang="en-US" sz="800" dirty="0">
                <a:solidFill>
                  <a:srgbClr val="626469"/>
                </a:solidFill>
              </a:rPr>
              <a:t>Confidential Property of Schneider Electric |</a:t>
            </a:r>
          </a:p>
        </p:txBody>
      </p:sp>
      <p:sp>
        <p:nvSpPr>
          <p:cNvPr id="42" name="Rounded Rectangle 29"/>
          <p:cNvSpPr/>
          <p:nvPr/>
        </p:nvSpPr>
        <p:spPr>
          <a:xfrm>
            <a:off x="278795" y="1358387"/>
            <a:ext cx="2803430" cy="1584134"/>
          </a:xfrm>
          <a:prstGeom prst="roundRect">
            <a:avLst>
              <a:gd name="adj" fmla="val 3515"/>
            </a:avLst>
          </a:prstGeom>
          <a:solidFill>
            <a:srgbClr val="3DCD58"/>
          </a:solidFill>
          <a:ln>
            <a:solidFill>
              <a:srgbClr val="3DCD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166">
              <a:defRPr/>
            </a:pPr>
            <a:endParaRPr lang="en-US" sz="2533" b="1" kern="0" dirty="0">
              <a:solidFill>
                <a:prstClr val="white"/>
              </a:solidFill>
              <a:latin typeface="Arial Rounded MT Std" charset="0"/>
              <a:ea typeface="Arial Rounded MT Std" charset="0"/>
              <a:cs typeface="Arial Rounded MT Std" charset="0"/>
            </a:endParaRPr>
          </a:p>
        </p:txBody>
      </p:sp>
      <p:sp>
        <p:nvSpPr>
          <p:cNvPr id="63" name="TextBox 62"/>
          <p:cNvSpPr txBox="1"/>
          <p:nvPr/>
        </p:nvSpPr>
        <p:spPr>
          <a:xfrm>
            <a:off x="-279996" y="2214358"/>
            <a:ext cx="3836742" cy="420564"/>
          </a:xfrm>
          <a:prstGeom prst="rect">
            <a:avLst/>
          </a:prstGeom>
          <a:noFill/>
        </p:spPr>
        <p:txBody>
          <a:bodyPr wrap="square" rtlCol="0">
            <a:spAutoFit/>
          </a:bodyPr>
          <a:lstStyle/>
          <a:p>
            <a:pPr algn="ctr" defTabSz="609386">
              <a:defRPr/>
            </a:pPr>
            <a:r>
              <a:rPr lang="en-US" sz="2133" b="1" kern="0" dirty="0" err="1">
                <a:solidFill>
                  <a:srgbClr val="000000"/>
                </a:solidFill>
                <a:latin typeface="Arial"/>
                <a:ea typeface="Times New Roman" panose="02020603050405020304" pitchFamily="18" charset="0"/>
                <a:cs typeface="Times New Roman" panose="02020603050405020304" pitchFamily="18" charset="0"/>
              </a:rPr>
              <a:t>Siguranta</a:t>
            </a:r>
            <a:endParaRPr lang="en-US" sz="2133" b="1" kern="0" dirty="0">
              <a:solidFill>
                <a:srgbClr val="000000"/>
              </a:solidFill>
              <a:latin typeface="Arial"/>
              <a:ea typeface="Times New Roman" panose="02020603050405020304" pitchFamily="18" charset="0"/>
              <a:cs typeface="Times New Roman" panose="02020603050405020304" pitchFamily="18" charset="0"/>
            </a:endParaRPr>
          </a:p>
        </p:txBody>
      </p:sp>
      <p:sp>
        <p:nvSpPr>
          <p:cNvPr id="64" name="Freeform 284"/>
          <p:cNvSpPr>
            <a:spLocks/>
          </p:cNvSpPr>
          <p:nvPr/>
        </p:nvSpPr>
        <p:spPr bwMode="auto">
          <a:xfrm>
            <a:off x="1362523" y="1627468"/>
            <a:ext cx="510971" cy="582182"/>
          </a:xfrm>
          <a:custGeom>
            <a:avLst/>
            <a:gdLst/>
            <a:ahLst/>
            <a:cxnLst>
              <a:cxn ang="0">
                <a:pos x="8" y="68"/>
              </a:cxn>
              <a:cxn ang="0">
                <a:pos x="0" y="106"/>
              </a:cxn>
              <a:cxn ang="0">
                <a:pos x="57" y="222"/>
              </a:cxn>
              <a:cxn ang="0">
                <a:pos x="67" y="229"/>
              </a:cxn>
              <a:cxn ang="0">
                <a:pos x="67" y="229"/>
              </a:cxn>
              <a:cxn ang="0">
                <a:pos x="67" y="229"/>
              </a:cxn>
              <a:cxn ang="0">
                <a:pos x="85" y="223"/>
              </a:cxn>
              <a:cxn ang="0">
                <a:pos x="80" y="205"/>
              </a:cxn>
              <a:cxn ang="0">
                <a:pos x="59" y="163"/>
              </a:cxn>
              <a:cxn ang="0">
                <a:pos x="73" y="153"/>
              </a:cxn>
              <a:cxn ang="0">
                <a:pos x="89" y="143"/>
              </a:cxn>
              <a:cxn ang="0">
                <a:pos x="79" y="127"/>
              </a:cxn>
              <a:cxn ang="0">
                <a:pos x="35" y="151"/>
              </a:cxn>
              <a:cxn ang="0">
                <a:pos x="26" y="106"/>
              </a:cxn>
              <a:cxn ang="0">
                <a:pos x="31" y="80"/>
              </a:cxn>
              <a:cxn ang="0">
                <a:pos x="155" y="27"/>
              </a:cxn>
              <a:cxn ang="0">
                <a:pos x="241" y="85"/>
              </a:cxn>
              <a:cxn ang="0">
                <a:pos x="243" y="102"/>
              </a:cxn>
              <a:cxn ang="0">
                <a:pos x="234" y="131"/>
              </a:cxn>
              <a:cxn ang="0">
                <a:pos x="230" y="140"/>
              </a:cxn>
              <a:cxn ang="0">
                <a:pos x="246" y="184"/>
              </a:cxn>
              <a:cxn ang="0">
                <a:pos x="247" y="190"/>
              </a:cxn>
              <a:cxn ang="0">
                <a:pos x="239" y="197"/>
              </a:cxn>
              <a:cxn ang="0">
                <a:pos x="230" y="203"/>
              </a:cxn>
              <a:cxn ang="0">
                <a:pos x="226" y="218"/>
              </a:cxn>
              <a:cxn ang="0">
                <a:pos x="228" y="231"/>
              </a:cxn>
              <a:cxn ang="0">
                <a:pos x="224" y="242"/>
              </a:cxn>
              <a:cxn ang="0">
                <a:pos x="224" y="244"/>
              </a:cxn>
              <a:cxn ang="0">
                <a:pos x="227" y="255"/>
              </a:cxn>
              <a:cxn ang="0">
                <a:pos x="219" y="273"/>
              </a:cxn>
              <a:cxn ang="0">
                <a:pos x="197" y="286"/>
              </a:cxn>
              <a:cxn ang="0">
                <a:pos x="150" y="294"/>
              </a:cxn>
              <a:cxn ang="0">
                <a:pos x="131" y="336"/>
              </a:cxn>
              <a:cxn ang="0">
                <a:pos x="40" y="292"/>
              </a:cxn>
              <a:cxn ang="0">
                <a:pos x="22" y="298"/>
              </a:cxn>
              <a:cxn ang="0">
                <a:pos x="28" y="315"/>
              </a:cxn>
              <a:cxn ang="0">
                <a:pos x="135" y="367"/>
              </a:cxn>
              <a:cxn ang="0">
                <a:pos x="147" y="367"/>
              </a:cxn>
              <a:cxn ang="0">
                <a:pos x="154" y="357"/>
              </a:cxn>
              <a:cxn ang="0">
                <a:pos x="165" y="316"/>
              </a:cxn>
              <a:cxn ang="0">
                <a:pos x="197" y="313"/>
              </a:cxn>
              <a:cxn ang="0">
                <a:pos x="244" y="283"/>
              </a:cxn>
              <a:cxn ang="0">
                <a:pos x="246" y="278"/>
              </a:cxn>
              <a:cxn ang="0">
                <a:pos x="254" y="252"/>
              </a:cxn>
              <a:cxn ang="0">
                <a:pos x="251" y="244"/>
              </a:cxn>
              <a:cxn ang="0">
                <a:pos x="255" y="235"/>
              </a:cxn>
              <a:cxn ang="0">
                <a:pos x="255" y="232"/>
              </a:cxn>
              <a:cxn ang="0">
                <a:pos x="253" y="219"/>
              </a:cxn>
              <a:cxn ang="0">
                <a:pos x="274" y="199"/>
              </a:cxn>
              <a:cxn ang="0">
                <a:pos x="276" y="189"/>
              </a:cxn>
              <a:cxn ang="0">
                <a:pos x="275" y="183"/>
              </a:cxn>
              <a:cxn ang="0">
                <a:pos x="271" y="174"/>
              </a:cxn>
              <a:cxn ang="0">
                <a:pos x="257" y="143"/>
              </a:cxn>
              <a:cxn ang="0">
                <a:pos x="269" y="102"/>
              </a:cxn>
              <a:cxn ang="0">
                <a:pos x="267" y="80"/>
              </a:cxn>
              <a:cxn ang="0">
                <a:pos x="155" y="0"/>
              </a:cxn>
              <a:cxn ang="0">
                <a:pos x="8" y="68"/>
              </a:cxn>
            </a:cxnLst>
            <a:rect l="0" t="0" r="r" b="b"/>
            <a:pathLst>
              <a:path w="276" h="369">
                <a:moveTo>
                  <a:pt x="8" y="68"/>
                </a:moveTo>
                <a:cubicBezTo>
                  <a:pt x="3" y="77"/>
                  <a:pt x="0" y="90"/>
                  <a:pt x="0" y="106"/>
                </a:cubicBezTo>
                <a:cubicBezTo>
                  <a:pt x="0" y="145"/>
                  <a:pt x="17" y="196"/>
                  <a:pt x="57" y="222"/>
                </a:cubicBezTo>
                <a:cubicBezTo>
                  <a:pt x="60" y="225"/>
                  <a:pt x="63" y="227"/>
                  <a:pt x="67" y="229"/>
                </a:cubicBezTo>
                <a:cubicBezTo>
                  <a:pt x="67" y="229"/>
                  <a:pt x="67" y="229"/>
                  <a:pt x="67" y="229"/>
                </a:cubicBezTo>
                <a:cubicBezTo>
                  <a:pt x="67" y="229"/>
                  <a:pt x="67" y="229"/>
                  <a:pt x="67" y="229"/>
                </a:cubicBezTo>
                <a:cubicBezTo>
                  <a:pt x="74" y="232"/>
                  <a:pt x="82" y="230"/>
                  <a:pt x="85" y="223"/>
                </a:cubicBezTo>
                <a:cubicBezTo>
                  <a:pt x="88" y="217"/>
                  <a:pt x="86" y="209"/>
                  <a:pt x="80" y="205"/>
                </a:cubicBezTo>
                <a:cubicBezTo>
                  <a:pt x="58" y="194"/>
                  <a:pt x="54" y="175"/>
                  <a:pt x="59" y="163"/>
                </a:cubicBezTo>
                <a:cubicBezTo>
                  <a:pt x="60" y="159"/>
                  <a:pt x="64" y="151"/>
                  <a:pt x="73" y="153"/>
                </a:cubicBezTo>
                <a:cubicBezTo>
                  <a:pt x="81" y="155"/>
                  <a:pt x="88" y="150"/>
                  <a:pt x="89" y="143"/>
                </a:cubicBezTo>
                <a:cubicBezTo>
                  <a:pt x="91" y="136"/>
                  <a:pt x="86" y="129"/>
                  <a:pt x="79" y="127"/>
                </a:cubicBezTo>
                <a:cubicBezTo>
                  <a:pt x="60" y="123"/>
                  <a:pt x="43" y="133"/>
                  <a:pt x="35" y="151"/>
                </a:cubicBezTo>
                <a:cubicBezTo>
                  <a:pt x="29" y="136"/>
                  <a:pt x="26" y="120"/>
                  <a:pt x="26" y="106"/>
                </a:cubicBezTo>
                <a:cubicBezTo>
                  <a:pt x="26" y="95"/>
                  <a:pt x="28" y="86"/>
                  <a:pt x="31" y="80"/>
                </a:cubicBezTo>
                <a:cubicBezTo>
                  <a:pt x="54" y="34"/>
                  <a:pt x="119" y="27"/>
                  <a:pt x="155" y="27"/>
                </a:cubicBezTo>
                <a:cubicBezTo>
                  <a:pt x="197" y="27"/>
                  <a:pt x="235" y="52"/>
                  <a:pt x="241" y="85"/>
                </a:cubicBezTo>
                <a:cubicBezTo>
                  <a:pt x="242" y="91"/>
                  <a:pt x="243" y="97"/>
                  <a:pt x="243" y="102"/>
                </a:cubicBezTo>
                <a:cubicBezTo>
                  <a:pt x="243" y="120"/>
                  <a:pt x="236" y="128"/>
                  <a:pt x="234" y="131"/>
                </a:cubicBezTo>
                <a:cubicBezTo>
                  <a:pt x="232" y="133"/>
                  <a:pt x="230" y="136"/>
                  <a:pt x="230" y="140"/>
                </a:cubicBezTo>
                <a:cubicBezTo>
                  <a:pt x="230" y="154"/>
                  <a:pt x="238" y="168"/>
                  <a:pt x="246" y="184"/>
                </a:cubicBezTo>
                <a:cubicBezTo>
                  <a:pt x="246" y="184"/>
                  <a:pt x="249" y="188"/>
                  <a:pt x="247" y="190"/>
                </a:cubicBezTo>
                <a:cubicBezTo>
                  <a:pt x="246" y="192"/>
                  <a:pt x="241" y="196"/>
                  <a:pt x="239" y="197"/>
                </a:cubicBezTo>
                <a:cubicBezTo>
                  <a:pt x="230" y="203"/>
                  <a:pt x="230" y="203"/>
                  <a:pt x="230" y="203"/>
                </a:cubicBezTo>
                <a:cubicBezTo>
                  <a:pt x="229" y="205"/>
                  <a:pt x="226" y="208"/>
                  <a:pt x="226" y="218"/>
                </a:cubicBezTo>
                <a:cubicBezTo>
                  <a:pt x="226" y="221"/>
                  <a:pt x="227" y="226"/>
                  <a:pt x="228" y="231"/>
                </a:cubicBezTo>
                <a:cubicBezTo>
                  <a:pt x="226" y="234"/>
                  <a:pt x="224" y="238"/>
                  <a:pt x="224" y="242"/>
                </a:cubicBezTo>
                <a:cubicBezTo>
                  <a:pt x="224" y="243"/>
                  <a:pt x="224" y="243"/>
                  <a:pt x="224" y="244"/>
                </a:cubicBezTo>
                <a:cubicBezTo>
                  <a:pt x="224" y="247"/>
                  <a:pt x="224" y="251"/>
                  <a:pt x="227" y="255"/>
                </a:cubicBezTo>
                <a:cubicBezTo>
                  <a:pt x="226" y="259"/>
                  <a:pt x="223" y="268"/>
                  <a:pt x="219" y="273"/>
                </a:cubicBezTo>
                <a:cubicBezTo>
                  <a:pt x="217" y="277"/>
                  <a:pt x="205" y="286"/>
                  <a:pt x="197" y="286"/>
                </a:cubicBezTo>
                <a:cubicBezTo>
                  <a:pt x="173" y="286"/>
                  <a:pt x="159" y="288"/>
                  <a:pt x="150" y="294"/>
                </a:cubicBezTo>
                <a:cubicBezTo>
                  <a:pt x="147" y="296"/>
                  <a:pt x="139" y="300"/>
                  <a:pt x="131" y="336"/>
                </a:cubicBezTo>
                <a:cubicBezTo>
                  <a:pt x="109" y="325"/>
                  <a:pt x="40" y="292"/>
                  <a:pt x="40" y="292"/>
                </a:cubicBezTo>
                <a:cubicBezTo>
                  <a:pt x="33" y="288"/>
                  <a:pt x="25" y="291"/>
                  <a:pt x="22" y="298"/>
                </a:cubicBezTo>
                <a:cubicBezTo>
                  <a:pt x="19" y="304"/>
                  <a:pt x="22" y="312"/>
                  <a:pt x="28" y="315"/>
                </a:cubicBezTo>
                <a:cubicBezTo>
                  <a:pt x="135" y="367"/>
                  <a:pt x="135" y="367"/>
                  <a:pt x="135" y="367"/>
                </a:cubicBezTo>
                <a:cubicBezTo>
                  <a:pt x="139" y="369"/>
                  <a:pt x="143" y="369"/>
                  <a:pt x="147" y="367"/>
                </a:cubicBezTo>
                <a:cubicBezTo>
                  <a:pt x="151" y="365"/>
                  <a:pt x="153" y="361"/>
                  <a:pt x="154" y="357"/>
                </a:cubicBezTo>
                <a:cubicBezTo>
                  <a:pt x="157" y="340"/>
                  <a:pt x="162" y="321"/>
                  <a:pt x="165" y="316"/>
                </a:cubicBezTo>
                <a:cubicBezTo>
                  <a:pt x="169" y="314"/>
                  <a:pt x="178" y="313"/>
                  <a:pt x="197" y="313"/>
                </a:cubicBezTo>
                <a:cubicBezTo>
                  <a:pt x="215" y="313"/>
                  <a:pt x="238" y="299"/>
                  <a:pt x="244" y="283"/>
                </a:cubicBezTo>
                <a:cubicBezTo>
                  <a:pt x="246" y="278"/>
                  <a:pt x="246" y="278"/>
                  <a:pt x="246" y="278"/>
                </a:cubicBezTo>
                <a:cubicBezTo>
                  <a:pt x="251" y="268"/>
                  <a:pt x="254" y="259"/>
                  <a:pt x="254" y="252"/>
                </a:cubicBezTo>
                <a:cubicBezTo>
                  <a:pt x="254" y="249"/>
                  <a:pt x="253" y="246"/>
                  <a:pt x="251" y="244"/>
                </a:cubicBezTo>
                <a:cubicBezTo>
                  <a:pt x="253" y="241"/>
                  <a:pt x="255" y="238"/>
                  <a:pt x="255" y="235"/>
                </a:cubicBezTo>
                <a:cubicBezTo>
                  <a:pt x="255" y="234"/>
                  <a:pt x="255" y="233"/>
                  <a:pt x="255" y="232"/>
                </a:cubicBezTo>
                <a:cubicBezTo>
                  <a:pt x="254" y="228"/>
                  <a:pt x="253" y="222"/>
                  <a:pt x="253" y="219"/>
                </a:cubicBezTo>
                <a:cubicBezTo>
                  <a:pt x="261" y="214"/>
                  <a:pt x="270" y="205"/>
                  <a:pt x="274" y="199"/>
                </a:cubicBezTo>
                <a:cubicBezTo>
                  <a:pt x="276" y="195"/>
                  <a:pt x="276" y="191"/>
                  <a:pt x="276" y="189"/>
                </a:cubicBezTo>
                <a:cubicBezTo>
                  <a:pt x="276" y="186"/>
                  <a:pt x="276" y="184"/>
                  <a:pt x="275" y="183"/>
                </a:cubicBezTo>
                <a:cubicBezTo>
                  <a:pt x="271" y="174"/>
                  <a:pt x="271" y="174"/>
                  <a:pt x="271" y="174"/>
                </a:cubicBezTo>
                <a:cubicBezTo>
                  <a:pt x="267" y="166"/>
                  <a:pt x="259" y="153"/>
                  <a:pt x="257" y="143"/>
                </a:cubicBezTo>
                <a:cubicBezTo>
                  <a:pt x="265" y="133"/>
                  <a:pt x="269" y="118"/>
                  <a:pt x="269" y="102"/>
                </a:cubicBezTo>
                <a:cubicBezTo>
                  <a:pt x="269" y="95"/>
                  <a:pt x="269" y="87"/>
                  <a:pt x="267" y="80"/>
                </a:cubicBezTo>
                <a:cubicBezTo>
                  <a:pt x="259" y="35"/>
                  <a:pt x="211" y="0"/>
                  <a:pt x="155" y="0"/>
                </a:cubicBezTo>
                <a:cubicBezTo>
                  <a:pt x="82" y="0"/>
                  <a:pt x="30" y="24"/>
                  <a:pt x="8" y="68"/>
                </a:cubicBezTo>
                <a:close/>
              </a:path>
            </a:pathLst>
          </a:custGeom>
          <a:solidFill>
            <a:schemeClr val="bg1"/>
          </a:solidFill>
          <a:ln w="9525">
            <a:noFill/>
            <a:round/>
            <a:headEnd/>
            <a:tailEnd/>
          </a:ln>
        </p:spPr>
        <p:txBody>
          <a:bodyPr vert="horz" wrap="square" lIns="121888" tIns="60944" rIns="121888" bIns="60944" numCol="1" anchor="t" anchorCtr="0" compatLnSpc="1">
            <a:prstTxWarp prst="textNoShape">
              <a:avLst/>
            </a:prstTxWarp>
          </a:bodyPr>
          <a:lstStyle/>
          <a:p>
            <a:pPr defTabSz="609386">
              <a:defRPr/>
            </a:pPr>
            <a:endParaRPr lang="en-US" sz="3199" kern="0" dirty="0">
              <a:solidFill>
                <a:prstClr val="black"/>
              </a:solidFill>
              <a:latin typeface="Arial"/>
            </a:endParaRPr>
          </a:p>
        </p:txBody>
      </p:sp>
      <p:grpSp>
        <p:nvGrpSpPr>
          <p:cNvPr id="4" name="Group 3"/>
          <p:cNvGrpSpPr/>
          <p:nvPr/>
        </p:nvGrpSpPr>
        <p:grpSpPr>
          <a:xfrm>
            <a:off x="3130315" y="1358387"/>
            <a:ext cx="3023507" cy="1584134"/>
            <a:chOff x="2446305" y="1293866"/>
            <a:chExt cx="2268221" cy="1188410"/>
          </a:xfrm>
        </p:grpSpPr>
        <p:sp>
          <p:nvSpPr>
            <p:cNvPr id="33" name="Rounded Rectangle 29"/>
            <p:cNvSpPr/>
            <p:nvPr/>
          </p:nvSpPr>
          <p:spPr>
            <a:xfrm>
              <a:off x="2528855" y="1293866"/>
              <a:ext cx="2103120" cy="1188410"/>
            </a:xfrm>
            <a:prstGeom prst="roundRect">
              <a:avLst>
                <a:gd name="adj" fmla="val 3515"/>
              </a:avLst>
            </a:prstGeom>
            <a:solidFill>
              <a:srgbClr val="3DCD58"/>
            </a:solidFill>
            <a:ln>
              <a:solidFill>
                <a:srgbClr val="3DCD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166">
                <a:defRPr/>
              </a:pPr>
              <a:endParaRPr lang="en-US" sz="2533" b="1" kern="0" dirty="0">
                <a:solidFill>
                  <a:prstClr val="white"/>
                </a:solidFill>
                <a:latin typeface="Arial Rounded MT Std" charset="0"/>
                <a:ea typeface="Arial Rounded MT Std" charset="0"/>
                <a:cs typeface="Arial Rounded MT Std" charset="0"/>
              </a:endParaRPr>
            </a:p>
          </p:txBody>
        </p:sp>
        <p:sp>
          <p:nvSpPr>
            <p:cNvPr id="44" name="TextBox 43"/>
            <p:cNvSpPr txBox="1"/>
            <p:nvPr/>
          </p:nvSpPr>
          <p:spPr>
            <a:xfrm>
              <a:off x="2446305" y="1959992"/>
              <a:ext cx="2268221" cy="315505"/>
            </a:xfrm>
            <a:prstGeom prst="rect">
              <a:avLst/>
            </a:prstGeom>
            <a:noFill/>
          </p:spPr>
          <p:txBody>
            <a:bodyPr wrap="square" rtlCol="0">
              <a:spAutoFit/>
            </a:bodyPr>
            <a:lstStyle/>
            <a:p>
              <a:pPr algn="ctr" defTabSz="914126">
                <a:defRPr/>
              </a:pPr>
              <a:r>
                <a:rPr lang="en-US" sz="2133" b="1" kern="0" dirty="0" err="1">
                  <a:solidFill>
                    <a:srgbClr val="000000"/>
                  </a:solidFill>
                  <a:latin typeface="Arial"/>
                  <a:ea typeface="Times New Roman" panose="02020603050405020304" pitchFamily="18" charset="0"/>
                  <a:cs typeface="Times New Roman" panose="02020603050405020304" pitchFamily="18" charset="0"/>
                </a:rPr>
                <a:t>Fiabilitate</a:t>
              </a:r>
              <a:r>
                <a:rPr lang="en-US" sz="2133" b="1" kern="0" dirty="0">
                  <a:solidFill>
                    <a:prstClr val="white"/>
                  </a:solidFill>
                  <a:latin typeface="Arial"/>
                  <a:ea typeface="Times New Roman" panose="02020603050405020304" pitchFamily="18" charset="0"/>
                  <a:cs typeface="Times New Roman" panose="02020603050405020304" pitchFamily="18" charset="0"/>
                </a:rPr>
                <a:t> </a:t>
              </a:r>
            </a:p>
          </p:txBody>
        </p:sp>
        <p:pic>
          <p:nvPicPr>
            <p:cNvPr id="46" name="Picture 45"/>
            <p:cNvPicPr>
              <a:picLocks noChangeAspect="1"/>
            </p:cNvPicPr>
            <p:nvPr/>
          </p:nvPicPr>
          <p:blipFill>
            <a:blip r:embed="rId6"/>
            <a:stretch>
              <a:fillRect/>
            </a:stretch>
          </p:blipFill>
          <p:spPr>
            <a:xfrm>
              <a:off x="3353384" y="1418296"/>
              <a:ext cx="488426" cy="490215"/>
            </a:xfrm>
            <a:prstGeom prst="rect">
              <a:avLst/>
            </a:prstGeom>
          </p:spPr>
        </p:pic>
      </p:grpSp>
      <p:sp>
        <p:nvSpPr>
          <p:cNvPr id="39" name="Rounded Rectangle 29"/>
          <p:cNvSpPr/>
          <p:nvPr/>
        </p:nvSpPr>
        <p:spPr>
          <a:xfrm>
            <a:off x="9157695" y="1358387"/>
            <a:ext cx="2803430" cy="1584134"/>
          </a:xfrm>
          <a:prstGeom prst="roundRect">
            <a:avLst>
              <a:gd name="adj" fmla="val 3515"/>
            </a:avLst>
          </a:prstGeom>
          <a:solidFill>
            <a:srgbClr val="3DCD58"/>
          </a:solidFill>
          <a:ln>
            <a:solidFill>
              <a:srgbClr val="3DCD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166">
              <a:defRPr/>
            </a:pPr>
            <a:endParaRPr lang="en-US" sz="2533" b="1" kern="0" dirty="0">
              <a:solidFill>
                <a:prstClr val="white"/>
              </a:solidFill>
              <a:latin typeface="Arial Rounded MT Std" charset="0"/>
              <a:ea typeface="Arial Rounded MT Std" charset="0"/>
              <a:cs typeface="Arial Rounded MT Std" charset="0"/>
            </a:endParaRPr>
          </a:p>
        </p:txBody>
      </p:sp>
      <p:sp>
        <p:nvSpPr>
          <p:cNvPr id="48" name="TextBox 47"/>
          <p:cNvSpPr txBox="1"/>
          <p:nvPr/>
        </p:nvSpPr>
        <p:spPr>
          <a:xfrm>
            <a:off x="9115496" y="2278844"/>
            <a:ext cx="3023507" cy="420564"/>
          </a:xfrm>
          <a:prstGeom prst="rect">
            <a:avLst/>
          </a:prstGeom>
          <a:noFill/>
        </p:spPr>
        <p:txBody>
          <a:bodyPr wrap="square" rtlCol="0">
            <a:spAutoFit/>
          </a:bodyPr>
          <a:lstStyle/>
          <a:p>
            <a:pPr algn="ctr" defTabSz="914126">
              <a:defRPr/>
            </a:pPr>
            <a:r>
              <a:rPr lang="en-US" sz="2133" b="1" kern="0" dirty="0" err="1">
                <a:solidFill>
                  <a:srgbClr val="000000"/>
                </a:solidFill>
                <a:latin typeface="Arial"/>
                <a:ea typeface="Times New Roman" panose="02020603050405020304" pitchFamily="18" charset="0"/>
                <a:cs typeface="Times New Roman" panose="02020603050405020304" pitchFamily="18" charset="0"/>
              </a:rPr>
              <a:t>Conformitate</a:t>
            </a:r>
            <a:r>
              <a:rPr lang="en-US" sz="2133" b="1" kern="0" dirty="0">
                <a:solidFill>
                  <a:prstClr val="white"/>
                </a:solidFill>
                <a:latin typeface="Arial"/>
                <a:ea typeface="Times New Roman" panose="02020603050405020304" pitchFamily="18" charset="0"/>
                <a:cs typeface="Times New Roman" panose="02020603050405020304" pitchFamily="18" charset="0"/>
              </a:rPr>
              <a:t> </a:t>
            </a:r>
          </a:p>
        </p:txBody>
      </p:sp>
      <p:grpSp>
        <p:nvGrpSpPr>
          <p:cNvPr id="6" name="Group 5"/>
          <p:cNvGrpSpPr/>
          <p:nvPr/>
        </p:nvGrpSpPr>
        <p:grpSpPr>
          <a:xfrm>
            <a:off x="6122906" y="1358387"/>
            <a:ext cx="3023507" cy="1584134"/>
            <a:chOff x="4715314" y="1279566"/>
            <a:chExt cx="2268221" cy="1188410"/>
          </a:xfrm>
        </p:grpSpPr>
        <p:sp>
          <p:nvSpPr>
            <p:cNvPr id="36" name="Rounded Rectangle 29"/>
            <p:cNvSpPr/>
            <p:nvPr/>
          </p:nvSpPr>
          <p:spPr>
            <a:xfrm>
              <a:off x="4797864" y="1279566"/>
              <a:ext cx="2103120" cy="1188410"/>
            </a:xfrm>
            <a:prstGeom prst="roundRect">
              <a:avLst>
                <a:gd name="adj" fmla="val 3515"/>
              </a:avLst>
            </a:prstGeom>
            <a:solidFill>
              <a:srgbClr val="3DCD58"/>
            </a:solidFill>
            <a:ln>
              <a:solidFill>
                <a:srgbClr val="3DCD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166">
                <a:defRPr/>
              </a:pPr>
              <a:endParaRPr lang="en-US" sz="2533" b="1" kern="0" dirty="0">
                <a:solidFill>
                  <a:prstClr val="white"/>
                </a:solidFill>
                <a:latin typeface="Arial Rounded MT Std" charset="0"/>
                <a:ea typeface="Arial Rounded MT Std" charset="0"/>
                <a:cs typeface="Arial Rounded MT Std" charset="0"/>
              </a:endParaRPr>
            </a:p>
          </p:txBody>
        </p:sp>
        <p:sp>
          <p:nvSpPr>
            <p:cNvPr id="40" name="TextBox 39"/>
            <p:cNvSpPr txBox="1"/>
            <p:nvPr/>
          </p:nvSpPr>
          <p:spPr>
            <a:xfrm>
              <a:off x="4715314" y="1959992"/>
              <a:ext cx="2268221" cy="315505"/>
            </a:xfrm>
            <a:prstGeom prst="rect">
              <a:avLst/>
            </a:prstGeom>
            <a:noFill/>
          </p:spPr>
          <p:txBody>
            <a:bodyPr wrap="square" rtlCol="0">
              <a:spAutoFit/>
            </a:bodyPr>
            <a:lstStyle/>
            <a:p>
              <a:pPr algn="ctr" defTabSz="914126">
                <a:defRPr/>
              </a:pPr>
              <a:r>
                <a:rPr lang="en-US" sz="2133" b="1" kern="0" dirty="0" err="1">
                  <a:solidFill>
                    <a:srgbClr val="000000"/>
                  </a:solidFill>
                  <a:latin typeface="Arial"/>
                  <a:ea typeface="Times New Roman" panose="02020603050405020304" pitchFamily="18" charset="0"/>
                  <a:cs typeface="Times New Roman" panose="02020603050405020304" pitchFamily="18" charset="0"/>
                </a:rPr>
                <a:t>Eficienta</a:t>
              </a:r>
              <a:r>
                <a:rPr lang="en-US" sz="2133" b="1" kern="0" dirty="0">
                  <a:solidFill>
                    <a:prstClr val="white"/>
                  </a:solidFill>
                  <a:latin typeface="Arial"/>
                  <a:ea typeface="Times New Roman" panose="02020603050405020304" pitchFamily="18" charset="0"/>
                  <a:cs typeface="Times New Roman" panose="02020603050405020304" pitchFamily="18" charset="0"/>
                </a:rPr>
                <a:t> </a:t>
              </a:r>
            </a:p>
          </p:txBody>
        </p:sp>
        <p:pic>
          <p:nvPicPr>
            <p:cNvPr id="47" name="Picture 46"/>
            <p:cNvPicPr>
              <a:picLocks noChangeAspect="1"/>
            </p:cNvPicPr>
            <p:nvPr/>
          </p:nvPicPr>
          <p:blipFill>
            <a:blip r:embed="rId7"/>
            <a:stretch>
              <a:fillRect/>
            </a:stretch>
          </p:blipFill>
          <p:spPr>
            <a:xfrm>
              <a:off x="5528935" y="1507828"/>
              <a:ext cx="534114" cy="407172"/>
            </a:xfrm>
            <a:prstGeom prst="rect">
              <a:avLst/>
            </a:prstGeom>
          </p:spPr>
        </p:pic>
      </p:grpSp>
      <p:sp>
        <p:nvSpPr>
          <p:cNvPr id="5" name="Rectangle 4"/>
          <p:cNvSpPr/>
          <p:nvPr/>
        </p:nvSpPr>
        <p:spPr>
          <a:xfrm>
            <a:off x="252347" y="3282474"/>
            <a:ext cx="3253633" cy="933589"/>
          </a:xfrm>
          <a:prstGeom prst="rect">
            <a:avLst/>
          </a:prstGeom>
        </p:spPr>
        <p:txBody>
          <a:bodyPr wrap="square">
            <a:spAutoFit/>
          </a:bodyPr>
          <a:lstStyle/>
          <a:p>
            <a:pPr defTabSz="609386">
              <a:spcBef>
                <a:spcPts val="800"/>
              </a:spcBef>
              <a:defRPr/>
            </a:pPr>
            <a:r>
              <a:rPr lang="en-US" sz="1600" b="1" kern="0" dirty="0">
                <a:solidFill>
                  <a:schemeClr val="bg1"/>
                </a:solidFill>
                <a:latin typeface="Arial"/>
              </a:rPr>
              <a:t>57% </a:t>
            </a:r>
            <a:r>
              <a:rPr lang="en-US" sz="1600" b="1" kern="0" dirty="0" err="1">
                <a:solidFill>
                  <a:schemeClr val="bg1"/>
                </a:solidFill>
                <a:latin typeface="Arial"/>
              </a:rPr>
              <a:t>mai</a:t>
            </a:r>
            <a:r>
              <a:rPr lang="en-US" sz="1600" b="1" kern="0" dirty="0">
                <a:solidFill>
                  <a:schemeClr val="bg1"/>
                </a:solidFill>
                <a:latin typeface="Arial"/>
              </a:rPr>
              <a:t> </a:t>
            </a:r>
            <a:r>
              <a:rPr lang="en-US" sz="1600" b="1" kern="0" dirty="0" err="1">
                <a:solidFill>
                  <a:schemeClr val="bg1"/>
                </a:solidFill>
                <a:latin typeface="Arial"/>
              </a:rPr>
              <a:t>putine</a:t>
            </a:r>
            <a:r>
              <a:rPr lang="en-US" sz="1600" b="1" kern="0" dirty="0">
                <a:solidFill>
                  <a:schemeClr val="bg1"/>
                </a:solidFill>
                <a:latin typeface="Arial"/>
              </a:rPr>
              <a:t> </a:t>
            </a:r>
            <a:r>
              <a:rPr lang="en-US" sz="1600" b="1" kern="0" dirty="0" err="1">
                <a:solidFill>
                  <a:schemeClr val="bg1"/>
                </a:solidFill>
                <a:latin typeface="Arial"/>
              </a:rPr>
              <a:t>incendii</a:t>
            </a:r>
            <a:endParaRPr lang="en-US" sz="1600" b="1" kern="0" dirty="0">
              <a:solidFill>
                <a:schemeClr val="bg1"/>
              </a:solidFill>
              <a:latin typeface="Arial"/>
            </a:endParaRPr>
          </a:p>
          <a:p>
            <a:pPr defTabSz="609386">
              <a:spcBef>
                <a:spcPts val="800"/>
              </a:spcBef>
              <a:defRPr/>
            </a:pPr>
            <a:r>
              <a:rPr lang="en-US" sz="1600" b="1" kern="0" dirty="0">
                <a:solidFill>
                  <a:schemeClr val="bg1"/>
                </a:solidFill>
                <a:latin typeface="Arial"/>
              </a:rPr>
              <a:t>50% </a:t>
            </a:r>
            <a:r>
              <a:rPr lang="en-US" sz="1600" b="1" kern="0" dirty="0" err="1">
                <a:solidFill>
                  <a:schemeClr val="bg1"/>
                </a:solidFill>
                <a:latin typeface="Arial"/>
              </a:rPr>
              <a:t>reduceri</a:t>
            </a:r>
            <a:r>
              <a:rPr lang="en-US" sz="1600" b="1" kern="0" dirty="0">
                <a:solidFill>
                  <a:schemeClr val="bg1"/>
                </a:solidFill>
                <a:latin typeface="Arial"/>
              </a:rPr>
              <a:t> de </a:t>
            </a:r>
            <a:r>
              <a:rPr lang="en-US" sz="1600" b="1" kern="0" dirty="0" err="1">
                <a:solidFill>
                  <a:schemeClr val="bg1"/>
                </a:solidFill>
                <a:latin typeface="Arial"/>
              </a:rPr>
              <a:t>accidente</a:t>
            </a:r>
            <a:r>
              <a:rPr lang="en-US" sz="1600" b="1" kern="0" dirty="0">
                <a:solidFill>
                  <a:schemeClr val="bg1"/>
                </a:solidFill>
                <a:latin typeface="Arial"/>
              </a:rPr>
              <a:t> cu </a:t>
            </a:r>
            <a:r>
              <a:rPr lang="en-US" sz="1600" b="1" kern="0" dirty="0" err="1">
                <a:solidFill>
                  <a:schemeClr val="bg1"/>
                </a:solidFill>
                <a:latin typeface="Arial"/>
              </a:rPr>
              <a:t>personalul</a:t>
            </a:r>
            <a:endParaRPr lang="en-US" sz="1600" b="1" kern="0" dirty="0">
              <a:solidFill>
                <a:schemeClr val="bg1"/>
              </a:solidFill>
              <a:latin typeface="Arial"/>
            </a:endParaRPr>
          </a:p>
        </p:txBody>
      </p:sp>
      <p:sp>
        <p:nvSpPr>
          <p:cNvPr id="49" name="Rectangle 48"/>
          <p:cNvSpPr/>
          <p:nvPr/>
        </p:nvSpPr>
        <p:spPr>
          <a:xfrm>
            <a:off x="3178404" y="3360784"/>
            <a:ext cx="3253633" cy="1651221"/>
          </a:xfrm>
          <a:prstGeom prst="rect">
            <a:avLst/>
          </a:prstGeom>
        </p:spPr>
        <p:txBody>
          <a:bodyPr wrap="square">
            <a:spAutoFit/>
          </a:bodyPr>
          <a:lstStyle/>
          <a:p>
            <a:pPr defTabSz="609386">
              <a:spcBef>
                <a:spcPts val="800"/>
              </a:spcBef>
              <a:defRPr/>
            </a:pPr>
            <a:r>
              <a:rPr lang="en-US" sz="1466" b="1" kern="0" dirty="0">
                <a:solidFill>
                  <a:prstClr val="white"/>
                </a:solidFill>
                <a:latin typeface="Arial"/>
              </a:rPr>
              <a:t>40% </a:t>
            </a:r>
            <a:r>
              <a:rPr lang="en-US" sz="1466" b="1" kern="0" dirty="0" err="1">
                <a:solidFill>
                  <a:prstClr val="white"/>
                </a:solidFill>
                <a:latin typeface="Arial"/>
              </a:rPr>
              <a:t>imbunatatire</a:t>
            </a:r>
            <a:r>
              <a:rPr lang="en-US" sz="1466" b="1" kern="0" dirty="0">
                <a:solidFill>
                  <a:prstClr val="white"/>
                </a:solidFill>
                <a:latin typeface="Arial"/>
              </a:rPr>
              <a:t> a </a:t>
            </a:r>
            <a:r>
              <a:rPr lang="en-US" sz="1466" b="1" kern="0" dirty="0" err="1">
                <a:solidFill>
                  <a:prstClr val="white"/>
                </a:solidFill>
                <a:latin typeface="Arial"/>
              </a:rPr>
              <a:t>continuitatii</a:t>
            </a:r>
            <a:r>
              <a:rPr lang="en-US" sz="1466" b="1" kern="0" dirty="0">
                <a:solidFill>
                  <a:prstClr val="white"/>
                </a:solidFill>
                <a:latin typeface="Arial"/>
              </a:rPr>
              <a:t> </a:t>
            </a:r>
          </a:p>
          <a:p>
            <a:pPr defTabSz="609386">
              <a:spcBef>
                <a:spcPts val="800"/>
              </a:spcBef>
              <a:defRPr/>
            </a:pPr>
            <a:r>
              <a:rPr lang="en-US" sz="1466" b="1" kern="0" dirty="0">
                <a:solidFill>
                  <a:prstClr val="white"/>
                </a:solidFill>
                <a:latin typeface="Arial"/>
              </a:rPr>
              <a:t>        in </a:t>
            </a:r>
            <a:r>
              <a:rPr lang="en-US" sz="1466" b="1" kern="0" dirty="0" err="1">
                <a:solidFill>
                  <a:prstClr val="white"/>
                </a:solidFill>
                <a:latin typeface="Arial"/>
              </a:rPr>
              <a:t>alimentarea</a:t>
            </a:r>
            <a:r>
              <a:rPr lang="en-US" sz="1466" b="1" kern="0" dirty="0">
                <a:solidFill>
                  <a:prstClr val="white"/>
                </a:solidFill>
                <a:latin typeface="Arial"/>
              </a:rPr>
              <a:t> cu </a:t>
            </a:r>
            <a:r>
              <a:rPr lang="en-US" sz="1466" b="1" kern="0" dirty="0" err="1">
                <a:solidFill>
                  <a:prstClr val="white"/>
                </a:solidFill>
                <a:latin typeface="Arial"/>
              </a:rPr>
              <a:t>energie</a:t>
            </a:r>
            <a:r>
              <a:rPr lang="en-US" sz="1466" b="1" kern="0" dirty="0">
                <a:solidFill>
                  <a:prstClr val="white"/>
                </a:solidFill>
                <a:latin typeface="Arial"/>
              </a:rPr>
              <a:t> </a:t>
            </a:r>
          </a:p>
          <a:p>
            <a:pPr defTabSz="609386">
              <a:spcBef>
                <a:spcPts val="800"/>
              </a:spcBef>
              <a:defRPr/>
            </a:pPr>
            <a:r>
              <a:rPr lang="en-US" sz="1466" b="1" kern="0" dirty="0">
                <a:solidFill>
                  <a:prstClr val="white"/>
                </a:solidFill>
                <a:latin typeface="Arial"/>
              </a:rPr>
              <a:t>        </a:t>
            </a:r>
            <a:r>
              <a:rPr lang="en-US" sz="1466" b="1" kern="0" dirty="0" err="1">
                <a:solidFill>
                  <a:prstClr val="white"/>
                </a:solidFill>
                <a:latin typeface="Arial"/>
              </a:rPr>
              <a:t>electrica</a:t>
            </a:r>
            <a:endParaRPr lang="en-US" sz="1466" b="1" kern="0" dirty="0">
              <a:solidFill>
                <a:prstClr val="white"/>
              </a:solidFill>
              <a:latin typeface="Arial"/>
            </a:endParaRPr>
          </a:p>
          <a:p>
            <a:pPr defTabSz="609386">
              <a:spcBef>
                <a:spcPts val="800"/>
              </a:spcBef>
              <a:defRPr/>
            </a:pPr>
            <a:r>
              <a:rPr lang="en-US" sz="1600" b="1" kern="0" dirty="0">
                <a:solidFill>
                  <a:schemeClr val="bg1"/>
                </a:solidFill>
                <a:latin typeface="Arial"/>
              </a:rPr>
              <a:t>10% </a:t>
            </a:r>
            <a:r>
              <a:rPr lang="en-US" sz="1600" b="1" kern="0" dirty="0" err="1">
                <a:solidFill>
                  <a:schemeClr val="bg1"/>
                </a:solidFill>
                <a:latin typeface="Arial"/>
              </a:rPr>
              <a:t>cresterea</a:t>
            </a:r>
            <a:r>
              <a:rPr lang="en-US" sz="1600" b="1" kern="0" dirty="0">
                <a:solidFill>
                  <a:schemeClr val="bg1"/>
                </a:solidFill>
                <a:latin typeface="Arial"/>
              </a:rPr>
              <a:t> </a:t>
            </a:r>
            <a:r>
              <a:rPr lang="en-US" sz="1600" b="1" kern="0" dirty="0" err="1">
                <a:solidFill>
                  <a:schemeClr val="bg1"/>
                </a:solidFill>
                <a:latin typeface="Arial"/>
              </a:rPr>
              <a:t>duratei</a:t>
            </a:r>
            <a:r>
              <a:rPr lang="en-US" sz="1600" b="1" kern="0" dirty="0">
                <a:solidFill>
                  <a:schemeClr val="bg1"/>
                </a:solidFill>
                <a:latin typeface="Arial"/>
              </a:rPr>
              <a:t> de </a:t>
            </a:r>
            <a:r>
              <a:rPr lang="en-US" sz="1600" b="1" kern="0" dirty="0" err="1">
                <a:solidFill>
                  <a:schemeClr val="bg1"/>
                </a:solidFill>
                <a:latin typeface="Arial"/>
              </a:rPr>
              <a:t>viata</a:t>
            </a:r>
            <a:endParaRPr lang="en-US" sz="1600" b="1" kern="0" dirty="0">
              <a:solidFill>
                <a:schemeClr val="bg1"/>
              </a:solidFill>
              <a:latin typeface="Arial"/>
            </a:endParaRPr>
          </a:p>
          <a:p>
            <a:pPr defTabSz="609386">
              <a:spcBef>
                <a:spcPts val="800"/>
              </a:spcBef>
              <a:defRPr/>
            </a:pPr>
            <a:endParaRPr lang="en-US" sz="1466" b="1" kern="0" dirty="0">
              <a:solidFill>
                <a:prstClr val="white"/>
              </a:solidFill>
              <a:latin typeface="Arial"/>
            </a:endParaRPr>
          </a:p>
        </p:txBody>
      </p:sp>
      <p:sp>
        <p:nvSpPr>
          <p:cNvPr id="50" name="Rectangle 49"/>
          <p:cNvSpPr/>
          <p:nvPr/>
        </p:nvSpPr>
        <p:spPr>
          <a:xfrm>
            <a:off x="6319360" y="2726257"/>
            <a:ext cx="2756575" cy="2656368"/>
          </a:xfrm>
          <a:prstGeom prst="rect">
            <a:avLst/>
          </a:prstGeom>
        </p:spPr>
        <p:txBody>
          <a:bodyPr wrap="square">
            <a:spAutoFit/>
          </a:bodyPr>
          <a:lstStyle/>
          <a:p>
            <a:pPr defTabSz="609386">
              <a:spcBef>
                <a:spcPts val="800"/>
              </a:spcBef>
              <a:defRPr/>
            </a:pPr>
            <a:endParaRPr lang="en-US" sz="1466" b="1" kern="0" dirty="0">
              <a:solidFill>
                <a:prstClr val="white"/>
              </a:solidFill>
              <a:latin typeface="Arial"/>
            </a:endParaRPr>
          </a:p>
          <a:p>
            <a:pPr defTabSz="609386">
              <a:spcBef>
                <a:spcPts val="800"/>
              </a:spcBef>
              <a:defRPr/>
            </a:pPr>
            <a:r>
              <a:rPr lang="en-US" sz="1600" b="1" kern="0" dirty="0">
                <a:solidFill>
                  <a:schemeClr val="bg1"/>
                </a:solidFill>
                <a:latin typeface="Arial"/>
              </a:rPr>
              <a:t>10% </a:t>
            </a:r>
            <a:r>
              <a:rPr lang="en-US" sz="1600" b="1" kern="0" dirty="0" err="1">
                <a:solidFill>
                  <a:schemeClr val="bg1"/>
                </a:solidFill>
                <a:latin typeface="Arial"/>
              </a:rPr>
              <a:t>cresterea</a:t>
            </a:r>
            <a:r>
              <a:rPr lang="en-US" sz="1600" b="1" kern="0" dirty="0">
                <a:solidFill>
                  <a:schemeClr val="bg1"/>
                </a:solidFill>
                <a:latin typeface="Arial"/>
              </a:rPr>
              <a:t> </a:t>
            </a:r>
            <a:r>
              <a:rPr lang="en-US" sz="1600" b="1" kern="0" dirty="0" err="1">
                <a:solidFill>
                  <a:schemeClr val="bg1"/>
                </a:solidFill>
                <a:latin typeface="Arial"/>
              </a:rPr>
              <a:t>eficientei</a:t>
            </a:r>
            <a:r>
              <a:rPr lang="en-US" sz="1600" b="1" kern="0" dirty="0">
                <a:solidFill>
                  <a:schemeClr val="bg1"/>
                </a:solidFill>
                <a:latin typeface="Arial"/>
              </a:rPr>
              <a:t>  </a:t>
            </a:r>
          </a:p>
          <a:p>
            <a:pPr defTabSz="609386">
              <a:spcBef>
                <a:spcPts val="800"/>
              </a:spcBef>
              <a:defRPr/>
            </a:pPr>
            <a:r>
              <a:rPr lang="en-US" sz="1600" b="1" kern="0" dirty="0">
                <a:solidFill>
                  <a:schemeClr val="bg1"/>
                </a:solidFill>
                <a:latin typeface="Arial"/>
              </a:rPr>
              <a:t>        </a:t>
            </a:r>
            <a:r>
              <a:rPr lang="en-US" sz="1600" b="1" kern="0" dirty="0" err="1">
                <a:solidFill>
                  <a:schemeClr val="bg1"/>
                </a:solidFill>
                <a:latin typeface="Arial"/>
              </a:rPr>
              <a:t>energetice</a:t>
            </a:r>
            <a:endParaRPr lang="en-US" sz="1600" b="1" kern="0" dirty="0">
              <a:solidFill>
                <a:schemeClr val="bg1"/>
              </a:solidFill>
              <a:latin typeface="Arial"/>
            </a:endParaRPr>
          </a:p>
          <a:p>
            <a:pPr defTabSz="609386">
              <a:spcBef>
                <a:spcPts val="800"/>
              </a:spcBef>
              <a:defRPr/>
            </a:pPr>
            <a:r>
              <a:rPr lang="en-US" sz="1466" b="1" kern="0" dirty="0">
                <a:solidFill>
                  <a:prstClr val="white"/>
                </a:solidFill>
                <a:latin typeface="Arial"/>
              </a:rPr>
              <a:t>15% </a:t>
            </a:r>
            <a:r>
              <a:rPr lang="en-US" sz="1466" b="1" kern="0" dirty="0" err="1">
                <a:solidFill>
                  <a:prstClr val="white"/>
                </a:solidFill>
                <a:latin typeface="Arial"/>
              </a:rPr>
              <a:t>reducerea</a:t>
            </a:r>
            <a:r>
              <a:rPr lang="en-US" sz="1466" b="1" kern="0" dirty="0">
                <a:solidFill>
                  <a:prstClr val="white"/>
                </a:solidFill>
                <a:latin typeface="Arial"/>
              </a:rPr>
              <a:t> </a:t>
            </a:r>
            <a:r>
              <a:rPr lang="en-US" sz="1466" b="1" kern="0" dirty="0" err="1">
                <a:solidFill>
                  <a:prstClr val="white"/>
                </a:solidFill>
                <a:latin typeface="Arial"/>
              </a:rPr>
              <a:t>costurilor</a:t>
            </a:r>
            <a:r>
              <a:rPr lang="en-US" sz="1466" b="1" kern="0" dirty="0">
                <a:solidFill>
                  <a:prstClr val="white"/>
                </a:solidFill>
                <a:latin typeface="Arial"/>
              </a:rPr>
              <a:t> de  </a:t>
            </a:r>
          </a:p>
          <a:p>
            <a:pPr defTabSz="609386">
              <a:spcBef>
                <a:spcPts val="800"/>
              </a:spcBef>
              <a:defRPr/>
            </a:pPr>
            <a:r>
              <a:rPr lang="en-US" sz="1466" b="1" kern="0" dirty="0">
                <a:solidFill>
                  <a:prstClr val="white"/>
                </a:solidFill>
                <a:latin typeface="Arial"/>
              </a:rPr>
              <a:t>        </a:t>
            </a:r>
            <a:r>
              <a:rPr lang="en-US" sz="1466" b="1" kern="0" dirty="0" err="1">
                <a:solidFill>
                  <a:prstClr val="white"/>
                </a:solidFill>
                <a:latin typeface="Arial"/>
              </a:rPr>
              <a:t>mentenanta</a:t>
            </a:r>
            <a:endParaRPr lang="en-US" sz="1466" b="1" kern="0" dirty="0">
              <a:solidFill>
                <a:prstClr val="white"/>
              </a:solidFill>
              <a:latin typeface="Arial"/>
            </a:endParaRPr>
          </a:p>
          <a:p>
            <a:pPr defTabSz="609386">
              <a:spcBef>
                <a:spcPts val="800"/>
              </a:spcBef>
              <a:defRPr/>
            </a:pPr>
            <a:r>
              <a:rPr lang="en-US" sz="1466" b="1" kern="0" dirty="0">
                <a:solidFill>
                  <a:prstClr val="white"/>
                </a:solidFill>
                <a:latin typeface="Arial"/>
              </a:rPr>
              <a:t>70% </a:t>
            </a:r>
            <a:r>
              <a:rPr lang="en-US" sz="1466" b="1" kern="0" dirty="0" err="1">
                <a:solidFill>
                  <a:prstClr val="white"/>
                </a:solidFill>
                <a:latin typeface="Arial"/>
              </a:rPr>
              <a:t>reducere</a:t>
            </a:r>
            <a:r>
              <a:rPr lang="en-US" sz="1466" b="1" kern="0" dirty="0">
                <a:solidFill>
                  <a:prstClr val="white"/>
                </a:solidFill>
                <a:latin typeface="Arial"/>
              </a:rPr>
              <a:t> a </a:t>
            </a:r>
            <a:r>
              <a:rPr lang="en-US" sz="1466" b="1" kern="0" dirty="0" err="1">
                <a:solidFill>
                  <a:prstClr val="white"/>
                </a:solidFill>
                <a:latin typeface="Arial"/>
              </a:rPr>
              <a:t>timpilor</a:t>
            </a:r>
            <a:r>
              <a:rPr lang="en-US" sz="1466" b="1" kern="0" dirty="0">
                <a:solidFill>
                  <a:prstClr val="white"/>
                </a:solidFill>
                <a:latin typeface="Arial"/>
              </a:rPr>
              <a:t> de </a:t>
            </a:r>
          </a:p>
          <a:p>
            <a:pPr defTabSz="609386">
              <a:spcBef>
                <a:spcPts val="800"/>
              </a:spcBef>
              <a:defRPr/>
            </a:pPr>
            <a:r>
              <a:rPr lang="en-US" sz="1466" b="1" kern="0" dirty="0">
                <a:solidFill>
                  <a:prstClr val="white"/>
                </a:solidFill>
                <a:latin typeface="Arial"/>
              </a:rPr>
              <a:t>        </a:t>
            </a:r>
            <a:r>
              <a:rPr lang="en-US" sz="1466" b="1" kern="0" dirty="0" err="1">
                <a:solidFill>
                  <a:prstClr val="white"/>
                </a:solidFill>
                <a:latin typeface="Arial"/>
              </a:rPr>
              <a:t>punere</a:t>
            </a:r>
            <a:r>
              <a:rPr lang="en-US" sz="1466" b="1" kern="0" dirty="0">
                <a:solidFill>
                  <a:prstClr val="white"/>
                </a:solidFill>
                <a:latin typeface="Arial"/>
              </a:rPr>
              <a:t> in </a:t>
            </a:r>
            <a:r>
              <a:rPr lang="en-US" sz="1466" b="1" kern="0" dirty="0" err="1">
                <a:solidFill>
                  <a:prstClr val="white"/>
                </a:solidFill>
                <a:latin typeface="Arial"/>
              </a:rPr>
              <a:t>functiune</a:t>
            </a:r>
            <a:endParaRPr lang="en-US" sz="1466" b="1" kern="0" dirty="0">
              <a:solidFill>
                <a:prstClr val="white"/>
              </a:solidFill>
              <a:latin typeface="Arial"/>
            </a:endParaRPr>
          </a:p>
          <a:p>
            <a:pPr defTabSz="609386">
              <a:spcBef>
                <a:spcPts val="800"/>
              </a:spcBef>
              <a:defRPr/>
            </a:pPr>
            <a:endParaRPr lang="en-US" sz="1466" b="1" kern="0" dirty="0">
              <a:solidFill>
                <a:prstClr val="white"/>
              </a:solidFill>
              <a:latin typeface="Arial"/>
            </a:endParaRPr>
          </a:p>
        </p:txBody>
      </p:sp>
      <p:sp>
        <p:nvSpPr>
          <p:cNvPr id="51" name="Rectangle 50"/>
          <p:cNvSpPr/>
          <p:nvPr/>
        </p:nvSpPr>
        <p:spPr>
          <a:xfrm>
            <a:off x="8936960" y="3061616"/>
            <a:ext cx="3253633" cy="2185085"/>
          </a:xfrm>
          <a:prstGeom prst="rect">
            <a:avLst/>
          </a:prstGeom>
        </p:spPr>
        <p:txBody>
          <a:bodyPr wrap="square">
            <a:spAutoFit/>
          </a:bodyPr>
          <a:lstStyle/>
          <a:p>
            <a:pPr defTabSz="609386">
              <a:spcBef>
                <a:spcPts val="800"/>
              </a:spcBef>
              <a:defRPr/>
            </a:pPr>
            <a:r>
              <a:rPr lang="en-US" sz="2000" b="1" kern="0" dirty="0">
                <a:solidFill>
                  <a:schemeClr val="bg1"/>
                </a:solidFill>
                <a:latin typeface="Arial"/>
              </a:rPr>
              <a:t>  6% </a:t>
            </a:r>
            <a:r>
              <a:rPr lang="en-US" sz="1450" b="1" kern="0" dirty="0" err="1">
                <a:solidFill>
                  <a:schemeClr val="bg1"/>
                </a:solidFill>
                <a:latin typeface="Arial"/>
              </a:rPr>
              <a:t>cresterea</a:t>
            </a:r>
            <a:r>
              <a:rPr lang="en-US" sz="1450" b="1" kern="0" dirty="0">
                <a:solidFill>
                  <a:schemeClr val="bg1"/>
                </a:solidFill>
                <a:latin typeface="Arial"/>
              </a:rPr>
              <a:t> </a:t>
            </a:r>
            <a:r>
              <a:rPr lang="en-US" sz="1450" b="1" kern="0" dirty="0" err="1">
                <a:solidFill>
                  <a:schemeClr val="bg1"/>
                </a:solidFill>
                <a:latin typeface="Arial"/>
              </a:rPr>
              <a:t>valorilor</a:t>
            </a:r>
            <a:r>
              <a:rPr lang="en-US" sz="1450" b="1" kern="0" dirty="0">
                <a:solidFill>
                  <a:schemeClr val="bg1"/>
                </a:solidFill>
                <a:latin typeface="Arial"/>
              </a:rPr>
              <a:t> </a:t>
            </a:r>
            <a:r>
              <a:rPr lang="en-US" sz="1450" b="1" kern="0" dirty="0" err="1">
                <a:solidFill>
                  <a:schemeClr val="bg1"/>
                </a:solidFill>
                <a:latin typeface="Arial"/>
              </a:rPr>
              <a:t>chiriei</a:t>
            </a:r>
            <a:endParaRPr lang="en-US" sz="1450" b="1" kern="0" dirty="0">
              <a:solidFill>
                <a:schemeClr val="bg1"/>
              </a:solidFill>
              <a:latin typeface="Arial"/>
            </a:endParaRPr>
          </a:p>
          <a:p>
            <a:pPr defTabSz="609386">
              <a:spcBef>
                <a:spcPts val="800"/>
              </a:spcBef>
              <a:defRPr/>
            </a:pPr>
            <a:r>
              <a:rPr lang="en-US" sz="2000" b="1" kern="0" dirty="0">
                <a:solidFill>
                  <a:schemeClr val="bg1"/>
                </a:solidFill>
                <a:latin typeface="Arial"/>
              </a:rPr>
              <a:t>15% </a:t>
            </a:r>
            <a:r>
              <a:rPr lang="en-US" sz="1450" b="1" kern="0" dirty="0" err="1">
                <a:solidFill>
                  <a:schemeClr val="bg1"/>
                </a:solidFill>
                <a:latin typeface="Arial"/>
              </a:rPr>
              <a:t>cresterea</a:t>
            </a:r>
            <a:r>
              <a:rPr lang="en-US" sz="1450" b="1" kern="0" dirty="0">
                <a:solidFill>
                  <a:schemeClr val="bg1"/>
                </a:solidFill>
                <a:latin typeface="Arial"/>
              </a:rPr>
              <a:t> </a:t>
            </a:r>
            <a:r>
              <a:rPr lang="en-US" sz="1450" b="1" kern="0" dirty="0" err="1">
                <a:solidFill>
                  <a:schemeClr val="bg1"/>
                </a:solidFill>
                <a:latin typeface="Arial"/>
              </a:rPr>
              <a:t>valorii</a:t>
            </a:r>
            <a:r>
              <a:rPr lang="en-US" sz="1450" b="1" kern="0" dirty="0">
                <a:solidFill>
                  <a:schemeClr val="bg1"/>
                </a:solidFill>
                <a:latin typeface="Arial"/>
              </a:rPr>
              <a:t> de </a:t>
            </a:r>
            <a:r>
              <a:rPr lang="en-US" sz="1450" b="1" kern="0" dirty="0" err="1">
                <a:solidFill>
                  <a:schemeClr val="bg1"/>
                </a:solidFill>
                <a:latin typeface="Arial"/>
              </a:rPr>
              <a:t>vanzare</a:t>
            </a:r>
            <a:endParaRPr lang="en-US" sz="1450" b="1" kern="0" dirty="0">
              <a:solidFill>
                <a:schemeClr val="bg1"/>
              </a:solidFill>
              <a:latin typeface="Arial"/>
            </a:endParaRPr>
          </a:p>
          <a:p>
            <a:pPr defTabSz="609386">
              <a:spcBef>
                <a:spcPts val="800"/>
              </a:spcBef>
              <a:defRPr/>
            </a:pPr>
            <a:r>
              <a:rPr lang="en-US" sz="1450" b="1" kern="0" dirty="0">
                <a:solidFill>
                  <a:schemeClr val="bg1"/>
                </a:solidFill>
                <a:latin typeface="Arial"/>
              </a:rPr>
              <a:t> </a:t>
            </a:r>
            <a:r>
              <a:rPr lang="en-US" sz="1600" b="1" kern="0" dirty="0" err="1">
                <a:solidFill>
                  <a:schemeClr val="bg1"/>
                </a:solidFill>
                <a:latin typeface="Arial"/>
              </a:rPr>
              <a:t>Reducere</a:t>
            </a:r>
            <a:r>
              <a:rPr lang="en-US" sz="1600" b="1" kern="0" dirty="0">
                <a:solidFill>
                  <a:schemeClr val="bg1"/>
                </a:solidFill>
                <a:latin typeface="Arial"/>
              </a:rPr>
              <a:t> a </a:t>
            </a:r>
            <a:r>
              <a:rPr lang="en-US" sz="1600" b="1" kern="0" dirty="0" err="1">
                <a:solidFill>
                  <a:schemeClr val="bg1"/>
                </a:solidFill>
                <a:latin typeface="Arial"/>
              </a:rPr>
              <a:t>responsabilitatii</a:t>
            </a:r>
            <a:endParaRPr lang="en-US" sz="1600" b="1" kern="0" dirty="0">
              <a:solidFill>
                <a:schemeClr val="bg1"/>
              </a:solidFill>
              <a:latin typeface="Arial"/>
            </a:endParaRPr>
          </a:p>
          <a:p>
            <a:pPr defTabSz="609386">
              <a:spcBef>
                <a:spcPts val="800"/>
              </a:spcBef>
              <a:defRPr/>
            </a:pPr>
            <a:r>
              <a:rPr lang="en-US" sz="1600" b="1" kern="0" dirty="0">
                <a:solidFill>
                  <a:schemeClr val="bg1"/>
                </a:solidFill>
                <a:latin typeface="Arial"/>
              </a:rPr>
              <a:t> data de </a:t>
            </a:r>
            <a:r>
              <a:rPr lang="en-US" sz="1600" b="1" kern="0" dirty="0" err="1">
                <a:solidFill>
                  <a:schemeClr val="bg1"/>
                </a:solidFill>
                <a:latin typeface="Arial"/>
              </a:rPr>
              <a:t>garantia</a:t>
            </a:r>
            <a:r>
              <a:rPr lang="en-US" sz="1600" b="1" kern="0" dirty="0">
                <a:solidFill>
                  <a:schemeClr val="bg1"/>
                </a:solidFill>
                <a:latin typeface="Arial"/>
              </a:rPr>
              <a:t> </a:t>
            </a:r>
            <a:r>
              <a:rPr lang="en-US" sz="1600" b="1" kern="0" dirty="0" err="1">
                <a:solidFill>
                  <a:schemeClr val="bg1"/>
                </a:solidFill>
                <a:latin typeface="Arial"/>
              </a:rPr>
              <a:t>unor</a:t>
            </a:r>
            <a:r>
              <a:rPr lang="en-US" sz="1600" b="1" kern="0" dirty="0">
                <a:solidFill>
                  <a:schemeClr val="bg1"/>
                </a:solidFill>
                <a:latin typeface="Arial"/>
              </a:rPr>
              <a:t> </a:t>
            </a:r>
            <a:r>
              <a:rPr lang="en-US" sz="1600" b="1" kern="0" dirty="0" err="1">
                <a:solidFill>
                  <a:schemeClr val="bg1"/>
                </a:solidFill>
                <a:latin typeface="Arial"/>
              </a:rPr>
              <a:t>solutii</a:t>
            </a:r>
            <a:r>
              <a:rPr lang="en-US" sz="1600" b="1" kern="0" dirty="0">
                <a:solidFill>
                  <a:schemeClr val="bg1"/>
                </a:solidFill>
                <a:latin typeface="Arial"/>
              </a:rPr>
              <a:t> </a:t>
            </a:r>
          </a:p>
          <a:p>
            <a:pPr defTabSz="609386">
              <a:spcBef>
                <a:spcPts val="800"/>
              </a:spcBef>
              <a:defRPr/>
            </a:pPr>
            <a:r>
              <a:rPr lang="en-US" sz="1600" b="1" kern="0" dirty="0">
                <a:solidFill>
                  <a:schemeClr val="bg1"/>
                </a:solidFill>
                <a:latin typeface="Arial"/>
              </a:rPr>
              <a:t>        TVD</a:t>
            </a:r>
          </a:p>
          <a:p>
            <a:pPr defTabSz="609386">
              <a:spcBef>
                <a:spcPts val="800"/>
              </a:spcBef>
              <a:defRPr/>
            </a:pPr>
            <a:endParaRPr lang="en-US" sz="1466" b="1" kern="0" dirty="0">
              <a:solidFill>
                <a:prstClr val="white"/>
              </a:solidFill>
              <a:latin typeface="Arial"/>
            </a:endParaRPr>
          </a:p>
        </p:txBody>
      </p:sp>
      <p:sp>
        <p:nvSpPr>
          <p:cNvPr id="53" name="Freeform 648"/>
          <p:cNvSpPr>
            <a:spLocks/>
          </p:cNvSpPr>
          <p:nvPr/>
        </p:nvSpPr>
        <p:spPr bwMode="auto">
          <a:xfrm>
            <a:off x="10269607" y="1639673"/>
            <a:ext cx="579606" cy="532113"/>
          </a:xfrm>
          <a:custGeom>
            <a:avLst/>
            <a:gdLst/>
            <a:ahLst/>
            <a:cxnLst>
              <a:cxn ang="0">
                <a:pos x="174" y="9"/>
              </a:cxn>
              <a:cxn ang="0">
                <a:pos x="0" y="9"/>
              </a:cxn>
              <a:cxn ang="0">
                <a:pos x="0" y="280"/>
              </a:cxn>
              <a:cxn ang="0">
                <a:pos x="271" y="280"/>
              </a:cxn>
              <a:cxn ang="0">
                <a:pos x="271" y="0"/>
              </a:cxn>
              <a:cxn ang="0">
                <a:pos x="126" y="214"/>
              </a:cxn>
              <a:cxn ang="0">
                <a:pos x="76" y="132"/>
              </a:cxn>
            </a:cxnLst>
            <a:rect l="0" t="0" r="r" b="b"/>
            <a:pathLst>
              <a:path w="271" h="280">
                <a:moveTo>
                  <a:pt x="174" y="9"/>
                </a:moveTo>
                <a:cubicBezTo>
                  <a:pt x="0" y="9"/>
                  <a:pt x="0" y="9"/>
                  <a:pt x="0" y="9"/>
                </a:cubicBezTo>
                <a:cubicBezTo>
                  <a:pt x="0" y="280"/>
                  <a:pt x="0" y="280"/>
                  <a:pt x="0" y="280"/>
                </a:cubicBezTo>
                <a:cubicBezTo>
                  <a:pt x="271" y="280"/>
                  <a:pt x="271" y="280"/>
                  <a:pt x="271" y="280"/>
                </a:cubicBezTo>
                <a:cubicBezTo>
                  <a:pt x="271" y="0"/>
                  <a:pt x="271" y="0"/>
                  <a:pt x="271" y="0"/>
                </a:cubicBezTo>
                <a:cubicBezTo>
                  <a:pt x="126" y="214"/>
                  <a:pt x="126" y="214"/>
                  <a:pt x="126" y="214"/>
                </a:cubicBezTo>
                <a:cubicBezTo>
                  <a:pt x="126" y="214"/>
                  <a:pt x="104" y="146"/>
                  <a:pt x="76" y="132"/>
                </a:cubicBezTo>
              </a:path>
            </a:pathLst>
          </a:custGeom>
          <a:noFill/>
          <a:ln w="30163" cap="rnd">
            <a:solidFill>
              <a:srgbClr val="FFFFFF"/>
            </a:solidFill>
            <a:prstDash val="solid"/>
            <a:round/>
            <a:headEnd/>
            <a:tailEnd/>
          </a:ln>
        </p:spPr>
        <p:txBody>
          <a:bodyPr vert="horz" wrap="square" lIns="121888" tIns="60944" rIns="121888" bIns="60944" numCol="1" anchor="t" anchorCtr="0" compatLnSpc="1">
            <a:prstTxWarp prst="textNoShape">
              <a:avLst/>
            </a:prstTxWarp>
          </a:bodyPr>
          <a:lstStyle/>
          <a:p>
            <a:pPr defTabSz="914171">
              <a:defRPr/>
            </a:pPr>
            <a:endParaRPr lang="en-US" sz="2399" kern="0">
              <a:solidFill>
                <a:sysClr val="windowText" lastClr="000000"/>
              </a:solidFill>
            </a:endParaRPr>
          </a:p>
        </p:txBody>
      </p:sp>
      <p:sp>
        <p:nvSpPr>
          <p:cNvPr id="2" name="Rectangle 1">
            <a:extLst>
              <a:ext uri="{FF2B5EF4-FFF2-40B4-BE49-F238E27FC236}">
                <a16:creationId xmlns:a16="http://schemas.microsoft.com/office/drawing/2014/main" id="{785895F6-0BAB-4C1E-9E23-53B5FD0B5699}"/>
              </a:ext>
            </a:extLst>
          </p:cNvPr>
          <p:cNvSpPr/>
          <p:nvPr/>
        </p:nvSpPr>
        <p:spPr>
          <a:xfrm>
            <a:off x="4145280" y="5166360"/>
            <a:ext cx="2666286" cy="5943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rgbClr val="000000"/>
                </a:solidFill>
              </a:rPr>
              <a:t>ROI &lt; 2 </a:t>
            </a:r>
            <a:r>
              <a:rPr lang="en-US" sz="2800" b="1" dirty="0" err="1">
                <a:solidFill>
                  <a:srgbClr val="000000"/>
                </a:solidFill>
              </a:rPr>
              <a:t>ani</a:t>
            </a:r>
            <a:endParaRPr lang="en-US" sz="2800" b="1" dirty="0">
              <a:solidFill>
                <a:srgbClr val="000000"/>
              </a:solidFill>
            </a:endParaRPr>
          </a:p>
        </p:txBody>
      </p:sp>
    </p:spTree>
    <p:extLst>
      <p:ext uri="{BB962C8B-B14F-4D97-AF65-F5344CB8AC3E}">
        <p14:creationId xmlns:p14="http://schemas.microsoft.com/office/powerpoint/2010/main" val="8435759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p:cNvSpPr>
            <a:spLocks noGrp="1"/>
          </p:cNvSpPr>
          <p:nvPr>
            <p:ph sz="quarter" idx="11"/>
          </p:nvPr>
        </p:nvSpPr>
        <p:spPr>
          <a:xfrm>
            <a:off x="5" y="496389"/>
            <a:ext cx="6081445" cy="633546"/>
          </a:xfrm>
        </p:spPr>
        <p:txBody>
          <a:bodyPr/>
          <a:lstStyle/>
          <a:p>
            <a:r>
              <a:rPr lang="en-US" sz="4300" b="1" dirty="0" err="1">
                <a:solidFill>
                  <a:srgbClr val="000000"/>
                </a:solidFill>
              </a:rPr>
              <a:t>Povesti</a:t>
            </a:r>
            <a:r>
              <a:rPr lang="en-US" sz="4300" b="1" dirty="0">
                <a:solidFill>
                  <a:srgbClr val="000000"/>
                </a:solidFill>
              </a:rPr>
              <a:t> de </a:t>
            </a:r>
            <a:r>
              <a:rPr lang="en-US" sz="4300" b="1" dirty="0" err="1">
                <a:solidFill>
                  <a:srgbClr val="000000"/>
                </a:solidFill>
              </a:rPr>
              <a:t>succes</a:t>
            </a:r>
            <a:endParaRPr lang="en-US" sz="4300" b="1" dirty="0">
              <a:solidFill>
                <a:srgbClr val="000000"/>
              </a:solidFill>
            </a:endParaRPr>
          </a:p>
          <a:p>
            <a:endParaRPr lang="en-US" sz="2400" b="1" dirty="0">
              <a:solidFill>
                <a:srgbClr val="000000"/>
              </a:solidFill>
            </a:endParaRPr>
          </a:p>
          <a:p>
            <a:r>
              <a:rPr lang="en-US" sz="2000" b="1" dirty="0" err="1">
                <a:solidFill>
                  <a:srgbClr val="000000"/>
                </a:solidFill>
              </a:rPr>
              <a:t>Beneficiar</a:t>
            </a:r>
            <a:r>
              <a:rPr lang="en-US" sz="2000" b="1" dirty="0">
                <a:solidFill>
                  <a:srgbClr val="000000"/>
                </a:solidFill>
              </a:rPr>
              <a:t>:      Regina Maria </a:t>
            </a:r>
            <a:r>
              <a:rPr lang="en-US" sz="2000" b="1" i="1" dirty="0" err="1">
                <a:solidFill>
                  <a:srgbClr val="000000"/>
                </a:solidFill>
              </a:rPr>
              <a:t>Ponderas</a:t>
            </a:r>
            <a:r>
              <a:rPr lang="en-US" sz="2000" b="1" i="1" dirty="0">
                <a:solidFill>
                  <a:srgbClr val="000000"/>
                </a:solidFill>
              </a:rPr>
              <a:t>     </a:t>
            </a:r>
          </a:p>
          <a:p>
            <a:r>
              <a:rPr lang="en-US" sz="2000" b="1" i="1" dirty="0">
                <a:solidFill>
                  <a:srgbClr val="000000"/>
                </a:solidFill>
              </a:rPr>
              <a:t>                         Academic Hospital</a:t>
            </a:r>
          </a:p>
          <a:p>
            <a:endParaRPr lang="en-US" sz="2000" b="1" i="1" dirty="0">
              <a:solidFill>
                <a:srgbClr val="000000"/>
              </a:solidFill>
            </a:endParaRPr>
          </a:p>
          <a:p>
            <a:r>
              <a:rPr lang="en-US" sz="2000" b="1" i="1" dirty="0" err="1">
                <a:solidFill>
                  <a:srgbClr val="000000"/>
                </a:solidFill>
              </a:rPr>
              <a:t>Proiectant</a:t>
            </a:r>
            <a:r>
              <a:rPr lang="en-US" sz="2000" b="1" i="1" dirty="0">
                <a:solidFill>
                  <a:srgbClr val="000000"/>
                </a:solidFill>
              </a:rPr>
              <a:t> de</a:t>
            </a:r>
          </a:p>
          <a:p>
            <a:r>
              <a:rPr lang="en-US" sz="2000" b="1" i="1" dirty="0" err="1">
                <a:solidFill>
                  <a:srgbClr val="000000"/>
                </a:solidFill>
              </a:rPr>
              <a:t>Specialitate</a:t>
            </a:r>
            <a:r>
              <a:rPr lang="en-US" sz="2000" b="1" i="1" dirty="0">
                <a:solidFill>
                  <a:srgbClr val="000000"/>
                </a:solidFill>
              </a:rPr>
              <a:t>:    </a:t>
            </a:r>
            <a:r>
              <a:rPr lang="en-US" sz="2000" b="1" i="1" dirty="0" err="1">
                <a:solidFill>
                  <a:srgbClr val="000000"/>
                </a:solidFill>
              </a:rPr>
              <a:t>Electroinstal</a:t>
            </a:r>
            <a:r>
              <a:rPr lang="en-US" sz="2000" b="1" i="1" dirty="0">
                <a:solidFill>
                  <a:srgbClr val="000000"/>
                </a:solidFill>
              </a:rPr>
              <a:t> Solution </a:t>
            </a:r>
            <a:r>
              <a:rPr lang="en-US" sz="2000" b="1" i="1" dirty="0" err="1">
                <a:solidFill>
                  <a:srgbClr val="000000"/>
                </a:solidFill>
              </a:rPr>
              <a:t>srl</a:t>
            </a:r>
            <a:endParaRPr lang="en-US" sz="2000" b="1" i="1" dirty="0">
              <a:solidFill>
                <a:srgbClr val="000000"/>
              </a:solidFill>
            </a:endParaRPr>
          </a:p>
          <a:p>
            <a:endParaRPr lang="en-US" sz="2000" b="1" i="1" dirty="0">
              <a:solidFill>
                <a:srgbClr val="000000"/>
              </a:solidFill>
            </a:endParaRPr>
          </a:p>
          <a:p>
            <a:r>
              <a:rPr lang="en-US" sz="2000" b="1" i="1" dirty="0" err="1">
                <a:solidFill>
                  <a:srgbClr val="000000"/>
                </a:solidFill>
              </a:rPr>
              <a:t>Contructor</a:t>
            </a:r>
            <a:r>
              <a:rPr lang="en-US" sz="2000" b="1" i="1" dirty="0">
                <a:solidFill>
                  <a:srgbClr val="000000"/>
                </a:solidFill>
              </a:rPr>
              <a:t> de</a:t>
            </a:r>
          </a:p>
          <a:p>
            <a:r>
              <a:rPr lang="en-US" sz="2000" b="1" i="1" dirty="0" err="1">
                <a:solidFill>
                  <a:srgbClr val="000000"/>
                </a:solidFill>
              </a:rPr>
              <a:t>tablouri</a:t>
            </a:r>
            <a:r>
              <a:rPr lang="en-US" sz="2000" b="1" i="1" dirty="0">
                <a:solidFill>
                  <a:srgbClr val="000000"/>
                </a:solidFill>
              </a:rPr>
              <a:t> </a:t>
            </a:r>
            <a:r>
              <a:rPr lang="en-US" sz="2000" b="1" i="1" dirty="0" err="1">
                <a:solidFill>
                  <a:srgbClr val="000000"/>
                </a:solidFill>
              </a:rPr>
              <a:t>electrice</a:t>
            </a:r>
            <a:r>
              <a:rPr lang="en-US" sz="2000" b="1" i="1" dirty="0">
                <a:solidFill>
                  <a:srgbClr val="000000"/>
                </a:solidFill>
              </a:rPr>
              <a:t>:  </a:t>
            </a:r>
            <a:r>
              <a:rPr lang="en-US" sz="2000" b="1" i="1" dirty="0" err="1">
                <a:solidFill>
                  <a:srgbClr val="000000"/>
                </a:solidFill>
              </a:rPr>
              <a:t>Soprex</a:t>
            </a:r>
            <a:r>
              <a:rPr lang="en-US" sz="2000" b="1" i="1" dirty="0">
                <a:solidFill>
                  <a:srgbClr val="000000"/>
                </a:solidFill>
              </a:rPr>
              <a:t>  International</a:t>
            </a:r>
            <a:r>
              <a:rPr lang="en-US" sz="2800" b="1" i="1" dirty="0">
                <a:solidFill>
                  <a:srgbClr val="000000"/>
                </a:solidFill>
              </a:rPr>
              <a:t> </a:t>
            </a:r>
            <a:r>
              <a:rPr lang="en-US" sz="2000" b="1" i="1" dirty="0" err="1">
                <a:solidFill>
                  <a:srgbClr val="000000"/>
                </a:solidFill>
              </a:rPr>
              <a:t>srl</a:t>
            </a:r>
            <a:endParaRPr lang="en-US" sz="2000" b="1" i="1" dirty="0">
              <a:solidFill>
                <a:srgbClr val="000000"/>
              </a:solidFill>
            </a:endParaRPr>
          </a:p>
          <a:p>
            <a:endParaRPr lang="en-US" sz="4300" b="1" dirty="0">
              <a:solidFill>
                <a:srgbClr val="000000"/>
              </a:solidFill>
            </a:endParaRPr>
          </a:p>
          <a:p>
            <a:endParaRPr lang="en-US" sz="4300" b="1" dirty="0">
              <a:solidFill>
                <a:schemeClr val="tx1"/>
              </a:solidFill>
            </a:endParaRPr>
          </a:p>
          <a:p>
            <a:endParaRPr lang="en-US" sz="4300" b="1" dirty="0">
              <a:solidFill>
                <a:schemeClr val="tx1"/>
              </a:solidFill>
            </a:endParaRPr>
          </a:p>
          <a:p>
            <a:endParaRPr lang="en-US" sz="4300" b="1" dirty="0">
              <a:solidFill>
                <a:schemeClr val="tx1"/>
              </a:solidFill>
            </a:endParaRPr>
          </a:p>
          <a:p>
            <a:endParaRPr lang="en-US" sz="4300" b="1" dirty="0">
              <a:solidFill>
                <a:schemeClr val="tx1"/>
              </a:solidFill>
            </a:endParaRPr>
          </a:p>
          <a:p>
            <a:endParaRPr lang="en-US" dirty="0"/>
          </a:p>
          <a:p>
            <a:endParaRPr lang="en-US" dirty="0"/>
          </a:p>
        </p:txBody>
      </p:sp>
      <p:sp>
        <p:nvSpPr>
          <p:cNvPr id="4" name="Slide Number Placeholder 3"/>
          <p:cNvSpPr>
            <a:spLocks noGrp="1"/>
          </p:cNvSpPr>
          <p:nvPr>
            <p:ph type="sldNum" sz="quarter" idx="4"/>
          </p:nvPr>
        </p:nvSpPr>
        <p:spPr/>
        <p:txBody>
          <a:bodyPr/>
          <a:lstStyle/>
          <a:p>
            <a:r>
              <a:rPr lang="en-US"/>
              <a:t>Page </a:t>
            </a:r>
            <a:fld id="{5A9C12DC-491F-9444-86A2-13AC5C62A2FC}" type="slidenum">
              <a:rPr lang="en-US" smtClean="0"/>
              <a:pPr/>
              <a:t>14</a:t>
            </a:fld>
            <a:endParaRPr lang="en-US" dirty="0"/>
          </a:p>
        </p:txBody>
      </p:sp>
      <p:sp>
        <p:nvSpPr>
          <p:cNvPr id="5" name="Footer Placeholder 4"/>
          <p:cNvSpPr>
            <a:spLocks noGrp="1"/>
          </p:cNvSpPr>
          <p:nvPr>
            <p:ph type="ftr" sz="quarter" idx="3"/>
          </p:nvPr>
        </p:nvSpPr>
        <p:spPr/>
        <p:txBody>
          <a:bodyPr/>
          <a:lstStyle/>
          <a:p>
            <a:r>
              <a:rPr lang="en-US"/>
              <a:t>Confidential Property of Schneider Electric |</a:t>
            </a:r>
            <a:endParaRPr lang="en-US" dirty="0"/>
          </a:p>
        </p:txBody>
      </p:sp>
      <p:sp>
        <p:nvSpPr>
          <p:cNvPr id="17" name="Text Placeholder 16"/>
          <p:cNvSpPr>
            <a:spLocks noGrp="1"/>
          </p:cNvSpPr>
          <p:nvPr>
            <p:ph type="body" sz="quarter" idx="14"/>
          </p:nvPr>
        </p:nvSpPr>
        <p:spPr>
          <a:xfrm>
            <a:off x="6435181" y="1504339"/>
            <a:ext cx="5753649" cy="696685"/>
          </a:xfrm>
        </p:spPr>
        <p:txBody>
          <a:bodyPr/>
          <a:lstStyle/>
          <a:p>
            <a:endParaRPr lang="en-US" dirty="0"/>
          </a:p>
          <a:p>
            <a:endParaRPr lang="en-US" dirty="0"/>
          </a:p>
          <a:p>
            <a:endParaRPr lang="en-US" dirty="0"/>
          </a:p>
        </p:txBody>
      </p:sp>
      <p:sp>
        <p:nvSpPr>
          <p:cNvPr id="21" name="Rectangle 20"/>
          <p:cNvSpPr/>
          <p:nvPr/>
        </p:nvSpPr>
        <p:spPr>
          <a:xfrm>
            <a:off x="6081450" y="0"/>
            <a:ext cx="6107380" cy="6858000"/>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TextBox 23"/>
          <p:cNvSpPr txBox="1"/>
          <p:nvPr/>
        </p:nvSpPr>
        <p:spPr>
          <a:xfrm>
            <a:off x="6435181" y="298938"/>
            <a:ext cx="5556950" cy="1200329"/>
          </a:xfrm>
          <a:prstGeom prst="rect">
            <a:avLst/>
          </a:prstGeom>
          <a:noFill/>
        </p:spPr>
        <p:txBody>
          <a:bodyPr wrap="square" rtlCol="0">
            <a:spAutoFit/>
          </a:bodyPr>
          <a:lstStyle/>
          <a:p>
            <a:r>
              <a:rPr lang="en-US" sz="2400" b="1" dirty="0"/>
              <a:t>Smart Prisma Med – </a:t>
            </a:r>
            <a:r>
              <a:rPr lang="en-US" sz="2400" b="1" dirty="0">
                <a:solidFill>
                  <a:srgbClr val="000000"/>
                </a:solidFill>
              </a:rPr>
              <a:t>Regina Maria </a:t>
            </a:r>
            <a:r>
              <a:rPr lang="en-US" sz="2400" b="1" i="1" dirty="0" err="1">
                <a:solidFill>
                  <a:srgbClr val="000000"/>
                </a:solidFill>
              </a:rPr>
              <a:t>Ponderas</a:t>
            </a:r>
            <a:r>
              <a:rPr lang="en-US" sz="2400" b="1" i="1" dirty="0">
                <a:solidFill>
                  <a:srgbClr val="000000"/>
                </a:solidFill>
              </a:rPr>
              <a:t> Academic Hospital</a:t>
            </a:r>
          </a:p>
          <a:p>
            <a:endParaRPr lang="en-US" sz="2400" b="1" dirty="0"/>
          </a:p>
        </p:txBody>
      </p:sp>
      <p:pic>
        <p:nvPicPr>
          <p:cNvPr id="25" name="Picture 24" descr="ponderas hospital"/>
          <p:cNvPicPr/>
          <p:nvPr/>
        </p:nvPicPr>
        <p:blipFill>
          <a:blip r:embed="rId3" cstate="print"/>
          <a:srcRect/>
          <a:stretch>
            <a:fillRect/>
          </a:stretch>
        </p:blipFill>
        <p:spPr bwMode="auto">
          <a:xfrm>
            <a:off x="6978690" y="1959433"/>
            <a:ext cx="4395890" cy="3377498"/>
          </a:xfrm>
          <a:prstGeom prst="rect">
            <a:avLst/>
          </a:prstGeom>
          <a:noFill/>
          <a:ln w="9525">
            <a:noFill/>
            <a:miter lim="800000"/>
            <a:headEnd/>
            <a:tailEnd/>
          </a:ln>
        </p:spPr>
      </p:pic>
      <p:sp>
        <p:nvSpPr>
          <p:cNvPr id="27" name="TextBox 26"/>
          <p:cNvSpPr txBox="1"/>
          <p:nvPr/>
        </p:nvSpPr>
        <p:spPr>
          <a:xfrm>
            <a:off x="129859" y="5336931"/>
            <a:ext cx="4892084" cy="677108"/>
          </a:xfrm>
          <a:prstGeom prst="rect">
            <a:avLst/>
          </a:prstGeom>
          <a:noFill/>
        </p:spPr>
        <p:txBody>
          <a:bodyPr wrap="square" rtlCol="0">
            <a:spAutoFit/>
          </a:bodyPr>
          <a:lstStyle/>
          <a:p>
            <a:r>
              <a:rPr lang="en-US" sz="2000" b="1" dirty="0">
                <a:solidFill>
                  <a:schemeClr val="bg1"/>
                </a:solidFill>
              </a:rPr>
              <a:t>“</a:t>
            </a:r>
            <a:r>
              <a:rPr lang="en-US" sz="1800" b="1" dirty="0">
                <a:solidFill>
                  <a:srgbClr val="000000"/>
                </a:solidFill>
              </a:rPr>
              <a:t>Un </a:t>
            </a:r>
            <a:r>
              <a:rPr lang="en-US" sz="1800" b="1" dirty="0" err="1">
                <a:solidFill>
                  <a:srgbClr val="000000"/>
                </a:solidFill>
              </a:rPr>
              <a:t>oras</a:t>
            </a:r>
            <a:r>
              <a:rPr lang="en-US" sz="1800" b="1" dirty="0">
                <a:solidFill>
                  <a:srgbClr val="000000"/>
                </a:solidFill>
              </a:rPr>
              <a:t> </a:t>
            </a:r>
            <a:r>
              <a:rPr lang="en-US" sz="1800" b="1" dirty="0" err="1">
                <a:solidFill>
                  <a:srgbClr val="000000"/>
                </a:solidFill>
              </a:rPr>
              <a:t>inteligent</a:t>
            </a:r>
            <a:r>
              <a:rPr lang="en-US" sz="1800" b="1" dirty="0">
                <a:solidFill>
                  <a:srgbClr val="000000"/>
                </a:solidFill>
              </a:rPr>
              <a:t> </a:t>
            </a:r>
            <a:r>
              <a:rPr lang="en-US" sz="1800" b="1" dirty="0" err="1">
                <a:solidFill>
                  <a:srgbClr val="000000"/>
                </a:solidFill>
              </a:rPr>
              <a:t>este</a:t>
            </a:r>
            <a:r>
              <a:rPr lang="en-US" sz="1800" b="1" dirty="0">
                <a:solidFill>
                  <a:srgbClr val="000000"/>
                </a:solidFill>
              </a:rPr>
              <a:t> </a:t>
            </a:r>
            <a:r>
              <a:rPr lang="en-US" sz="1800" b="1" dirty="0" err="1">
                <a:solidFill>
                  <a:srgbClr val="000000"/>
                </a:solidFill>
              </a:rPr>
              <a:t>locuit</a:t>
            </a:r>
            <a:r>
              <a:rPr lang="en-US" sz="1800" b="1" dirty="0">
                <a:solidFill>
                  <a:srgbClr val="000000"/>
                </a:solidFill>
              </a:rPr>
              <a:t> de</a:t>
            </a:r>
          </a:p>
          <a:p>
            <a:r>
              <a:rPr lang="en-US" sz="1800" b="1" dirty="0">
                <a:solidFill>
                  <a:srgbClr val="000000"/>
                </a:solidFill>
              </a:rPr>
              <a:t>  </a:t>
            </a:r>
            <a:r>
              <a:rPr lang="en-US" sz="1800" b="1" dirty="0" err="1">
                <a:solidFill>
                  <a:srgbClr val="000000"/>
                </a:solidFill>
              </a:rPr>
              <a:t>oameni</a:t>
            </a:r>
            <a:r>
              <a:rPr lang="en-US" sz="1800" b="1" dirty="0">
                <a:solidFill>
                  <a:srgbClr val="000000"/>
                </a:solidFill>
              </a:rPr>
              <a:t> </a:t>
            </a:r>
            <a:r>
              <a:rPr lang="en-US" sz="1800" b="1" dirty="0" err="1">
                <a:solidFill>
                  <a:srgbClr val="000000"/>
                </a:solidFill>
              </a:rPr>
              <a:t>inteligenti</a:t>
            </a:r>
            <a:r>
              <a:rPr lang="en-US" sz="1800" b="1" dirty="0">
                <a:solidFill>
                  <a:srgbClr val="000000"/>
                </a:solidFill>
              </a:rPr>
              <a:t>!”</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p:cNvSpPr>
            <a:spLocks noGrp="1"/>
          </p:cNvSpPr>
          <p:nvPr>
            <p:ph sz="quarter" idx="11"/>
          </p:nvPr>
        </p:nvSpPr>
        <p:spPr>
          <a:xfrm>
            <a:off x="-27710" y="1959433"/>
            <a:ext cx="6081445" cy="1770743"/>
          </a:xfrm>
        </p:spPr>
        <p:txBody>
          <a:bodyPr/>
          <a:lstStyle/>
          <a:p>
            <a:r>
              <a:rPr lang="en-US" sz="4300" b="1" dirty="0" err="1">
                <a:solidFill>
                  <a:schemeClr val="tx1"/>
                </a:solidFill>
              </a:rPr>
              <a:t>Tema</a:t>
            </a:r>
            <a:r>
              <a:rPr lang="en-US" sz="4300" b="1" dirty="0">
                <a:solidFill>
                  <a:schemeClr val="tx1"/>
                </a:solidFill>
              </a:rPr>
              <a:t> de </a:t>
            </a:r>
            <a:r>
              <a:rPr lang="en-US" sz="4300" b="1" dirty="0" err="1">
                <a:solidFill>
                  <a:schemeClr val="tx1"/>
                </a:solidFill>
              </a:rPr>
              <a:t>proiectare</a:t>
            </a:r>
            <a:endParaRPr lang="en-US" sz="4300" b="1" dirty="0">
              <a:solidFill>
                <a:schemeClr val="tx1"/>
              </a:solidFill>
            </a:endParaRPr>
          </a:p>
          <a:p>
            <a:endParaRPr lang="en-US" dirty="0"/>
          </a:p>
          <a:p>
            <a:endParaRPr lang="en-US" dirty="0"/>
          </a:p>
        </p:txBody>
      </p:sp>
      <p:sp>
        <p:nvSpPr>
          <p:cNvPr id="15" name="Text Placeholder 14"/>
          <p:cNvSpPr>
            <a:spLocks noGrp="1"/>
          </p:cNvSpPr>
          <p:nvPr>
            <p:ph type="body" sz="quarter" idx="12"/>
          </p:nvPr>
        </p:nvSpPr>
        <p:spPr>
          <a:xfrm>
            <a:off x="6068201" y="527716"/>
            <a:ext cx="6120626" cy="429293"/>
          </a:xfrm>
        </p:spPr>
        <p:txBody>
          <a:bodyPr/>
          <a:lstStyle/>
          <a:p>
            <a:r>
              <a:rPr lang="en-US" dirty="0">
                <a:solidFill>
                  <a:schemeClr val="tx1"/>
                </a:solidFill>
              </a:rPr>
              <a:t>        </a:t>
            </a:r>
          </a:p>
        </p:txBody>
      </p:sp>
      <p:sp>
        <p:nvSpPr>
          <p:cNvPr id="17" name="Text Placeholder 16"/>
          <p:cNvSpPr>
            <a:spLocks noGrp="1"/>
          </p:cNvSpPr>
          <p:nvPr>
            <p:ph type="body" sz="quarter" idx="14"/>
          </p:nvPr>
        </p:nvSpPr>
        <p:spPr>
          <a:xfrm>
            <a:off x="6805749" y="2166679"/>
            <a:ext cx="377026" cy="457023"/>
          </a:xfrm>
        </p:spPr>
        <p:txBody>
          <a:bodyPr/>
          <a:lstStyle/>
          <a:p>
            <a:endParaRPr lang="en-US" dirty="0"/>
          </a:p>
          <a:p>
            <a:endParaRPr lang="en-US" dirty="0"/>
          </a:p>
          <a:p>
            <a:r>
              <a:rPr lang="en-US" sz="1800" dirty="0">
                <a:solidFill>
                  <a:schemeClr val="tx1"/>
                </a:solidFill>
              </a:rPr>
              <a:t>2</a:t>
            </a:r>
            <a:endParaRPr lang="en-US" dirty="0"/>
          </a:p>
        </p:txBody>
      </p:sp>
      <p:sp>
        <p:nvSpPr>
          <p:cNvPr id="20" name="Text Placeholder 19"/>
          <p:cNvSpPr>
            <a:spLocks noGrp="1"/>
          </p:cNvSpPr>
          <p:nvPr>
            <p:ph type="body" sz="quarter" idx="17"/>
          </p:nvPr>
        </p:nvSpPr>
        <p:spPr>
          <a:xfrm>
            <a:off x="6800448" y="1324607"/>
            <a:ext cx="5175580" cy="393476"/>
          </a:xfrm>
        </p:spPr>
        <p:txBody>
          <a:bodyPr/>
          <a:lstStyle/>
          <a:p>
            <a:r>
              <a:rPr lang="en-US" dirty="0">
                <a:solidFill>
                  <a:schemeClr val="tx1"/>
                </a:solidFill>
              </a:rPr>
              <a:t>1        </a:t>
            </a:r>
            <a:r>
              <a:rPr lang="en-US" dirty="0" err="1">
                <a:solidFill>
                  <a:schemeClr val="tx1"/>
                </a:solidFill>
              </a:rPr>
              <a:t>Alimentare</a:t>
            </a:r>
            <a:r>
              <a:rPr lang="en-US" dirty="0">
                <a:solidFill>
                  <a:schemeClr val="tx1"/>
                </a:solidFill>
              </a:rPr>
              <a:t> SIGURA cu </a:t>
            </a:r>
            <a:r>
              <a:rPr lang="en-US" dirty="0" err="1">
                <a:solidFill>
                  <a:schemeClr val="tx1"/>
                </a:solidFill>
              </a:rPr>
              <a:t>energie</a:t>
            </a:r>
            <a:r>
              <a:rPr lang="en-US" dirty="0">
                <a:solidFill>
                  <a:schemeClr val="tx1"/>
                </a:solidFill>
              </a:rPr>
              <a:t> </a:t>
            </a:r>
            <a:r>
              <a:rPr lang="en-US" dirty="0" err="1">
                <a:solidFill>
                  <a:schemeClr val="tx1"/>
                </a:solidFill>
              </a:rPr>
              <a:t>electrica</a:t>
            </a:r>
            <a:r>
              <a:rPr lang="en-US" dirty="0">
                <a:solidFill>
                  <a:schemeClr val="tx1"/>
                </a:solidFill>
              </a:rPr>
              <a:t> a   </a:t>
            </a:r>
          </a:p>
          <a:p>
            <a:r>
              <a:rPr lang="en-US" dirty="0">
                <a:solidFill>
                  <a:schemeClr val="tx1"/>
                </a:solidFill>
              </a:rPr>
              <a:t>          </a:t>
            </a:r>
            <a:r>
              <a:rPr lang="en-US" dirty="0" err="1">
                <a:solidFill>
                  <a:schemeClr val="tx1"/>
                </a:solidFill>
              </a:rPr>
              <a:t>blocului</a:t>
            </a:r>
            <a:r>
              <a:rPr lang="en-US" dirty="0">
                <a:solidFill>
                  <a:schemeClr val="tx1"/>
                </a:solidFill>
              </a:rPr>
              <a:t> operator</a:t>
            </a:r>
          </a:p>
          <a:p>
            <a:r>
              <a:rPr lang="en-US" dirty="0">
                <a:solidFill>
                  <a:schemeClr val="tx1"/>
                </a:solidFill>
              </a:rPr>
              <a:t>           </a:t>
            </a:r>
            <a:endParaRPr lang="en-US" sz="2400" dirty="0">
              <a:solidFill>
                <a:schemeClr val="tx2"/>
              </a:solidFill>
            </a:endParaRPr>
          </a:p>
        </p:txBody>
      </p:sp>
      <p:sp>
        <p:nvSpPr>
          <p:cNvPr id="22" name="Text Placeholder 21"/>
          <p:cNvSpPr>
            <a:spLocks noGrp="1"/>
          </p:cNvSpPr>
          <p:nvPr>
            <p:ph type="body" sz="quarter" idx="19"/>
          </p:nvPr>
        </p:nvSpPr>
        <p:spPr>
          <a:xfrm>
            <a:off x="7439897" y="2166679"/>
            <a:ext cx="4330080" cy="1255790"/>
          </a:xfrm>
        </p:spPr>
        <p:txBody>
          <a:bodyPr/>
          <a:lstStyle/>
          <a:p>
            <a:r>
              <a:rPr lang="en-US" dirty="0" err="1">
                <a:solidFill>
                  <a:schemeClr val="tx1"/>
                </a:solidFill>
              </a:rPr>
              <a:t>Informare</a:t>
            </a:r>
            <a:r>
              <a:rPr lang="en-US" dirty="0">
                <a:solidFill>
                  <a:schemeClr val="tx1"/>
                </a:solidFill>
              </a:rPr>
              <a:t> </a:t>
            </a:r>
            <a:r>
              <a:rPr lang="en-US" dirty="0" err="1">
                <a:solidFill>
                  <a:schemeClr val="tx1"/>
                </a:solidFill>
              </a:rPr>
              <a:t>rapida</a:t>
            </a:r>
            <a:r>
              <a:rPr lang="en-US" dirty="0">
                <a:solidFill>
                  <a:schemeClr val="tx1"/>
                </a:solidFill>
              </a:rPr>
              <a:t> a </a:t>
            </a:r>
            <a:r>
              <a:rPr lang="en-US" dirty="0" err="1">
                <a:solidFill>
                  <a:schemeClr val="tx1"/>
                </a:solidFill>
              </a:rPr>
              <a:t>personalului</a:t>
            </a:r>
            <a:r>
              <a:rPr lang="en-US" dirty="0">
                <a:solidFill>
                  <a:schemeClr val="tx1"/>
                </a:solidFill>
              </a:rPr>
              <a:t> de</a:t>
            </a:r>
          </a:p>
          <a:p>
            <a:r>
              <a:rPr lang="en-US" dirty="0" err="1">
                <a:solidFill>
                  <a:schemeClr val="tx1"/>
                </a:solidFill>
              </a:rPr>
              <a:t>mentenanta</a:t>
            </a:r>
            <a:r>
              <a:rPr lang="en-US" dirty="0">
                <a:solidFill>
                  <a:schemeClr val="tx1"/>
                </a:solidFill>
              </a:rPr>
              <a:t> in </a:t>
            </a:r>
            <a:r>
              <a:rPr lang="en-US" dirty="0" err="1">
                <a:solidFill>
                  <a:schemeClr val="tx1"/>
                </a:solidFill>
              </a:rPr>
              <a:t>caz</a:t>
            </a:r>
            <a:r>
              <a:rPr lang="en-US" dirty="0">
                <a:solidFill>
                  <a:schemeClr val="tx1"/>
                </a:solidFill>
              </a:rPr>
              <a:t> de </a:t>
            </a:r>
            <a:r>
              <a:rPr lang="en-US" dirty="0" err="1">
                <a:solidFill>
                  <a:schemeClr val="tx1"/>
                </a:solidFill>
              </a:rPr>
              <a:t>defecte</a:t>
            </a:r>
            <a:r>
              <a:rPr lang="en-US" dirty="0">
                <a:solidFill>
                  <a:schemeClr val="tx1"/>
                </a:solidFill>
              </a:rPr>
              <a:t> la</a:t>
            </a:r>
          </a:p>
          <a:p>
            <a:r>
              <a:rPr lang="en-US" dirty="0" err="1">
                <a:solidFill>
                  <a:schemeClr val="tx1"/>
                </a:solidFill>
              </a:rPr>
              <a:t>instalatia</a:t>
            </a:r>
            <a:r>
              <a:rPr lang="en-US" dirty="0">
                <a:solidFill>
                  <a:schemeClr val="tx1"/>
                </a:solidFill>
              </a:rPr>
              <a:t> </a:t>
            </a:r>
            <a:r>
              <a:rPr lang="en-US" dirty="0" err="1">
                <a:solidFill>
                  <a:schemeClr val="tx1"/>
                </a:solidFill>
              </a:rPr>
              <a:t>electrica</a:t>
            </a:r>
            <a:r>
              <a:rPr lang="en-US" dirty="0">
                <a:solidFill>
                  <a:schemeClr val="tx1"/>
                </a:solidFill>
              </a:rPr>
              <a:t> </a:t>
            </a:r>
            <a:r>
              <a:rPr lang="en-US" dirty="0" err="1">
                <a:solidFill>
                  <a:schemeClr val="tx1"/>
                </a:solidFill>
              </a:rPr>
              <a:t>aferenta</a:t>
            </a:r>
            <a:r>
              <a:rPr lang="en-US" dirty="0">
                <a:solidFill>
                  <a:schemeClr val="tx1"/>
                </a:solidFill>
              </a:rPr>
              <a:t> </a:t>
            </a:r>
            <a:r>
              <a:rPr lang="en-US" dirty="0" err="1">
                <a:solidFill>
                  <a:schemeClr val="tx1"/>
                </a:solidFill>
              </a:rPr>
              <a:t>blocului</a:t>
            </a:r>
            <a:endParaRPr lang="en-US" dirty="0">
              <a:solidFill>
                <a:schemeClr val="tx1"/>
              </a:solidFill>
            </a:endParaRPr>
          </a:p>
          <a:p>
            <a:r>
              <a:rPr lang="en-US" dirty="0">
                <a:solidFill>
                  <a:schemeClr val="tx1"/>
                </a:solidFill>
              </a:rPr>
              <a:t>operator</a:t>
            </a:r>
          </a:p>
        </p:txBody>
      </p:sp>
      <p:sp>
        <p:nvSpPr>
          <p:cNvPr id="12" name="Rectangle 11"/>
          <p:cNvSpPr/>
          <p:nvPr/>
        </p:nvSpPr>
        <p:spPr>
          <a:xfrm>
            <a:off x="7182775" y="1718083"/>
            <a:ext cx="4330080" cy="384721"/>
          </a:xfrm>
          <a:prstGeom prst="rect">
            <a:avLst/>
          </a:prstGeom>
        </p:spPr>
        <p:txBody>
          <a:bodyPr wrap="square">
            <a:spAutoFit/>
          </a:bodyPr>
          <a:lstStyle/>
          <a:p>
            <a:r>
              <a:rPr lang="en-US" b="1" dirty="0">
                <a:solidFill>
                  <a:schemeClr val="tx2"/>
                </a:solidFill>
              </a:rPr>
              <a:t>    </a:t>
            </a:r>
            <a:r>
              <a:rPr lang="en-US" sz="1800" b="1" dirty="0" err="1">
                <a:solidFill>
                  <a:schemeClr val="tx2"/>
                </a:solidFill>
              </a:rPr>
              <a:t>Sistem</a:t>
            </a:r>
            <a:r>
              <a:rPr lang="en-US" sz="1800" b="1" dirty="0">
                <a:solidFill>
                  <a:schemeClr val="tx2"/>
                </a:solidFill>
              </a:rPr>
              <a:t> IT de </a:t>
            </a:r>
            <a:r>
              <a:rPr lang="en-US" sz="1800" b="1" dirty="0" err="1">
                <a:solidFill>
                  <a:schemeClr val="tx2"/>
                </a:solidFill>
              </a:rPr>
              <a:t>tratare</a:t>
            </a:r>
            <a:r>
              <a:rPr lang="en-US" sz="1800" b="1" dirty="0">
                <a:solidFill>
                  <a:schemeClr val="tx2"/>
                </a:solidFill>
              </a:rPr>
              <a:t> a </a:t>
            </a:r>
            <a:r>
              <a:rPr lang="en-US" sz="1800" b="1" dirty="0" err="1">
                <a:solidFill>
                  <a:schemeClr val="tx2"/>
                </a:solidFill>
              </a:rPr>
              <a:t>neutrului</a:t>
            </a:r>
            <a:endParaRPr lang="en-US" sz="1800" b="1" dirty="0">
              <a:solidFill>
                <a:schemeClr val="tx2"/>
              </a:solidFill>
            </a:endParaRPr>
          </a:p>
        </p:txBody>
      </p:sp>
      <p:sp>
        <p:nvSpPr>
          <p:cNvPr id="13" name="Rectangle 12"/>
          <p:cNvSpPr/>
          <p:nvPr/>
        </p:nvSpPr>
        <p:spPr>
          <a:xfrm>
            <a:off x="6166300" y="1781958"/>
            <a:ext cx="1268296" cy="384721"/>
          </a:xfrm>
          <a:prstGeom prst="rect">
            <a:avLst/>
          </a:prstGeom>
        </p:spPr>
        <p:txBody>
          <a:bodyPr wrap="none">
            <a:spAutoFit/>
          </a:bodyPr>
          <a:lstStyle/>
          <a:p>
            <a:r>
              <a:rPr lang="en-US" dirty="0"/>
              <a:t>    Solutia:</a:t>
            </a:r>
          </a:p>
        </p:txBody>
      </p:sp>
      <p:sp>
        <p:nvSpPr>
          <p:cNvPr id="16" name="Rectangle 15"/>
          <p:cNvSpPr/>
          <p:nvPr/>
        </p:nvSpPr>
        <p:spPr>
          <a:xfrm>
            <a:off x="7439897" y="3730176"/>
            <a:ext cx="4330080" cy="923330"/>
          </a:xfrm>
          <a:prstGeom prst="rect">
            <a:avLst/>
          </a:prstGeom>
        </p:spPr>
        <p:txBody>
          <a:bodyPr wrap="square">
            <a:spAutoFit/>
          </a:bodyPr>
          <a:lstStyle/>
          <a:p>
            <a:r>
              <a:rPr lang="en-US" sz="1800" b="1" dirty="0" err="1">
                <a:solidFill>
                  <a:schemeClr val="tx2"/>
                </a:solidFill>
              </a:rPr>
              <a:t>Tablouri</a:t>
            </a:r>
            <a:r>
              <a:rPr lang="en-US" sz="1800" b="1" dirty="0">
                <a:solidFill>
                  <a:schemeClr val="tx2"/>
                </a:solidFill>
              </a:rPr>
              <a:t> </a:t>
            </a:r>
            <a:r>
              <a:rPr lang="en-US" sz="1800" b="1" dirty="0" err="1">
                <a:solidFill>
                  <a:schemeClr val="tx2"/>
                </a:solidFill>
              </a:rPr>
              <a:t>comunicante</a:t>
            </a:r>
            <a:r>
              <a:rPr lang="en-US" sz="1800" b="1" dirty="0">
                <a:solidFill>
                  <a:schemeClr val="tx2"/>
                </a:solidFill>
              </a:rPr>
              <a:t> cu </a:t>
            </a:r>
            <a:r>
              <a:rPr lang="en-US" sz="1800" b="1" dirty="0" err="1">
                <a:solidFill>
                  <a:schemeClr val="tx2"/>
                </a:solidFill>
              </a:rPr>
              <a:t>interfete</a:t>
            </a:r>
            <a:r>
              <a:rPr lang="en-US" sz="1800" b="1" dirty="0">
                <a:solidFill>
                  <a:schemeClr val="tx2"/>
                </a:solidFill>
              </a:rPr>
              <a:t> </a:t>
            </a:r>
            <a:r>
              <a:rPr lang="en-US" sz="1800" b="1" dirty="0" err="1">
                <a:solidFill>
                  <a:schemeClr val="tx2"/>
                </a:solidFill>
              </a:rPr>
              <a:t>Smartlink</a:t>
            </a:r>
            <a:r>
              <a:rPr lang="en-US" sz="1800" b="1" dirty="0">
                <a:solidFill>
                  <a:schemeClr val="tx2"/>
                </a:solidFill>
              </a:rPr>
              <a:t> IP care </a:t>
            </a:r>
            <a:r>
              <a:rPr lang="en-US" sz="1800" b="1" dirty="0" err="1">
                <a:solidFill>
                  <a:schemeClr val="tx2"/>
                </a:solidFill>
              </a:rPr>
              <a:t>trimit</a:t>
            </a:r>
            <a:r>
              <a:rPr lang="en-US" sz="1800" b="1" dirty="0">
                <a:solidFill>
                  <a:schemeClr val="tx2"/>
                </a:solidFill>
              </a:rPr>
              <a:t> </a:t>
            </a:r>
            <a:r>
              <a:rPr lang="en-US" sz="1800" b="1" dirty="0" err="1">
                <a:solidFill>
                  <a:schemeClr val="tx2"/>
                </a:solidFill>
              </a:rPr>
              <a:t>alarme</a:t>
            </a:r>
            <a:r>
              <a:rPr lang="en-US" sz="1800" b="1" dirty="0">
                <a:solidFill>
                  <a:schemeClr val="tx2"/>
                </a:solidFill>
              </a:rPr>
              <a:t> </a:t>
            </a:r>
            <a:r>
              <a:rPr lang="en-US" sz="1800" b="1" dirty="0" err="1">
                <a:solidFill>
                  <a:schemeClr val="tx2"/>
                </a:solidFill>
              </a:rPr>
              <a:t>pe</a:t>
            </a:r>
            <a:r>
              <a:rPr lang="en-US" sz="1800" b="1" dirty="0">
                <a:solidFill>
                  <a:schemeClr val="tx2"/>
                </a:solidFill>
              </a:rPr>
              <a:t> email</a:t>
            </a:r>
          </a:p>
        </p:txBody>
      </p:sp>
      <p:sp>
        <p:nvSpPr>
          <p:cNvPr id="18" name="Rectangle 17"/>
          <p:cNvSpPr/>
          <p:nvPr/>
        </p:nvSpPr>
        <p:spPr>
          <a:xfrm>
            <a:off x="6166300" y="3799425"/>
            <a:ext cx="1470274" cy="384721"/>
          </a:xfrm>
          <a:prstGeom prst="rect">
            <a:avLst/>
          </a:prstGeom>
        </p:spPr>
        <p:txBody>
          <a:bodyPr wrap="none">
            <a:spAutoFit/>
          </a:bodyPr>
          <a:lstStyle/>
          <a:p>
            <a:r>
              <a:rPr lang="en-US" dirty="0"/>
              <a:t>    Solutia:   </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p:cNvSpPr>
            <a:spLocks noGrp="1"/>
          </p:cNvSpPr>
          <p:nvPr>
            <p:ph sz="quarter" idx="11"/>
          </p:nvPr>
        </p:nvSpPr>
        <p:spPr>
          <a:xfrm>
            <a:off x="0" y="1959433"/>
            <a:ext cx="6081445" cy="1770743"/>
          </a:xfrm>
        </p:spPr>
        <p:txBody>
          <a:bodyPr/>
          <a:lstStyle/>
          <a:p>
            <a:r>
              <a:rPr lang="en-US" sz="4300" b="1" dirty="0" err="1">
                <a:solidFill>
                  <a:srgbClr val="000000"/>
                </a:solidFill>
              </a:rPr>
              <a:t>Povesti</a:t>
            </a:r>
            <a:r>
              <a:rPr lang="en-US" sz="4300" b="1" dirty="0">
                <a:solidFill>
                  <a:srgbClr val="000000"/>
                </a:solidFill>
              </a:rPr>
              <a:t> de </a:t>
            </a:r>
            <a:r>
              <a:rPr lang="en-US" sz="4300" b="1" dirty="0" err="1">
                <a:solidFill>
                  <a:srgbClr val="000000"/>
                </a:solidFill>
              </a:rPr>
              <a:t>succes</a:t>
            </a:r>
            <a:endParaRPr lang="en-US" sz="4300" b="1" dirty="0">
              <a:solidFill>
                <a:srgbClr val="000000"/>
              </a:solidFill>
            </a:endParaRPr>
          </a:p>
          <a:p>
            <a:endParaRPr lang="en-US" sz="4300" b="1" dirty="0">
              <a:solidFill>
                <a:schemeClr val="tx1"/>
              </a:solidFill>
            </a:endParaRPr>
          </a:p>
          <a:p>
            <a:endParaRPr lang="en-US" sz="4300" b="1" dirty="0">
              <a:solidFill>
                <a:schemeClr val="tx1"/>
              </a:solidFill>
            </a:endParaRPr>
          </a:p>
          <a:p>
            <a:endParaRPr lang="en-US" sz="4300" b="1" dirty="0">
              <a:solidFill>
                <a:schemeClr val="tx1"/>
              </a:solidFill>
            </a:endParaRPr>
          </a:p>
          <a:p>
            <a:endParaRPr lang="en-US" sz="4300" b="1" dirty="0">
              <a:solidFill>
                <a:schemeClr val="tx1"/>
              </a:solidFill>
            </a:endParaRPr>
          </a:p>
          <a:p>
            <a:endParaRPr lang="en-US" dirty="0"/>
          </a:p>
          <a:p>
            <a:endParaRPr lang="en-US" dirty="0"/>
          </a:p>
        </p:txBody>
      </p:sp>
      <p:sp>
        <p:nvSpPr>
          <p:cNvPr id="4" name="Slide Number Placeholder 3"/>
          <p:cNvSpPr>
            <a:spLocks noGrp="1"/>
          </p:cNvSpPr>
          <p:nvPr>
            <p:ph type="sldNum" sz="quarter" idx="4"/>
          </p:nvPr>
        </p:nvSpPr>
        <p:spPr/>
        <p:txBody>
          <a:bodyPr/>
          <a:lstStyle/>
          <a:p>
            <a:r>
              <a:rPr lang="en-US"/>
              <a:t>Page </a:t>
            </a:r>
            <a:fld id="{5A9C12DC-491F-9444-86A2-13AC5C62A2FC}" type="slidenum">
              <a:rPr lang="en-US" smtClean="0"/>
              <a:pPr/>
              <a:t>16</a:t>
            </a:fld>
            <a:endParaRPr lang="en-US" dirty="0"/>
          </a:p>
        </p:txBody>
      </p:sp>
      <p:sp>
        <p:nvSpPr>
          <p:cNvPr id="5" name="Footer Placeholder 4"/>
          <p:cNvSpPr>
            <a:spLocks noGrp="1"/>
          </p:cNvSpPr>
          <p:nvPr>
            <p:ph type="ftr" sz="quarter" idx="3"/>
          </p:nvPr>
        </p:nvSpPr>
        <p:spPr/>
        <p:txBody>
          <a:bodyPr/>
          <a:lstStyle/>
          <a:p>
            <a:r>
              <a:rPr lang="en-US"/>
              <a:t>Confidential Property of Schneider Electric |</a:t>
            </a:r>
            <a:endParaRPr lang="en-US" dirty="0"/>
          </a:p>
        </p:txBody>
      </p:sp>
      <p:sp>
        <p:nvSpPr>
          <p:cNvPr id="17" name="Text Placeholder 16"/>
          <p:cNvSpPr>
            <a:spLocks noGrp="1"/>
          </p:cNvSpPr>
          <p:nvPr>
            <p:ph type="body" sz="quarter" idx="14"/>
          </p:nvPr>
        </p:nvSpPr>
        <p:spPr>
          <a:xfrm>
            <a:off x="6435181" y="1504339"/>
            <a:ext cx="5753649" cy="696685"/>
          </a:xfrm>
        </p:spPr>
        <p:txBody>
          <a:bodyPr/>
          <a:lstStyle/>
          <a:p>
            <a:endParaRPr lang="en-US" dirty="0"/>
          </a:p>
          <a:p>
            <a:endParaRPr lang="en-US" dirty="0"/>
          </a:p>
          <a:p>
            <a:endParaRPr lang="en-US" dirty="0"/>
          </a:p>
        </p:txBody>
      </p:sp>
      <p:sp>
        <p:nvSpPr>
          <p:cNvPr id="21" name="Rectangle 20"/>
          <p:cNvSpPr/>
          <p:nvPr/>
        </p:nvSpPr>
        <p:spPr>
          <a:xfrm>
            <a:off x="6081450" y="0"/>
            <a:ext cx="6107380" cy="6858000"/>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TextBox 23"/>
          <p:cNvSpPr txBox="1"/>
          <p:nvPr/>
        </p:nvSpPr>
        <p:spPr>
          <a:xfrm>
            <a:off x="6804559" y="298938"/>
            <a:ext cx="4570021" cy="830997"/>
          </a:xfrm>
          <a:prstGeom prst="rect">
            <a:avLst/>
          </a:prstGeom>
          <a:noFill/>
        </p:spPr>
        <p:txBody>
          <a:bodyPr wrap="square" rtlCol="0">
            <a:spAutoFit/>
          </a:bodyPr>
          <a:lstStyle/>
          <a:p>
            <a:r>
              <a:rPr lang="en-US" sz="2400" b="1" dirty="0"/>
              <a:t>Smart </a:t>
            </a:r>
            <a:r>
              <a:rPr lang="en-US" sz="2400" b="1" dirty="0" err="1"/>
              <a:t>Prisma</a:t>
            </a:r>
            <a:r>
              <a:rPr lang="en-US" sz="2400" b="1" dirty="0"/>
              <a:t> Med – </a:t>
            </a:r>
            <a:r>
              <a:rPr lang="en-US" sz="2400" b="1" dirty="0" err="1"/>
              <a:t>Spitalul</a:t>
            </a:r>
            <a:r>
              <a:rPr lang="en-US" sz="2400" b="1" dirty="0"/>
              <a:t> </a:t>
            </a:r>
            <a:r>
              <a:rPr lang="en-US" sz="2400" b="1" dirty="0" err="1"/>
              <a:t>Ponderas</a:t>
            </a:r>
            <a:endParaRPr lang="en-US" sz="2400" b="1" dirty="0"/>
          </a:p>
        </p:txBody>
      </p:sp>
      <p:pic>
        <p:nvPicPr>
          <p:cNvPr id="25" name="Picture 24" descr="ponderas hospital"/>
          <p:cNvPicPr/>
          <p:nvPr/>
        </p:nvPicPr>
        <p:blipFill>
          <a:blip r:embed="rId3" cstate="print"/>
          <a:srcRect/>
          <a:stretch>
            <a:fillRect/>
          </a:stretch>
        </p:blipFill>
        <p:spPr bwMode="auto">
          <a:xfrm>
            <a:off x="6978690" y="1959433"/>
            <a:ext cx="4395890" cy="3377498"/>
          </a:xfrm>
          <a:prstGeom prst="rect">
            <a:avLst/>
          </a:prstGeom>
          <a:noFill/>
          <a:ln w="9525">
            <a:noFill/>
            <a:miter lim="800000"/>
            <a:headEnd/>
            <a:tailEnd/>
          </a:ln>
        </p:spPr>
      </p:pic>
      <p:sp>
        <p:nvSpPr>
          <p:cNvPr id="27" name="TextBox 26"/>
          <p:cNvSpPr txBox="1"/>
          <p:nvPr/>
        </p:nvSpPr>
        <p:spPr>
          <a:xfrm>
            <a:off x="129859" y="5336931"/>
            <a:ext cx="4892084" cy="707886"/>
          </a:xfrm>
          <a:prstGeom prst="rect">
            <a:avLst/>
          </a:prstGeom>
          <a:noFill/>
        </p:spPr>
        <p:txBody>
          <a:bodyPr wrap="square" rtlCol="0">
            <a:spAutoFit/>
          </a:bodyPr>
          <a:lstStyle/>
          <a:p>
            <a:r>
              <a:rPr lang="en-US" sz="2000" b="1" dirty="0">
                <a:solidFill>
                  <a:schemeClr val="bg1"/>
                </a:solidFill>
              </a:rPr>
              <a:t>“</a:t>
            </a:r>
            <a:r>
              <a:rPr lang="en-US" sz="2000" b="1" dirty="0">
                <a:solidFill>
                  <a:srgbClr val="000000"/>
                </a:solidFill>
              </a:rPr>
              <a:t>Un </a:t>
            </a:r>
            <a:r>
              <a:rPr lang="en-US" sz="2000" b="1" dirty="0" err="1">
                <a:solidFill>
                  <a:srgbClr val="000000"/>
                </a:solidFill>
              </a:rPr>
              <a:t>oras</a:t>
            </a:r>
            <a:r>
              <a:rPr lang="en-US" sz="2000" b="1" dirty="0">
                <a:solidFill>
                  <a:srgbClr val="000000"/>
                </a:solidFill>
              </a:rPr>
              <a:t> </a:t>
            </a:r>
            <a:r>
              <a:rPr lang="en-US" sz="2000" b="1" dirty="0" err="1">
                <a:solidFill>
                  <a:srgbClr val="000000"/>
                </a:solidFill>
              </a:rPr>
              <a:t>inteligent</a:t>
            </a:r>
            <a:r>
              <a:rPr lang="en-US" sz="2000" b="1" dirty="0">
                <a:solidFill>
                  <a:srgbClr val="000000"/>
                </a:solidFill>
              </a:rPr>
              <a:t> </a:t>
            </a:r>
            <a:r>
              <a:rPr lang="en-US" sz="2000" b="1" dirty="0" err="1">
                <a:solidFill>
                  <a:srgbClr val="000000"/>
                </a:solidFill>
              </a:rPr>
              <a:t>este</a:t>
            </a:r>
            <a:r>
              <a:rPr lang="en-US" sz="2000" b="1" dirty="0">
                <a:solidFill>
                  <a:srgbClr val="000000"/>
                </a:solidFill>
              </a:rPr>
              <a:t> </a:t>
            </a:r>
            <a:r>
              <a:rPr lang="en-US" sz="2000" b="1" dirty="0" err="1">
                <a:solidFill>
                  <a:srgbClr val="000000"/>
                </a:solidFill>
              </a:rPr>
              <a:t>locuit</a:t>
            </a:r>
            <a:r>
              <a:rPr lang="en-US" sz="2000" b="1" dirty="0">
                <a:solidFill>
                  <a:srgbClr val="000000"/>
                </a:solidFill>
              </a:rPr>
              <a:t> de</a:t>
            </a:r>
          </a:p>
          <a:p>
            <a:r>
              <a:rPr lang="en-US" sz="2000" b="1" dirty="0">
                <a:solidFill>
                  <a:srgbClr val="000000"/>
                </a:solidFill>
              </a:rPr>
              <a:t> </a:t>
            </a:r>
            <a:r>
              <a:rPr lang="en-US" sz="2000" b="1" dirty="0" err="1">
                <a:solidFill>
                  <a:srgbClr val="000000"/>
                </a:solidFill>
              </a:rPr>
              <a:t>oameni</a:t>
            </a:r>
            <a:r>
              <a:rPr lang="en-US" sz="2000" b="1" dirty="0">
                <a:solidFill>
                  <a:srgbClr val="000000"/>
                </a:solidFill>
              </a:rPr>
              <a:t> </a:t>
            </a:r>
            <a:r>
              <a:rPr lang="en-US" sz="2000" b="1" dirty="0" err="1">
                <a:solidFill>
                  <a:srgbClr val="000000"/>
                </a:solidFill>
              </a:rPr>
              <a:t>inteligenti</a:t>
            </a:r>
            <a:r>
              <a:rPr lang="en-US" sz="2000" b="1" dirty="0">
                <a:solidFill>
                  <a:srgbClr val="000000"/>
                </a:solidFill>
              </a:rPr>
              <a:t>!”</a:t>
            </a:r>
          </a:p>
        </p:txBody>
      </p:sp>
      <p:pic>
        <p:nvPicPr>
          <p:cNvPr id="2050" name="Picture 2" descr="C:\Users\SESA21~1\AppData\Local\Temp\notesFFF692\~8271415.JPG"/>
          <p:cNvPicPr>
            <a:picLocks noChangeAspect="1" noChangeArrowheads="1"/>
          </p:cNvPicPr>
          <p:nvPr/>
        </p:nvPicPr>
        <p:blipFill>
          <a:blip r:embed="rId4" cstate="print"/>
          <a:srcRect/>
          <a:stretch>
            <a:fillRect/>
          </a:stretch>
        </p:blipFill>
        <p:spPr bwMode="auto">
          <a:xfrm>
            <a:off x="2969945" y="-600524"/>
            <a:ext cx="6223000" cy="8661400"/>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1000" fill="hold"/>
                                        <p:tgtEl>
                                          <p:spTgt spid="2050"/>
                                        </p:tgtEl>
                                        <p:attrNameLst>
                                          <p:attrName>ppt_x</p:attrName>
                                        </p:attrNameLst>
                                      </p:cBhvr>
                                      <p:tavLst>
                                        <p:tav tm="0">
                                          <p:val>
                                            <p:strVal val="#ppt_x"/>
                                          </p:val>
                                        </p:tav>
                                        <p:tav tm="100000">
                                          <p:val>
                                            <p:strVal val="#ppt_x"/>
                                          </p:val>
                                        </p:tav>
                                      </p:tavLst>
                                    </p:anim>
                                    <p:anim calcmode="lin" valueType="num">
                                      <p:cBhvr additive="base">
                                        <p:cTn id="8" dur="1000" fill="hold"/>
                                        <p:tgtEl>
                                          <p:spTgt spid="205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6" presetClass="emph" presetSubtype="0" fill="hold" nodeType="clickEffect">
                                  <p:stCondLst>
                                    <p:cond delay="0"/>
                                  </p:stCondLst>
                                  <p:childTnLst>
                                    <p:animScale>
                                      <p:cBhvr>
                                        <p:cTn id="12" dur="2000" fill="hold"/>
                                        <p:tgtEl>
                                          <p:spTgt spid="2050"/>
                                        </p:tgtEl>
                                      </p:cBhvr>
                                      <p:by x="300000" y="3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p:cNvSpPr>
            <a:spLocks noGrp="1"/>
          </p:cNvSpPr>
          <p:nvPr>
            <p:ph sz="quarter" idx="11"/>
          </p:nvPr>
        </p:nvSpPr>
        <p:spPr>
          <a:xfrm>
            <a:off x="-10070" y="188690"/>
            <a:ext cx="6081445" cy="1104533"/>
          </a:xfrm>
        </p:spPr>
        <p:txBody>
          <a:bodyPr/>
          <a:lstStyle/>
          <a:p>
            <a:r>
              <a:rPr lang="en-US" sz="4300" b="1" dirty="0" err="1">
                <a:solidFill>
                  <a:srgbClr val="000000"/>
                </a:solidFill>
              </a:rPr>
              <a:t>Poveste</a:t>
            </a:r>
            <a:r>
              <a:rPr lang="en-US" sz="4300" b="1" dirty="0">
                <a:solidFill>
                  <a:srgbClr val="000000"/>
                </a:solidFill>
              </a:rPr>
              <a:t> de </a:t>
            </a:r>
            <a:r>
              <a:rPr lang="en-US" sz="4300" b="1" dirty="0" err="1">
                <a:solidFill>
                  <a:srgbClr val="000000"/>
                </a:solidFill>
              </a:rPr>
              <a:t>succes</a:t>
            </a:r>
            <a:endParaRPr lang="en-US" sz="4300" b="1" dirty="0">
              <a:solidFill>
                <a:srgbClr val="000000"/>
              </a:solidFill>
            </a:endParaRPr>
          </a:p>
          <a:p>
            <a:pPr>
              <a:buFontTx/>
              <a:buChar char="-"/>
            </a:pPr>
            <a:endParaRPr lang="en-US" sz="1600" b="1" dirty="0">
              <a:solidFill>
                <a:srgbClr val="000000"/>
              </a:solidFill>
            </a:endParaRPr>
          </a:p>
          <a:p>
            <a:pPr>
              <a:buFontTx/>
              <a:buChar char="-"/>
            </a:pPr>
            <a:endParaRPr lang="en-US" sz="1600" b="1" dirty="0">
              <a:solidFill>
                <a:srgbClr val="000000"/>
              </a:solidFill>
            </a:endParaRPr>
          </a:p>
          <a:p>
            <a:endParaRPr lang="en-US" sz="4300" b="1" dirty="0">
              <a:solidFill>
                <a:schemeClr val="tx1"/>
              </a:solidFill>
            </a:endParaRPr>
          </a:p>
          <a:p>
            <a:endParaRPr lang="en-US" sz="4300" b="1" dirty="0">
              <a:solidFill>
                <a:schemeClr val="tx1"/>
              </a:solidFill>
            </a:endParaRPr>
          </a:p>
          <a:p>
            <a:endParaRPr lang="en-US" sz="4300" b="1" dirty="0">
              <a:solidFill>
                <a:schemeClr val="tx1"/>
              </a:solidFill>
            </a:endParaRPr>
          </a:p>
          <a:p>
            <a:endParaRPr lang="en-US" sz="4300" b="1" dirty="0">
              <a:solidFill>
                <a:schemeClr val="tx1"/>
              </a:solidFill>
            </a:endParaRPr>
          </a:p>
          <a:p>
            <a:endParaRPr lang="en-US" dirty="0"/>
          </a:p>
          <a:p>
            <a:endParaRPr lang="en-US" dirty="0"/>
          </a:p>
        </p:txBody>
      </p:sp>
      <p:sp>
        <p:nvSpPr>
          <p:cNvPr id="4" name="Slide Number Placeholder 3"/>
          <p:cNvSpPr>
            <a:spLocks noGrp="1"/>
          </p:cNvSpPr>
          <p:nvPr>
            <p:ph type="sldNum" sz="quarter" idx="4"/>
          </p:nvPr>
        </p:nvSpPr>
        <p:spPr/>
        <p:txBody>
          <a:bodyPr/>
          <a:lstStyle/>
          <a:p>
            <a:r>
              <a:rPr lang="en-US"/>
              <a:t>Page </a:t>
            </a:r>
            <a:fld id="{5A9C12DC-491F-9444-86A2-13AC5C62A2FC}" type="slidenum">
              <a:rPr lang="en-US" smtClean="0"/>
              <a:pPr/>
              <a:t>17</a:t>
            </a:fld>
            <a:endParaRPr lang="en-US" dirty="0"/>
          </a:p>
        </p:txBody>
      </p:sp>
      <p:sp>
        <p:nvSpPr>
          <p:cNvPr id="5" name="Footer Placeholder 4"/>
          <p:cNvSpPr>
            <a:spLocks noGrp="1"/>
          </p:cNvSpPr>
          <p:nvPr>
            <p:ph type="ftr" sz="quarter" idx="3"/>
          </p:nvPr>
        </p:nvSpPr>
        <p:spPr/>
        <p:txBody>
          <a:bodyPr/>
          <a:lstStyle/>
          <a:p>
            <a:r>
              <a:rPr lang="en-US"/>
              <a:t>Confidential Property of Schneider Electric |</a:t>
            </a:r>
            <a:endParaRPr lang="en-US" dirty="0"/>
          </a:p>
        </p:txBody>
      </p:sp>
      <p:sp>
        <p:nvSpPr>
          <p:cNvPr id="19" name="TextBox 18"/>
          <p:cNvSpPr txBox="1"/>
          <p:nvPr/>
        </p:nvSpPr>
        <p:spPr>
          <a:xfrm>
            <a:off x="7257102" y="485024"/>
            <a:ext cx="3982629" cy="400110"/>
          </a:xfrm>
          <a:prstGeom prst="rect">
            <a:avLst/>
          </a:prstGeom>
          <a:noFill/>
        </p:spPr>
        <p:txBody>
          <a:bodyPr wrap="none" rtlCol="0">
            <a:spAutoFit/>
          </a:bodyPr>
          <a:lstStyle/>
          <a:p>
            <a:r>
              <a:rPr lang="en-US" sz="2000" b="1" dirty="0"/>
              <a:t>WDP Industrial Park </a:t>
            </a:r>
            <a:r>
              <a:rPr lang="en-US" sz="2000" b="1" dirty="0" err="1"/>
              <a:t>Rm</a:t>
            </a:r>
            <a:r>
              <a:rPr lang="en-US" sz="2000" b="1" dirty="0"/>
              <a:t> </a:t>
            </a:r>
            <a:r>
              <a:rPr lang="en-US" sz="2000" b="1" dirty="0" err="1"/>
              <a:t>Valcea</a:t>
            </a:r>
            <a:endParaRPr lang="en-US" sz="2000" b="1" dirty="0"/>
          </a:p>
        </p:txBody>
      </p:sp>
      <p:sp>
        <p:nvSpPr>
          <p:cNvPr id="27" name="TextBox 26"/>
          <p:cNvSpPr txBox="1"/>
          <p:nvPr/>
        </p:nvSpPr>
        <p:spPr>
          <a:xfrm>
            <a:off x="0" y="5660096"/>
            <a:ext cx="4892084" cy="646331"/>
          </a:xfrm>
          <a:prstGeom prst="rect">
            <a:avLst/>
          </a:prstGeom>
          <a:noFill/>
        </p:spPr>
        <p:txBody>
          <a:bodyPr wrap="square" rtlCol="0">
            <a:spAutoFit/>
          </a:bodyPr>
          <a:lstStyle/>
          <a:p>
            <a:r>
              <a:rPr lang="en-US" sz="1800" b="1" dirty="0">
                <a:solidFill>
                  <a:schemeClr val="bg1"/>
                </a:solidFill>
              </a:rPr>
              <a:t>“</a:t>
            </a:r>
            <a:r>
              <a:rPr lang="en-US" sz="1800" b="1" dirty="0">
                <a:solidFill>
                  <a:srgbClr val="000000"/>
                </a:solidFill>
              </a:rPr>
              <a:t>Un </a:t>
            </a:r>
            <a:r>
              <a:rPr lang="en-US" sz="1800" b="1" dirty="0" err="1">
                <a:solidFill>
                  <a:srgbClr val="000000"/>
                </a:solidFill>
              </a:rPr>
              <a:t>oras</a:t>
            </a:r>
            <a:r>
              <a:rPr lang="en-US" sz="1800" b="1" dirty="0">
                <a:solidFill>
                  <a:srgbClr val="000000"/>
                </a:solidFill>
              </a:rPr>
              <a:t> </a:t>
            </a:r>
            <a:r>
              <a:rPr lang="en-US" sz="1800" b="1" dirty="0" err="1">
                <a:solidFill>
                  <a:srgbClr val="000000"/>
                </a:solidFill>
              </a:rPr>
              <a:t>inteligent</a:t>
            </a:r>
            <a:r>
              <a:rPr lang="en-US" sz="1800" b="1" dirty="0">
                <a:solidFill>
                  <a:srgbClr val="000000"/>
                </a:solidFill>
              </a:rPr>
              <a:t> </a:t>
            </a:r>
            <a:r>
              <a:rPr lang="en-US" sz="1800" b="1" dirty="0" err="1">
                <a:solidFill>
                  <a:srgbClr val="000000"/>
                </a:solidFill>
              </a:rPr>
              <a:t>este</a:t>
            </a:r>
            <a:r>
              <a:rPr lang="en-US" sz="1800" b="1" dirty="0">
                <a:solidFill>
                  <a:srgbClr val="000000"/>
                </a:solidFill>
              </a:rPr>
              <a:t> </a:t>
            </a:r>
            <a:r>
              <a:rPr lang="en-US" sz="1800" b="1" dirty="0" err="1">
                <a:solidFill>
                  <a:srgbClr val="000000"/>
                </a:solidFill>
              </a:rPr>
              <a:t>locuit</a:t>
            </a:r>
            <a:r>
              <a:rPr lang="en-US" sz="1800" b="1" dirty="0">
                <a:solidFill>
                  <a:srgbClr val="000000"/>
                </a:solidFill>
              </a:rPr>
              <a:t> de</a:t>
            </a:r>
          </a:p>
          <a:p>
            <a:r>
              <a:rPr lang="en-US" sz="1800" b="1" dirty="0">
                <a:solidFill>
                  <a:srgbClr val="000000"/>
                </a:solidFill>
              </a:rPr>
              <a:t> </a:t>
            </a:r>
            <a:r>
              <a:rPr lang="en-US" sz="1800" b="1" dirty="0" err="1">
                <a:solidFill>
                  <a:srgbClr val="000000"/>
                </a:solidFill>
              </a:rPr>
              <a:t>oameni</a:t>
            </a:r>
            <a:r>
              <a:rPr lang="en-US" sz="1800" b="1" dirty="0">
                <a:solidFill>
                  <a:srgbClr val="000000"/>
                </a:solidFill>
              </a:rPr>
              <a:t> </a:t>
            </a:r>
            <a:r>
              <a:rPr lang="en-US" sz="1800" b="1" dirty="0" err="1">
                <a:solidFill>
                  <a:srgbClr val="000000"/>
                </a:solidFill>
              </a:rPr>
              <a:t>inteligenti</a:t>
            </a:r>
            <a:r>
              <a:rPr lang="en-US" sz="1800" b="1" dirty="0">
                <a:solidFill>
                  <a:srgbClr val="000000"/>
                </a:solidFill>
              </a:rPr>
              <a:t>!”</a:t>
            </a:r>
          </a:p>
        </p:txBody>
      </p:sp>
      <p:sp>
        <p:nvSpPr>
          <p:cNvPr id="9" name="Rectangle 8"/>
          <p:cNvSpPr/>
          <p:nvPr/>
        </p:nvSpPr>
        <p:spPr>
          <a:xfrm>
            <a:off x="129859" y="1735945"/>
            <a:ext cx="6092825" cy="3508653"/>
          </a:xfrm>
          <a:prstGeom prst="rect">
            <a:avLst/>
          </a:prstGeom>
        </p:spPr>
        <p:txBody>
          <a:bodyPr>
            <a:spAutoFit/>
          </a:bodyPr>
          <a:lstStyle/>
          <a:p>
            <a:r>
              <a:rPr lang="en-US" sz="2000" b="1" dirty="0" err="1">
                <a:solidFill>
                  <a:srgbClr val="000000"/>
                </a:solidFill>
              </a:rPr>
              <a:t>Beneficiar</a:t>
            </a:r>
            <a:r>
              <a:rPr lang="en-US" sz="2400" b="1" dirty="0">
                <a:solidFill>
                  <a:srgbClr val="000000"/>
                </a:solidFill>
              </a:rPr>
              <a:t>:    </a:t>
            </a:r>
            <a:r>
              <a:rPr lang="en-US" sz="2200" b="1" i="1" dirty="0" err="1">
                <a:solidFill>
                  <a:srgbClr val="000000"/>
                </a:solidFill>
              </a:rPr>
              <a:t>Faurecia</a:t>
            </a:r>
            <a:r>
              <a:rPr lang="en-US" sz="2200" b="1" i="1" dirty="0">
                <a:solidFill>
                  <a:srgbClr val="000000"/>
                </a:solidFill>
              </a:rPr>
              <a:t> </a:t>
            </a:r>
            <a:r>
              <a:rPr lang="en-US" sz="2200" b="1" i="1" dirty="0" err="1">
                <a:solidFill>
                  <a:srgbClr val="000000"/>
                </a:solidFill>
              </a:rPr>
              <a:t>Rm</a:t>
            </a:r>
            <a:r>
              <a:rPr lang="en-US" sz="2200" b="1" i="1" dirty="0">
                <a:solidFill>
                  <a:srgbClr val="000000"/>
                </a:solidFill>
              </a:rPr>
              <a:t> </a:t>
            </a:r>
            <a:r>
              <a:rPr lang="en-US" sz="2200" b="1" i="1" dirty="0" err="1">
                <a:solidFill>
                  <a:srgbClr val="000000"/>
                </a:solidFill>
              </a:rPr>
              <a:t>Valcea</a:t>
            </a:r>
            <a:r>
              <a:rPr lang="en-US" sz="2200" b="1" i="1" dirty="0">
                <a:solidFill>
                  <a:srgbClr val="000000"/>
                </a:solidFill>
              </a:rPr>
              <a:t> </a:t>
            </a:r>
            <a:endParaRPr lang="en-US" sz="2400" b="1" dirty="0">
              <a:solidFill>
                <a:srgbClr val="000000"/>
              </a:solidFill>
            </a:endParaRPr>
          </a:p>
          <a:p>
            <a:endParaRPr lang="en-US" sz="2400" b="1" dirty="0">
              <a:solidFill>
                <a:srgbClr val="000000"/>
              </a:solidFill>
            </a:endParaRPr>
          </a:p>
          <a:p>
            <a:r>
              <a:rPr lang="en-US" sz="2000" b="1" i="1" dirty="0" err="1">
                <a:solidFill>
                  <a:srgbClr val="000000"/>
                </a:solidFill>
              </a:rPr>
              <a:t>Proiectant</a:t>
            </a:r>
            <a:r>
              <a:rPr lang="en-US" sz="2000" b="1" i="1" dirty="0">
                <a:solidFill>
                  <a:srgbClr val="000000"/>
                </a:solidFill>
              </a:rPr>
              <a:t> de</a:t>
            </a:r>
          </a:p>
          <a:p>
            <a:r>
              <a:rPr lang="en-US" sz="2000" b="1" i="1" dirty="0" err="1">
                <a:solidFill>
                  <a:srgbClr val="000000"/>
                </a:solidFill>
              </a:rPr>
              <a:t>Specialitate</a:t>
            </a:r>
            <a:r>
              <a:rPr lang="en-US" sz="2000" b="1" i="1" dirty="0">
                <a:solidFill>
                  <a:srgbClr val="000000"/>
                </a:solidFill>
              </a:rPr>
              <a:t>:      </a:t>
            </a:r>
            <a:r>
              <a:rPr lang="en-US" sz="2200" b="1" i="1" dirty="0">
                <a:solidFill>
                  <a:srgbClr val="000000"/>
                </a:solidFill>
              </a:rPr>
              <a:t>VRD  </a:t>
            </a:r>
            <a:r>
              <a:rPr lang="en-US" sz="2200" b="1" i="1" dirty="0" err="1">
                <a:solidFill>
                  <a:srgbClr val="000000"/>
                </a:solidFill>
              </a:rPr>
              <a:t>Proiect</a:t>
            </a:r>
            <a:r>
              <a:rPr lang="en-US" sz="2200" b="1" i="1" dirty="0">
                <a:solidFill>
                  <a:srgbClr val="000000"/>
                </a:solidFill>
              </a:rPr>
              <a:t> Invest</a:t>
            </a:r>
          </a:p>
          <a:p>
            <a:endParaRPr lang="en-US" sz="2400" b="1" i="1" dirty="0">
              <a:solidFill>
                <a:srgbClr val="000000"/>
              </a:solidFill>
            </a:endParaRPr>
          </a:p>
          <a:p>
            <a:r>
              <a:rPr lang="en-US" sz="2000" b="1" i="1" dirty="0">
                <a:solidFill>
                  <a:srgbClr val="000000"/>
                </a:solidFill>
              </a:rPr>
              <a:t>Contractor de :</a:t>
            </a:r>
          </a:p>
          <a:p>
            <a:r>
              <a:rPr lang="en-US" sz="2000" b="1" i="1" dirty="0" err="1">
                <a:solidFill>
                  <a:srgbClr val="000000"/>
                </a:solidFill>
              </a:rPr>
              <a:t>Instalatii</a:t>
            </a:r>
            <a:r>
              <a:rPr lang="en-US" sz="2000" b="1" i="1" dirty="0">
                <a:solidFill>
                  <a:srgbClr val="000000"/>
                </a:solidFill>
              </a:rPr>
              <a:t> :           </a:t>
            </a:r>
            <a:r>
              <a:rPr lang="en-US" sz="2200" b="1" i="1" dirty="0">
                <a:solidFill>
                  <a:srgbClr val="000000"/>
                </a:solidFill>
              </a:rPr>
              <a:t>TIAB Pitesti </a:t>
            </a:r>
          </a:p>
          <a:p>
            <a:endParaRPr lang="en-US" sz="2400" b="1" i="1" dirty="0">
              <a:solidFill>
                <a:srgbClr val="000000"/>
              </a:solidFill>
            </a:endParaRPr>
          </a:p>
          <a:p>
            <a:r>
              <a:rPr lang="en-US" sz="2000" b="1" i="1" dirty="0">
                <a:solidFill>
                  <a:srgbClr val="000000"/>
                </a:solidFill>
              </a:rPr>
              <a:t>Constructor de </a:t>
            </a:r>
          </a:p>
          <a:p>
            <a:r>
              <a:rPr lang="en-US" sz="2000" b="1" i="1" dirty="0" err="1">
                <a:solidFill>
                  <a:srgbClr val="000000"/>
                </a:solidFill>
              </a:rPr>
              <a:t>tablouri</a:t>
            </a:r>
            <a:r>
              <a:rPr lang="en-US" sz="2000" b="1" i="1" dirty="0">
                <a:solidFill>
                  <a:srgbClr val="000000"/>
                </a:solidFill>
              </a:rPr>
              <a:t> </a:t>
            </a:r>
            <a:r>
              <a:rPr lang="en-US" sz="2000" b="1" i="1" dirty="0" err="1">
                <a:solidFill>
                  <a:srgbClr val="000000"/>
                </a:solidFill>
              </a:rPr>
              <a:t>electrice</a:t>
            </a:r>
            <a:r>
              <a:rPr lang="en-US" sz="2000" b="1" i="1" dirty="0">
                <a:solidFill>
                  <a:srgbClr val="000000"/>
                </a:solidFill>
              </a:rPr>
              <a:t>:   </a:t>
            </a:r>
            <a:r>
              <a:rPr lang="en-US" sz="2200" b="1" i="1" dirty="0">
                <a:solidFill>
                  <a:srgbClr val="000000"/>
                </a:solidFill>
              </a:rPr>
              <a:t>Medium Electric </a:t>
            </a:r>
            <a:r>
              <a:rPr lang="en-US" sz="2200" b="1" i="1" dirty="0" err="1">
                <a:solidFill>
                  <a:srgbClr val="000000"/>
                </a:solidFill>
              </a:rPr>
              <a:t>srl</a:t>
            </a:r>
            <a:endParaRPr lang="en-US" sz="2200" b="1" i="1" dirty="0">
              <a:solidFill>
                <a:srgbClr val="000000"/>
              </a:solidFill>
            </a:endParaRPr>
          </a:p>
        </p:txBody>
      </p:sp>
      <p:pic>
        <p:nvPicPr>
          <p:cNvPr id="1026" name="Picture 2" descr="C:\Users\SESA21~1\AppData\Local\Temp\notesFFF692\~0740427.jpg"/>
          <p:cNvPicPr>
            <a:picLocks noChangeAspect="1" noChangeArrowheads="1"/>
          </p:cNvPicPr>
          <p:nvPr/>
        </p:nvPicPr>
        <p:blipFill>
          <a:blip r:embed="rId3" cstate="print"/>
          <a:srcRect/>
          <a:stretch>
            <a:fillRect/>
          </a:stretch>
        </p:blipFill>
        <p:spPr bwMode="auto">
          <a:xfrm>
            <a:off x="6071375" y="1672596"/>
            <a:ext cx="6117449" cy="3441065"/>
          </a:xfrm>
          <a:prstGeom prst="rect">
            <a:avLst/>
          </a:prstGeom>
          <a:noFill/>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p:cNvSpPr>
            <a:spLocks noGrp="1"/>
          </p:cNvSpPr>
          <p:nvPr>
            <p:ph sz="quarter" idx="11"/>
          </p:nvPr>
        </p:nvSpPr>
        <p:spPr>
          <a:xfrm>
            <a:off x="-27710" y="1959433"/>
            <a:ext cx="6081445" cy="1770743"/>
          </a:xfrm>
        </p:spPr>
        <p:txBody>
          <a:bodyPr/>
          <a:lstStyle/>
          <a:p>
            <a:r>
              <a:rPr lang="en-US" sz="4300" b="1" dirty="0" err="1">
                <a:solidFill>
                  <a:schemeClr val="tx1"/>
                </a:solidFill>
              </a:rPr>
              <a:t>Tema</a:t>
            </a:r>
            <a:r>
              <a:rPr lang="en-US" sz="4300" b="1" dirty="0">
                <a:solidFill>
                  <a:schemeClr val="tx1"/>
                </a:solidFill>
              </a:rPr>
              <a:t> de </a:t>
            </a:r>
            <a:r>
              <a:rPr lang="en-US" sz="4300" b="1" dirty="0" err="1">
                <a:solidFill>
                  <a:schemeClr val="tx1"/>
                </a:solidFill>
              </a:rPr>
              <a:t>proiectare</a:t>
            </a:r>
            <a:endParaRPr lang="en-US" sz="4300" b="1" dirty="0">
              <a:solidFill>
                <a:schemeClr val="tx1"/>
              </a:solidFill>
            </a:endParaRPr>
          </a:p>
          <a:p>
            <a:endParaRPr lang="en-US" dirty="0"/>
          </a:p>
          <a:p>
            <a:endParaRPr lang="en-US" dirty="0"/>
          </a:p>
        </p:txBody>
      </p:sp>
      <p:sp>
        <p:nvSpPr>
          <p:cNvPr id="15" name="Text Placeholder 14"/>
          <p:cNvSpPr>
            <a:spLocks noGrp="1"/>
          </p:cNvSpPr>
          <p:nvPr>
            <p:ph type="body" sz="quarter" idx="12"/>
          </p:nvPr>
        </p:nvSpPr>
        <p:spPr>
          <a:xfrm>
            <a:off x="7507249" y="527716"/>
            <a:ext cx="4681577" cy="429293"/>
          </a:xfrm>
        </p:spPr>
        <p:txBody>
          <a:bodyPr/>
          <a:lstStyle/>
          <a:p>
            <a:r>
              <a:rPr lang="en-US" dirty="0">
                <a:solidFill>
                  <a:schemeClr val="tx1"/>
                </a:solidFill>
              </a:rPr>
              <a:t>        </a:t>
            </a:r>
          </a:p>
        </p:txBody>
      </p:sp>
      <p:sp>
        <p:nvSpPr>
          <p:cNvPr id="20" name="Text Placeholder 19"/>
          <p:cNvSpPr>
            <a:spLocks noGrp="1"/>
          </p:cNvSpPr>
          <p:nvPr>
            <p:ph type="body" sz="quarter" idx="17"/>
          </p:nvPr>
        </p:nvSpPr>
        <p:spPr>
          <a:xfrm>
            <a:off x="7462991" y="647499"/>
            <a:ext cx="4518338" cy="393476"/>
          </a:xfrm>
        </p:spPr>
        <p:txBody>
          <a:bodyPr/>
          <a:lstStyle/>
          <a:p>
            <a:r>
              <a:rPr lang="en-US" dirty="0" err="1">
                <a:solidFill>
                  <a:schemeClr val="tx1"/>
                </a:solidFill>
              </a:rPr>
              <a:t>Arhitectura</a:t>
            </a:r>
            <a:r>
              <a:rPr lang="en-US" dirty="0">
                <a:solidFill>
                  <a:schemeClr val="tx1"/>
                </a:solidFill>
              </a:rPr>
              <a:t> </a:t>
            </a:r>
            <a:r>
              <a:rPr lang="en-US" dirty="0" err="1">
                <a:solidFill>
                  <a:schemeClr val="tx1"/>
                </a:solidFill>
              </a:rPr>
              <a:t>flexibila</a:t>
            </a:r>
            <a:r>
              <a:rPr lang="en-US" dirty="0">
                <a:solidFill>
                  <a:schemeClr val="tx1"/>
                </a:solidFill>
              </a:rPr>
              <a:t> de </a:t>
            </a:r>
            <a:r>
              <a:rPr lang="en-US" dirty="0" err="1">
                <a:solidFill>
                  <a:schemeClr val="tx1"/>
                </a:solidFill>
              </a:rPr>
              <a:t>distributie</a:t>
            </a:r>
            <a:r>
              <a:rPr lang="en-US" dirty="0">
                <a:solidFill>
                  <a:schemeClr val="tx1"/>
                </a:solidFill>
              </a:rPr>
              <a:t> a    </a:t>
            </a:r>
          </a:p>
          <a:p>
            <a:r>
              <a:rPr lang="en-US" dirty="0">
                <a:solidFill>
                  <a:schemeClr val="tx1"/>
                </a:solidFill>
              </a:rPr>
              <a:t> </a:t>
            </a:r>
            <a:r>
              <a:rPr lang="en-US" dirty="0" err="1">
                <a:solidFill>
                  <a:schemeClr val="tx1"/>
                </a:solidFill>
              </a:rPr>
              <a:t>energiei</a:t>
            </a:r>
            <a:r>
              <a:rPr lang="en-US" dirty="0">
                <a:solidFill>
                  <a:schemeClr val="tx1"/>
                </a:solidFill>
              </a:rPr>
              <a:t> </a:t>
            </a:r>
            <a:r>
              <a:rPr lang="en-US" dirty="0" err="1">
                <a:solidFill>
                  <a:schemeClr val="tx1"/>
                </a:solidFill>
              </a:rPr>
              <a:t>electrice</a:t>
            </a:r>
            <a:r>
              <a:rPr lang="en-US" dirty="0">
                <a:solidFill>
                  <a:schemeClr val="tx1"/>
                </a:solidFill>
              </a:rPr>
              <a:t> </a:t>
            </a:r>
            <a:r>
              <a:rPr lang="en-US" dirty="0" err="1">
                <a:solidFill>
                  <a:schemeClr val="tx1"/>
                </a:solidFill>
              </a:rPr>
              <a:t>pentru</a:t>
            </a:r>
            <a:r>
              <a:rPr lang="en-US" dirty="0">
                <a:solidFill>
                  <a:schemeClr val="tx1"/>
                </a:solidFill>
              </a:rPr>
              <a:t> </a:t>
            </a:r>
            <a:r>
              <a:rPr lang="en-US" dirty="0" err="1">
                <a:solidFill>
                  <a:schemeClr val="tx1"/>
                </a:solidFill>
              </a:rPr>
              <a:t>forta</a:t>
            </a:r>
            <a:r>
              <a:rPr lang="en-US" dirty="0">
                <a:solidFill>
                  <a:schemeClr val="tx1"/>
                </a:solidFill>
              </a:rPr>
              <a:t> </a:t>
            </a:r>
            <a:r>
              <a:rPr lang="en-US" dirty="0" err="1">
                <a:solidFill>
                  <a:schemeClr val="tx1"/>
                </a:solidFill>
              </a:rPr>
              <a:t>si</a:t>
            </a:r>
            <a:r>
              <a:rPr lang="en-US" dirty="0">
                <a:solidFill>
                  <a:schemeClr val="tx1"/>
                </a:solidFill>
              </a:rPr>
              <a:t> </a:t>
            </a:r>
            <a:r>
              <a:rPr lang="en-US" dirty="0" err="1">
                <a:solidFill>
                  <a:schemeClr val="tx1"/>
                </a:solidFill>
              </a:rPr>
              <a:t>iluminat</a:t>
            </a:r>
            <a:endParaRPr lang="en-US" dirty="0">
              <a:solidFill>
                <a:schemeClr val="tx1"/>
              </a:solidFill>
            </a:endParaRPr>
          </a:p>
          <a:p>
            <a:r>
              <a:rPr lang="en-US" dirty="0">
                <a:solidFill>
                  <a:schemeClr val="tx1"/>
                </a:solidFill>
              </a:rPr>
              <a:t>           </a:t>
            </a:r>
            <a:endParaRPr lang="en-US" sz="2400" dirty="0">
              <a:solidFill>
                <a:schemeClr val="tx2"/>
              </a:solidFill>
            </a:endParaRPr>
          </a:p>
        </p:txBody>
      </p:sp>
      <p:sp>
        <p:nvSpPr>
          <p:cNvPr id="22" name="Text Placeholder 21"/>
          <p:cNvSpPr>
            <a:spLocks noGrp="1"/>
          </p:cNvSpPr>
          <p:nvPr>
            <p:ph type="body" sz="quarter" idx="19"/>
          </p:nvPr>
        </p:nvSpPr>
        <p:spPr>
          <a:xfrm>
            <a:off x="7462991" y="1718083"/>
            <a:ext cx="3964461" cy="722216"/>
          </a:xfrm>
        </p:spPr>
        <p:txBody>
          <a:bodyPr/>
          <a:lstStyle/>
          <a:p>
            <a:r>
              <a:rPr lang="en-US" dirty="0" err="1">
                <a:solidFill>
                  <a:schemeClr val="tx1"/>
                </a:solidFill>
              </a:rPr>
              <a:t>Monitorizarea</a:t>
            </a:r>
            <a:r>
              <a:rPr lang="en-US" dirty="0">
                <a:solidFill>
                  <a:schemeClr val="tx1"/>
                </a:solidFill>
              </a:rPr>
              <a:t> </a:t>
            </a:r>
            <a:r>
              <a:rPr lang="en-US" dirty="0" err="1">
                <a:solidFill>
                  <a:schemeClr val="tx1"/>
                </a:solidFill>
              </a:rPr>
              <a:t>starii</a:t>
            </a:r>
            <a:r>
              <a:rPr lang="en-US" dirty="0">
                <a:solidFill>
                  <a:schemeClr val="tx1"/>
                </a:solidFill>
              </a:rPr>
              <a:t> </a:t>
            </a:r>
            <a:r>
              <a:rPr lang="en-US" dirty="0" err="1">
                <a:solidFill>
                  <a:schemeClr val="tx1"/>
                </a:solidFill>
              </a:rPr>
              <a:t>deschis</a:t>
            </a:r>
            <a:r>
              <a:rPr lang="en-US" dirty="0">
                <a:solidFill>
                  <a:schemeClr val="tx1"/>
                </a:solidFill>
              </a:rPr>
              <a:t>/</a:t>
            </a:r>
            <a:r>
              <a:rPr lang="en-US" dirty="0" err="1">
                <a:solidFill>
                  <a:schemeClr val="tx1"/>
                </a:solidFill>
              </a:rPr>
              <a:t>inchis</a:t>
            </a:r>
            <a:r>
              <a:rPr lang="en-US" dirty="0">
                <a:solidFill>
                  <a:schemeClr val="tx1"/>
                </a:solidFill>
              </a:rPr>
              <a:t> a </a:t>
            </a:r>
            <a:r>
              <a:rPr lang="en-US" dirty="0" err="1">
                <a:solidFill>
                  <a:schemeClr val="tx1"/>
                </a:solidFill>
              </a:rPr>
              <a:t>disujunctoarelor</a:t>
            </a:r>
            <a:endParaRPr lang="en-US" dirty="0">
              <a:solidFill>
                <a:schemeClr val="tx1"/>
              </a:solidFill>
            </a:endParaRPr>
          </a:p>
        </p:txBody>
      </p:sp>
      <p:sp>
        <p:nvSpPr>
          <p:cNvPr id="12" name="Rectangle 11"/>
          <p:cNvSpPr/>
          <p:nvPr/>
        </p:nvSpPr>
        <p:spPr>
          <a:xfrm>
            <a:off x="7462991" y="1040975"/>
            <a:ext cx="4330080" cy="677108"/>
          </a:xfrm>
          <a:prstGeom prst="rect">
            <a:avLst/>
          </a:prstGeom>
        </p:spPr>
        <p:txBody>
          <a:bodyPr wrap="square">
            <a:spAutoFit/>
          </a:bodyPr>
          <a:lstStyle/>
          <a:p>
            <a:r>
              <a:rPr lang="en-US" b="1" dirty="0">
                <a:solidFill>
                  <a:schemeClr val="tx2"/>
                </a:solidFill>
              </a:rPr>
              <a:t> </a:t>
            </a:r>
            <a:r>
              <a:rPr lang="en-US" b="1" dirty="0" err="1">
                <a:solidFill>
                  <a:schemeClr val="tx2"/>
                </a:solidFill>
              </a:rPr>
              <a:t>D</a:t>
            </a:r>
            <a:r>
              <a:rPr lang="en-US" sz="1800" b="1" dirty="0" err="1">
                <a:solidFill>
                  <a:schemeClr val="tx2"/>
                </a:solidFill>
              </a:rPr>
              <a:t>istributie</a:t>
            </a:r>
            <a:r>
              <a:rPr lang="en-US" sz="1800" b="1" dirty="0">
                <a:solidFill>
                  <a:schemeClr val="tx2"/>
                </a:solidFill>
              </a:rPr>
              <a:t> </a:t>
            </a:r>
            <a:r>
              <a:rPr lang="en-US" sz="1800" b="1" dirty="0" err="1">
                <a:solidFill>
                  <a:schemeClr val="tx2"/>
                </a:solidFill>
              </a:rPr>
              <a:t>electrica</a:t>
            </a:r>
            <a:r>
              <a:rPr lang="en-US" sz="1800" b="1" dirty="0">
                <a:solidFill>
                  <a:schemeClr val="tx2"/>
                </a:solidFill>
              </a:rPr>
              <a:t> cu </a:t>
            </a:r>
            <a:r>
              <a:rPr lang="en-US" sz="1800" b="1" dirty="0" err="1">
                <a:solidFill>
                  <a:schemeClr val="tx2"/>
                </a:solidFill>
              </a:rPr>
              <a:t>bara</a:t>
            </a:r>
            <a:r>
              <a:rPr lang="en-US" sz="1800" b="1" dirty="0">
                <a:solidFill>
                  <a:schemeClr val="tx2"/>
                </a:solidFill>
              </a:rPr>
              <a:t>   </a:t>
            </a:r>
          </a:p>
          <a:p>
            <a:r>
              <a:rPr lang="en-US" sz="1800" b="1" dirty="0">
                <a:solidFill>
                  <a:schemeClr val="tx2"/>
                </a:solidFill>
              </a:rPr>
              <a:t> </a:t>
            </a:r>
            <a:r>
              <a:rPr lang="en-US" sz="1800" b="1" dirty="0" err="1">
                <a:solidFill>
                  <a:schemeClr val="tx2"/>
                </a:solidFill>
              </a:rPr>
              <a:t>capsulata</a:t>
            </a:r>
            <a:r>
              <a:rPr lang="en-US" sz="1800" b="1" dirty="0">
                <a:solidFill>
                  <a:schemeClr val="tx2"/>
                </a:solidFill>
              </a:rPr>
              <a:t> </a:t>
            </a:r>
            <a:r>
              <a:rPr lang="en-US" sz="1800" b="1" dirty="0" err="1">
                <a:solidFill>
                  <a:schemeClr val="tx2"/>
                </a:solidFill>
              </a:rPr>
              <a:t>Canalis</a:t>
            </a:r>
            <a:r>
              <a:rPr lang="en-US" sz="1800" b="1" dirty="0">
                <a:solidFill>
                  <a:schemeClr val="tx2"/>
                </a:solidFill>
              </a:rPr>
              <a:t> de </a:t>
            </a:r>
            <a:r>
              <a:rPr lang="en-US" sz="1800" b="1" dirty="0" err="1">
                <a:solidFill>
                  <a:schemeClr val="tx2"/>
                </a:solidFill>
              </a:rPr>
              <a:t>iluminat</a:t>
            </a:r>
            <a:endParaRPr lang="en-US" sz="1800" b="1" dirty="0">
              <a:solidFill>
                <a:schemeClr val="tx2"/>
              </a:solidFill>
            </a:endParaRPr>
          </a:p>
        </p:txBody>
      </p:sp>
      <p:sp>
        <p:nvSpPr>
          <p:cNvPr id="13" name="Rectangle 12"/>
          <p:cNvSpPr/>
          <p:nvPr/>
        </p:nvSpPr>
        <p:spPr>
          <a:xfrm>
            <a:off x="6194695" y="1141001"/>
            <a:ext cx="1268296" cy="384721"/>
          </a:xfrm>
          <a:prstGeom prst="rect">
            <a:avLst/>
          </a:prstGeom>
        </p:spPr>
        <p:txBody>
          <a:bodyPr wrap="none">
            <a:spAutoFit/>
          </a:bodyPr>
          <a:lstStyle/>
          <a:p>
            <a:r>
              <a:rPr lang="en-US" dirty="0"/>
              <a:t>    Solutia:</a:t>
            </a:r>
          </a:p>
        </p:txBody>
      </p:sp>
      <p:sp>
        <p:nvSpPr>
          <p:cNvPr id="18" name="Rectangle 17"/>
          <p:cNvSpPr/>
          <p:nvPr/>
        </p:nvSpPr>
        <p:spPr>
          <a:xfrm>
            <a:off x="6194694" y="2632659"/>
            <a:ext cx="1346191" cy="384721"/>
          </a:xfrm>
          <a:prstGeom prst="rect">
            <a:avLst/>
          </a:prstGeom>
        </p:spPr>
        <p:txBody>
          <a:bodyPr wrap="square">
            <a:spAutoFit/>
          </a:bodyPr>
          <a:lstStyle/>
          <a:p>
            <a:r>
              <a:rPr lang="en-US" dirty="0"/>
              <a:t>    Solutia:   </a:t>
            </a:r>
          </a:p>
        </p:txBody>
      </p:sp>
      <p:sp>
        <p:nvSpPr>
          <p:cNvPr id="19" name="Rectangle 18"/>
          <p:cNvSpPr/>
          <p:nvPr/>
        </p:nvSpPr>
        <p:spPr>
          <a:xfrm>
            <a:off x="7507249" y="2440299"/>
            <a:ext cx="4536131" cy="1200329"/>
          </a:xfrm>
          <a:prstGeom prst="rect">
            <a:avLst/>
          </a:prstGeom>
        </p:spPr>
        <p:txBody>
          <a:bodyPr wrap="square">
            <a:spAutoFit/>
          </a:bodyPr>
          <a:lstStyle/>
          <a:p>
            <a:pPr defTabSz="609396"/>
            <a:r>
              <a:rPr lang="en-US" sz="1800" b="1" dirty="0" err="1">
                <a:solidFill>
                  <a:schemeClr val="tx2"/>
                </a:solidFill>
              </a:rPr>
              <a:t>Utilizare</a:t>
            </a:r>
            <a:r>
              <a:rPr lang="en-US" sz="1800" b="1" dirty="0">
                <a:solidFill>
                  <a:schemeClr val="tx2"/>
                </a:solidFill>
              </a:rPr>
              <a:t> de </a:t>
            </a:r>
            <a:r>
              <a:rPr lang="en-US" sz="1800" b="1" dirty="0" err="1">
                <a:solidFill>
                  <a:schemeClr val="tx2"/>
                </a:solidFill>
              </a:rPr>
              <a:t>contacte</a:t>
            </a:r>
            <a:r>
              <a:rPr lang="en-US" sz="1800" b="1" dirty="0">
                <a:solidFill>
                  <a:schemeClr val="tx2"/>
                </a:solidFill>
              </a:rPr>
              <a:t> </a:t>
            </a:r>
            <a:r>
              <a:rPr lang="en-US" sz="1800" b="1" dirty="0" err="1">
                <a:solidFill>
                  <a:schemeClr val="tx2"/>
                </a:solidFill>
              </a:rPr>
              <a:t>auxiliare</a:t>
            </a:r>
            <a:r>
              <a:rPr lang="en-US" sz="1800" b="1" dirty="0">
                <a:solidFill>
                  <a:schemeClr val="tx2"/>
                </a:solidFill>
              </a:rPr>
              <a:t> de </a:t>
            </a:r>
            <a:r>
              <a:rPr lang="en-US" sz="1800" b="1" dirty="0" err="1">
                <a:solidFill>
                  <a:schemeClr val="tx2"/>
                </a:solidFill>
              </a:rPr>
              <a:t>nivel</a:t>
            </a:r>
            <a:r>
              <a:rPr lang="en-US" sz="1800" b="1" dirty="0">
                <a:solidFill>
                  <a:schemeClr val="tx2"/>
                </a:solidFill>
              </a:rPr>
              <a:t> </a:t>
            </a:r>
            <a:r>
              <a:rPr lang="en-US" sz="1800" b="1" dirty="0" err="1">
                <a:solidFill>
                  <a:schemeClr val="tx2"/>
                </a:solidFill>
              </a:rPr>
              <a:t>scazut</a:t>
            </a:r>
            <a:r>
              <a:rPr lang="en-US" sz="1800" b="1" dirty="0">
                <a:solidFill>
                  <a:schemeClr val="tx2"/>
                </a:solidFill>
              </a:rPr>
              <a:t> </a:t>
            </a:r>
            <a:r>
              <a:rPr lang="en-US" sz="1800" b="1" dirty="0" err="1">
                <a:solidFill>
                  <a:schemeClr val="tx2"/>
                </a:solidFill>
              </a:rPr>
              <a:t>atasate</a:t>
            </a:r>
            <a:r>
              <a:rPr lang="en-US" sz="1800" b="1" dirty="0">
                <a:solidFill>
                  <a:schemeClr val="tx2"/>
                </a:solidFill>
              </a:rPr>
              <a:t> </a:t>
            </a:r>
            <a:r>
              <a:rPr lang="en-US" sz="1800" b="1" dirty="0" err="1">
                <a:solidFill>
                  <a:schemeClr val="tx2"/>
                </a:solidFill>
              </a:rPr>
              <a:t>disjunctoarelor</a:t>
            </a:r>
            <a:r>
              <a:rPr lang="en-US" sz="1800" b="1" dirty="0">
                <a:solidFill>
                  <a:schemeClr val="tx2"/>
                </a:solidFill>
              </a:rPr>
              <a:t> din </a:t>
            </a:r>
            <a:r>
              <a:rPr lang="en-US" sz="1800" b="1" dirty="0" err="1">
                <a:solidFill>
                  <a:schemeClr val="tx2"/>
                </a:solidFill>
              </a:rPr>
              <a:t>tablourile</a:t>
            </a:r>
            <a:r>
              <a:rPr lang="en-US" sz="1800" b="1" dirty="0">
                <a:solidFill>
                  <a:schemeClr val="tx2"/>
                </a:solidFill>
              </a:rPr>
              <a:t> </a:t>
            </a:r>
            <a:r>
              <a:rPr lang="en-US" sz="1800" b="1" dirty="0" err="1">
                <a:solidFill>
                  <a:schemeClr val="tx2"/>
                </a:solidFill>
              </a:rPr>
              <a:t>generale</a:t>
            </a:r>
            <a:r>
              <a:rPr lang="en-US" sz="1800" b="1" dirty="0">
                <a:solidFill>
                  <a:schemeClr val="tx2"/>
                </a:solidFill>
              </a:rPr>
              <a:t> </a:t>
            </a:r>
            <a:r>
              <a:rPr lang="en-US" sz="1800" b="1" dirty="0" err="1">
                <a:solidFill>
                  <a:schemeClr val="tx2"/>
                </a:solidFill>
              </a:rPr>
              <a:t>si</a:t>
            </a:r>
            <a:r>
              <a:rPr lang="en-US" sz="1800" b="1" dirty="0">
                <a:solidFill>
                  <a:schemeClr val="tx2"/>
                </a:solidFill>
              </a:rPr>
              <a:t> </a:t>
            </a:r>
            <a:r>
              <a:rPr lang="en-US" sz="1800" b="1" dirty="0" err="1">
                <a:solidFill>
                  <a:schemeClr val="tx2"/>
                </a:solidFill>
              </a:rPr>
              <a:t>comunicatie</a:t>
            </a:r>
            <a:r>
              <a:rPr lang="en-US" sz="1800" b="1" dirty="0">
                <a:solidFill>
                  <a:schemeClr val="tx2"/>
                </a:solidFill>
              </a:rPr>
              <a:t> cu </a:t>
            </a:r>
            <a:r>
              <a:rPr lang="en-US" sz="1800" b="1" dirty="0" err="1">
                <a:solidFill>
                  <a:schemeClr val="tx2"/>
                </a:solidFill>
              </a:rPr>
              <a:t>Smartlink</a:t>
            </a:r>
            <a:endParaRPr lang="en-US" sz="1800" b="1" dirty="0">
              <a:solidFill>
                <a:schemeClr val="tx2"/>
              </a:solidFill>
            </a:endParaRPr>
          </a:p>
        </p:txBody>
      </p:sp>
      <p:sp>
        <p:nvSpPr>
          <p:cNvPr id="26" name="Text Placeholder 16"/>
          <p:cNvSpPr>
            <a:spLocks noGrp="1"/>
          </p:cNvSpPr>
          <p:nvPr>
            <p:ph type="body" sz="quarter" idx="14"/>
          </p:nvPr>
        </p:nvSpPr>
        <p:spPr>
          <a:xfrm>
            <a:off x="6805749" y="1752128"/>
            <a:ext cx="377026" cy="414609"/>
          </a:xfrm>
        </p:spPr>
        <p:txBody>
          <a:bodyPr/>
          <a:lstStyle/>
          <a:p>
            <a:endParaRPr lang="en-US" dirty="0"/>
          </a:p>
          <a:p>
            <a:r>
              <a:rPr lang="en-US" dirty="0"/>
              <a:t>2</a:t>
            </a:r>
          </a:p>
        </p:txBody>
      </p:sp>
      <p:sp>
        <p:nvSpPr>
          <p:cNvPr id="21" name="Text Placeholder 20"/>
          <p:cNvSpPr>
            <a:spLocks noGrp="1"/>
          </p:cNvSpPr>
          <p:nvPr>
            <p:ph type="body" sz="quarter" idx="14"/>
          </p:nvPr>
        </p:nvSpPr>
        <p:spPr>
          <a:xfrm>
            <a:off x="6805749" y="563533"/>
            <a:ext cx="377026" cy="393476"/>
          </a:xfrm>
        </p:spPr>
        <p:txBody>
          <a:bodyPr/>
          <a:lstStyle/>
          <a:p>
            <a:r>
              <a:rPr lang="en-US" dirty="0"/>
              <a:t>1.</a:t>
            </a:r>
          </a:p>
        </p:txBody>
      </p:sp>
      <p:grpSp>
        <p:nvGrpSpPr>
          <p:cNvPr id="2" name="Group 29"/>
          <p:cNvGrpSpPr/>
          <p:nvPr/>
        </p:nvGrpSpPr>
        <p:grpSpPr>
          <a:xfrm>
            <a:off x="6194695" y="3870814"/>
            <a:ext cx="7361121" cy="1233248"/>
            <a:chOff x="6194695" y="3813720"/>
            <a:chExt cx="7361121" cy="1233248"/>
          </a:xfrm>
        </p:grpSpPr>
        <p:sp>
          <p:nvSpPr>
            <p:cNvPr id="23" name="Rectangle 22"/>
            <p:cNvSpPr/>
            <p:nvPr/>
          </p:nvSpPr>
          <p:spPr>
            <a:xfrm>
              <a:off x="6194695" y="4500663"/>
              <a:ext cx="1470274" cy="384721"/>
            </a:xfrm>
            <a:prstGeom prst="rect">
              <a:avLst/>
            </a:prstGeom>
          </p:spPr>
          <p:txBody>
            <a:bodyPr wrap="square">
              <a:spAutoFit/>
            </a:bodyPr>
            <a:lstStyle/>
            <a:p>
              <a:r>
                <a:rPr lang="en-US" dirty="0"/>
                <a:t>    Solutia:   </a:t>
              </a:r>
            </a:p>
          </p:txBody>
        </p:sp>
        <p:sp>
          <p:nvSpPr>
            <p:cNvPr id="25" name="Rectangle 24"/>
            <p:cNvSpPr/>
            <p:nvPr/>
          </p:nvSpPr>
          <p:spPr>
            <a:xfrm>
              <a:off x="7462991" y="4400637"/>
              <a:ext cx="6092825" cy="646331"/>
            </a:xfrm>
            <a:prstGeom prst="rect">
              <a:avLst/>
            </a:prstGeom>
          </p:spPr>
          <p:txBody>
            <a:bodyPr>
              <a:spAutoFit/>
            </a:bodyPr>
            <a:lstStyle/>
            <a:p>
              <a:pPr defTabSz="609396"/>
              <a:r>
                <a:rPr lang="en-US" sz="1800" b="1" dirty="0" err="1">
                  <a:solidFill>
                    <a:schemeClr val="tx2"/>
                  </a:solidFill>
                </a:rPr>
                <a:t>Contoare</a:t>
              </a:r>
              <a:r>
                <a:rPr lang="en-US" sz="1800" b="1" dirty="0">
                  <a:solidFill>
                    <a:schemeClr val="tx2"/>
                  </a:solidFill>
                </a:rPr>
                <a:t> de </a:t>
              </a:r>
              <a:r>
                <a:rPr lang="en-US" sz="1800" b="1" dirty="0" err="1">
                  <a:solidFill>
                    <a:schemeClr val="tx2"/>
                  </a:solidFill>
                </a:rPr>
                <a:t>energie</a:t>
              </a:r>
              <a:r>
                <a:rPr lang="en-US" sz="1800" b="1" dirty="0">
                  <a:solidFill>
                    <a:schemeClr val="tx2"/>
                  </a:solidFill>
                </a:rPr>
                <a:t> </a:t>
              </a:r>
              <a:r>
                <a:rPr lang="en-US" sz="1800" b="1" dirty="0" err="1">
                  <a:solidFill>
                    <a:schemeClr val="tx2"/>
                  </a:solidFill>
                </a:rPr>
                <a:t>electrica</a:t>
              </a:r>
              <a:r>
                <a:rPr lang="en-US" sz="1800" b="1" dirty="0">
                  <a:solidFill>
                    <a:schemeClr val="tx2"/>
                  </a:solidFill>
                </a:rPr>
                <a:t> </a:t>
              </a:r>
            </a:p>
            <a:p>
              <a:pPr defTabSz="609396"/>
              <a:r>
                <a:rPr lang="en-US" sz="1800" b="1" dirty="0">
                  <a:solidFill>
                    <a:schemeClr val="tx2"/>
                  </a:solidFill>
                </a:rPr>
                <a:t>legate in </a:t>
              </a:r>
              <a:r>
                <a:rPr lang="en-US" sz="1800" b="1" dirty="0" err="1">
                  <a:solidFill>
                    <a:schemeClr val="tx2"/>
                  </a:solidFill>
                </a:rPr>
                <a:t>reteaua</a:t>
              </a:r>
              <a:r>
                <a:rPr lang="en-US" sz="1800" b="1" dirty="0">
                  <a:solidFill>
                    <a:schemeClr val="tx2"/>
                  </a:solidFill>
                </a:rPr>
                <a:t> de </a:t>
              </a:r>
              <a:r>
                <a:rPr lang="en-US" sz="1800" b="1" dirty="0" err="1">
                  <a:solidFill>
                    <a:schemeClr val="tx2"/>
                  </a:solidFill>
                </a:rPr>
                <a:t>comunicatie</a:t>
              </a:r>
              <a:endParaRPr lang="en-US" sz="1800" b="1" dirty="0">
                <a:solidFill>
                  <a:schemeClr val="tx2"/>
                </a:solidFill>
              </a:endParaRPr>
            </a:p>
          </p:txBody>
        </p:sp>
        <p:sp>
          <p:nvSpPr>
            <p:cNvPr id="27" name="Rectangle 26"/>
            <p:cNvSpPr/>
            <p:nvPr/>
          </p:nvSpPr>
          <p:spPr>
            <a:xfrm>
              <a:off x="6817660" y="3813720"/>
              <a:ext cx="376518" cy="384721"/>
            </a:xfrm>
            <a:prstGeom prst="rect">
              <a:avLst/>
            </a:prstGeom>
          </p:spPr>
          <p:txBody>
            <a:bodyPr wrap="square">
              <a:spAutoFit/>
            </a:bodyPr>
            <a:lstStyle/>
            <a:p>
              <a:r>
                <a:rPr lang="en-US" dirty="0"/>
                <a:t>3</a:t>
              </a:r>
            </a:p>
          </p:txBody>
        </p:sp>
        <p:sp>
          <p:nvSpPr>
            <p:cNvPr id="29" name="Rectangle 28"/>
            <p:cNvSpPr/>
            <p:nvPr/>
          </p:nvSpPr>
          <p:spPr>
            <a:xfrm>
              <a:off x="7507249" y="3813721"/>
              <a:ext cx="3427541" cy="353943"/>
            </a:xfrm>
            <a:prstGeom prst="rect">
              <a:avLst/>
            </a:prstGeom>
          </p:spPr>
          <p:txBody>
            <a:bodyPr wrap="none">
              <a:spAutoFit/>
            </a:bodyPr>
            <a:lstStyle/>
            <a:p>
              <a:r>
                <a:rPr lang="en-US" sz="1700" b="1" dirty="0" err="1"/>
                <a:t>Contorizarea</a:t>
              </a:r>
              <a:r>
                <a:rPr lang="en-US" sz="1700" b="1" dirty="0"/>
                <a:t> </a:t>
              </a:r>
              <a:r>
                <a:rPr lang="en-US" sz="1700" b="1" dirty="0" err="1"/>
                <a:t>energiei</a:t>
              </a:r>
              <a:r>
                <a:rPr lang="en-US" sz="1700" b="1" dirty="0"/>
                <a:t> </a:t>
              </a:r>
              <a:r>
                <a:rPr lang="en-US" sz="1700" b="1" dirty="0" err="1"/>
                <a:t>electrice</a:t>
              </a:r>
              <a:r>
                <a:rPr lang="en-US" sz="1700" b="1" dirty="0"/>
                <a:t> </a:t>
              </a: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p:cNvSpPr>
            <a:spLocks noGrp="1"/>
          </p:cNvSpPr>
          <p:nvPr>
            <p:ph sz="quarter" idx="11"/>
          </p:nvPr>
        </p:nvSpPr>
        <p:spPr>
          <a:xfrm>
            <a:off x="-10070" y="188690"/>
            <a:ext cx="6081445" cy="1104533"/>
          </a:xfrm>
        </p:spPr>
        <p:txBody>
          <a:bodyPr/>
          <a:lstStyle/>
          <a:p>
            <a:r>
              <a:rPr lang="en-US" sz="4300" b="1" dirty="0" err="1">
                <a:solidFill>
                  <a:srgbClr val="000000"/>
                </a:solidFill>
              </a:rPr>
              <a:t>Poveste</a:t>
            </a:r>
            <a:r>
              <a:rPr lang="en-US" sz="4300" b="1" dirty="0">
                <a:solidFill>
                  <a:srgbClr val="000000"/>
                </a:solidFill>
              </a:rPr>
              <a:t> de </a:t>
            </a:r>
            <a:r>
              <a:rPr lang="en-US" sz="4300" b="1" dirty="0" err="1">
                <a:solidFill>
                  <a:srgbClr val="000000"/>
                </a:solidFill>
              </a:rPr>
              <a:t>succes</a:t>
            </a:r>
            <a:endParaRPr lang="en-US" sz="4300" b="1" dirty="0">
              <a:solidFill>
                <a:srgbClr val="000000"/>
              </a:solidFill>
            </a:endParaRPr>
          </a:p>
          <a:p>
            <a:pPr>
              <a:buFontTx/>
              <a:buChar char="-"/>
            </a:pPr>
            <a:endParaRPr lang="en-US" sz="1600" b="1" dirty="0">
              <a:solidFill>
                <a:srgbClr val="000000"/>
              </a:solidFill>
            </a:endParaRPr>
          </a:p>
          <a:p>
            <a:pPr>
              <a:buFontTx/>
              <a:buChar char="-"/>
            </a:pPr>
            <a:endParaRPr lang="en-US" sz="1600" b="1" dirty="0">
              <a:solidFill>
                <a:srgbClr val="000000"/>
              </a:solidFill>
            </a:endParaRPr>
          </a:p>
          <a:p>
            <a:endParaRPr lang="en-US" sz="4300" b="1" dirty="0">
              <a:solidFill>
                <a:schemeClr val="tx1"/>
              </a:solidFill>
            </a:endParaRPr>
          </a:p>
          <a:p>
            <a:endParaRPr lang="en-US" sz="4300" b="1" dirty="0">
              <a:solidFill>
                <a:schemeClr val="tx1"/>
              </a:solidFill>
            </a:endParaRPr>
          </a:p>
          <a:p>
            <a:endParaRPr lang="en-US" sz="4300" b="1" dirty="0">
              <a:solidFill>
                <a:schemeClr val="tx1"/>
              </a:solidFill>
            </a:endParaRPr>
          </a:p>
          <a:p>
            <a:endParaRPr lang="en-US" sz="4300" b="1" dirty="0">
              <a:solidFill>
                <a:schemeClr val="tx1"/>
              </a:solidFill>
            </a:endParaRPr>
          </a:p>
          <a:p>
            <a:endParaRPr lang="en-US" dirty="0"/>
          </a:p>
          <a:p>
            <a:endParaRPr lang="en-US" dirty="0"/>
          </a:p>
        </p:txBody>
      </p:sp>
      <p:sp>
        <p:nvSpPr>
          <p:cNvPr id="4" name="Slide Number Placeholder 3"/>
          <p:cNvSpPr>
            <a:spLocks noGrp="1"/>
          </p:cNvSpPr>
          <p:nvPr>
            <p:ph type="sldNum" sz="quarter" idx="4"/>
          </p:nvPr>
        </p:nvSpPr>
        <p:spPr/>
        <p:txBody>
          <a:bodyPr/>
          <a:lstStyle/>
          <a:p>
            <a:r>
              <a:rPr lang="en-US"/>
              <a:t>Page </a:t>
            </a:r>
            <a:fld id="{5A9C12DC-491F-9444-86A2-13AC5C62A2FC}" type="slidenum">
              <a:rPr lang="en-US" smtClean="0"/>
              <a:pPr/>
              <a:t>19</a:t>
            </a:fld>
            <a:endParaRPr lang="en-US" dirty="0"/>
          </a:p>
        </p:txBody>
      </p:sp>
      <p:sp>
        <p:nvSpPr>
          <p:cNvPr id="5" name="Footer Placeholder 4"/>
          <p:cNvSpPr>
            <a:spLocks noGrp="1"/>
          </p:cNvSpPr>
          <p:nvPr>
            <p:ph type="ftr" sz="quarter" idx="3"/>
          </p:nvPr>
        </p:nvSpPr>
        <p:spPr/>
        <p:txBody>
          <a:bodyPr/>
          <a:lstStyle/>
          <a:p>
            <a:r>
              <a:rPr lang="en-US"/>
              <a:t>Confidential Property of Schneider Electric |</a:t>
            </a:r>
            <a:endParaRPr lang="en-US" dirty="0"/>
          </a:p>
        </p:txBody>
      </p:sp>
      <p:sp>
        <p:nvSpPr>
          <p:cNvPr id="19" name="TextBox 18"/>
          <p:cNvSpPr txBox="1"/>
          <p:nvPr/>
        </p:nvSpPr>
        <p:spPr>
          <a:xfrm>
            <a:off x="7257102" y="485024"/>
            <a:ext cx="3982629" cy="400110"/>
          </a:xfrm>
          <a:prstGeom prst="rect">
            <a:avLst/>
          </a:prstGeom>
          <a:noFill/>
        </p:spPr>
        <p:txBody>
          <a:bodyPr wrap="none" rtlCol="0">
            <a:spAutoFit/>
          </a:bodyPr>
          <a:lstStyle/>
          <a:p>
            <a:r>
              <a:rPr lang="en-US" sz="2000" b="1" dirty="0"/>
              <a:t>WDP Industrial Park </a:t>
            </a:r>
            <a:r>
              <a:rPr lang="en-US" sz="2000" b="1" dirty="0" err="1"/>
              <a:t>Rm</a:t>
            </a:r>
            <a:r>
              <a:rPr lang="en-US" sz="2000" b="1" dirty="0"/>
              <a:t> </a:t>
            </a:r>
            <a:r>
              <a:rPr lang="en-US" sz="2000" b="1" dirty="0" err="1"/>
              <a:t>Valcea</a:t>
            </a:r>
            <a:endParaRPr lang="en-US" sz="2000" b="1" dirty="0"/>
          </a:p>
        </p:txBody>
      </p:sp>
      <p:sp>
        <p:nvSpPr>
          <p:cNvPr id="27" name="TextBox 26"/>
          <p:cNvSpPr txBox="1"/>
          <p:nvPr/>
        </p:nvSpPr>
        <p:spPr>
          <a:xfrm>
            <a:off x="0" y="5660096"/>
            <a:ext cx="4892084" cy="646331"/>
          </a:xfrm>
          <a:prstGeom prst="rect">
            <a:avLst/>
          </a:prstGeom>
          <a:noFill/>
        </p:spPr>
        <p:txBody>
          <a:bodyPr wrap="square" rtlCol="0">
            <a:spAutoFit/>
          </a:bodyPr>
          <a:lstStyle/>
          <a:p>
            <a:r>
              <a:rPr lang="en-US" sz="1800" b="1" dirty="0">
                <a:solidFill>
                  <a:schemeClr val="bg1"/>
                </a:solidFill>
              </a:rPr>
              <a:t>“</a:t>
            </a:r>
            <a:r>
              <a:rPr lang="en-US" sz="1800" b="1" dirty="0">
                <a:solidFill>
                  <a:srgbClr val="000000"/>
                </a:solidFill>
              </a:rPr>
              <a:t>Un </a:t>
            </a:r>
            <a:r>
              <a:rPr lang="en-US" sz="1800" b="1" dirty="0" err="1">
                <a:solidFill>
                  <a:srgbClr val="000000"/>
                </a:solidFill>
              </a:rPr>
              <a:t>oras</a:t>
            </a:r>
            <a:r>
              <a:rPr lang="en-US" sz="1800" b="1" dirty="0">
                <a:solidFill>
                  <a:srgbClr val="000000"/>
                </a:solidFill>
              </a:rPr>
              <a:t> </a:t>
            </a:r>
            <a:r>
              <a:rPr lang="en-US" sz="1800" b="1" dirty="0" err="1">
                <a:solidFill>
                  <a:srgbClr val="000000"/>
                </a:solidFill>
              </a:rPr>
              <a:t>inteligent</a:t>
            </a:r>
            <a:r>
              <a:rPr lang="en-US" sz="1800" b="1" dirty="0">
                <a:solidFill>
                  <a:srgbClr val="000000"/>
                </a:solidFill>
              </a:rPr>
              <a:t> </a:t>
            </a:r>
            <a:r>
              <a:rPr lang="en-US" sz="1800" b="1" dirty="0" err="1">
                <a:solidFill>
                  <a:srgbClr val="000000"/>
                </a:solidFill>
              </a:rPr>
              <a:t>este</a:t>
            </a:r>
            <a:r>
              <a:rPr lang="en-US" sz="1800" b="1" dirty="0">
                <a:solidFill>
                  <a:srgbClr val="000000"/>
                </a:solidFill>
              </a:rPr>
              <a:t> </a:t>
            </a:r>
            <a:r>
              <a:rPr lang="en-US" sz="1800" b="1" dirty="0" err="1">
                <a:solidFill>
                  <a:srgbClr val="000000"/>
                </a:solidFill>
              </a:rPr>
              <a:t>locuit</a:t>
            </a:r>
            <a:r>
              <a:rPr lang="en-US" sz="1800" b="1" dirty="0">
                <a:solidFill>
                  <a:srgbClr val="000000"/>
                </a:solidFill>
              </a:rPr>
              <a:t> de</a:t>
            </a:r>
          </a:p>
          <a:p>
            <a:r>
              <a:rPr lang="en-US" sz="1800" b="1" dirty="0">
                <a:solidFill>
                  <a:srgbClr val="000000"/>
                </a:solidFill>
              </a:rPr>
              <a:t> </a:t>
            </a:r>
            <a:r>
              <a:rPr lang="en-US" sz="1800" b="1" dirty="0" err="1">
                <a:solidFill>
                  <a:srgbClr val="000000"/>
                </a:solidFill>
              </a:rPr>
              <a:t>oameni</a:t>
            </a:r>
            <a:r>
              <a:rPr lang="en-US" sz="1800" b="1" dirty="0">
                <a:solidFill>
                  <a:srgbClr val="000000"/>
                </a:solidFill>
              </a:rPr>
              <a:t> </a:t>
            </a:r>
            <a:r>
              <a:rPr lang="en-US" sz="1800" b="1" dirty="0" err="1">
                <a:solidFill>
                  <a:srgbClr val="000000"/>
                </a:solidFill>
              </a:rPr>
              <a:t>inteligenti</a:t>
            </a:r>
            <a:r>
              <a:rPr lang="en-US" sz="1800" b="1" dirty="0">
                <a:solidFill>
                  <a:srgbClr val="000000"/>
                </a:solidFill>
              </a:rPr>
              <a:t>!”</a:t>
            </a:r>
          </a:p>
        </p:txBody>
      </p:sp>
      <p:sp>
        <p:nvSpPr>
          <p:cNvPr id="9" name="Rectangle 8"/>
          <p:cNvSpPr/>
          <p:nvPr/>
        </p:nvSpPr>
        <p:spPr>
          <a:xfrm>
            <a:off x="129859" y="1735945"/>
            <a:ext cx="6092825" cy="3508653"/>
          </a:xfrm>
          <a:prstGeom prst="rect">
            <a:avLst/>
          </a:prstGeom>
        </p:spPr>
        <p:txBody>
          <a:bodyPr>
            <a:spAutoFit/>
          </a:bodyPr>
          <a:lstStyle/>
          <a:p>
            <a:r>
              <a:rPr lang="en-US" sz="2000" b="1" dirty="0" err="1">
                <a:solidFill>
                  <a:srgbClr val="000000"/>
                </a:solidFill>
              </a:rPr>
              <a:t>Beneficiar</a:t>
            </a:r>
            <a:r>
              <a:rPr lang="en-US" sz="2400" b="1" dirty="0">
                <a:solidFill>
                  <a:srgbClr val="000000"/>
                </a:solidFill>
              </a:rPr>
              <a:t>:    </a:t>
            </a:r>
            <a:r>
              <a:rPr lang="en-US" sz="2200" b="1" i="1" dirty="0" err="1">
                <a:solidFill>
                  <a:srgbClr val="000000"/>
                </a:solidFill>
              </a:rPr>
              <a:t>Faurecia</a:t>
            </a:r>
            <a:r>
              <a:rPr lang="en-US" sz="2200" b="1" i="1" dirty="0">
                <a:solidFill>
                  <a:srgbClr val="000000"/>
                </a:solidFill>
              </a:rPr>
              <a:t> </a:t>
            </a:r>
            <a:r>
              <a:rPr lang="en-US" sz="2200" b="1" i="1" dirty="0" err="1">
                <a:solidFill>
                  <a:srgbClr val="000000"/>
                </a:solidFill>
              </a:rPr>
              <a:t>Rm</a:t>
            </a:r>
            <a:r>
              <a:rPr lang="en-US" sz="2200" b="1" i="1" dirty="0">
                <a:solidFill>
                  <a:srgbClr val="000000"/>
                </a:solidFill>
              </a:rPr>
              <a:t> </a:t>
            </a:r>
            <a:r>
              <a:rPr lang="en-US" sz="2200" b="1" i="1" dirty="0" err="1">
                <a:solidFill>
                  <a:srgbClr val="000000"/>
                </a:solidFill>
              </a:rPr>
              <a:t>Valcea</a:t>
            </a:r>
            <a:r>
              <a:rPr lang="en-US" sz="2200" b="1" i="1" dirty="0">
                <a:solidFill>
                  <a:srgbClr val="000000"/>
                </a:solidFill>
              </a:rPr>
              <a:t> </a:t>
            </a:r>
            <a:endParaRPr lang="en-US" sz="2400" b="1" dirty="0">
              <a:solidFill>
                <a:srgbClr val="000000"/>
              </a:solidFill>
            </a:endParaRPr>
          </a:p>
          <a:p>
            <a:endParaRPr lang="en-US" sz="2400" b="1" dirty="0">
              <a:solidFill>
                <a:srgbClr val="000000"/>
              </a:solidFill>
            </a:endParaRPr>
          </a:p>
          <a:p>
            <a:r>
              <a:rPr lang="en-US" sz="2000" b="1" i="1" dirty="0" err="1">
                <a:solidFill>
                  <a:srgbClr val="000000"/>
                </a:solidFill>
              </a:rPr>
              <a:t>Proiectant</a:t>
            </a:r>
            <a:r>
              <a:rPr lang="en-US" sz="2000" b="1" i="1" dirty="0">
                <a:solidFill>
                  <a:srgbClr val="000000"/>
                </a:solidFill>
              </a:rPr>
              <a:t> de</a:t>
            </a:r>
          </a:p>
          <a:p>
            <a:r>
              <a:rPr lang="en-US" sz="2000" b="1" i="1" dirty="0" err="1">
                <a:solidFill>
                  <a:srgbClr val="000000"/>
                </a:solidFill>
              </a:rPr>
              <a:t>Specialitate</a:t>
            </a:r>
            <a:r>
              <a:rPr lang="en-US" sz="2000" b="1" i="1" dirty="0">
                <a:solidFill>
                  <a:srgbClr val="000000"/>
                </a:solidFill>
              </a:rPr>
              <a:t>:      </a:t>
            </a:r>
            <a:r>
              <a:rPr lang="en-US" sz="2200" b="1" i="1" dirty="0">
                <a:solidFill>
                  <a:srgbClr val="000000"/>
                </a:solidFill>
              </a:rPr>
              <a:t>VRD  </a:t>
            </a:r>
            <a:r>
              <a:rPr lang="en-US" sz="2200" b="1" i="1" dirty="0" err="1">
                <a:solidFill>
                  <a:srgbClr val="000000"/>
                </a:solidFill>
              </a:rPr>
              <a:t>Proiect</a:t>
            </a:r>
            <a:r>
              <a:rPr lang="en-US" sz="2200" b="1" i="1" dirty="0">
                <a:solidFill>
                  <a:srgbClr val="000000"/>
                </a:solidFill>
              </a:rPr>
              <a:t> Invest</a:t>
            </a:r>
          </a:p>
          <a:p>
            <a:endParaRPr lang="en-US" sz="2400" b="1" i="1" dirty="0">
              <a:solidFill>
                <a:srgbClr val="000000"/>
              </a:solidFill>
            </a:endParaRPr>
          </a:p>
          <a:p>
            <a:r>
              <a:rPr lang="en-US" sz="2000" b="1" i="1" dirty="0">
                <a:solidFill>
                  <a:srgbClr val="000000"/>
                </a:solidFill>
              </a:rPr>
              <a:t>Contractor de :</a:t>
            </a:r>
          </a:p>
          <a:p>
            <a:r>
              <a:rPr lang="en-US" sz="2000" b="1" i="1" dirty="0" err="1">
                <a:solidFill>
                  <a:srgbClr val="000000"/>
                </a:solidFill>
              </a:rPr>
              <a:t>Instalatii</a:t>
            </a:r>
            <a:r>
              <a:rPr lang="en-US" sz="2000" b="1" i="1" dirty="0">
                <a:solidFill>
                  <a:srgbClr val="000000"/>
                </a:solidFill>
              </a:rPr>
              <a:t> :           </a:t>
            </a:r>
            <a:r>
              <a:rPr lang="en-US" sz="2200" b="1" i="1" dirty="0">
                <a:solidFill>
                  <a:srgbClr val="000000"/>
                </a:solidFill>
              </a:rPr>
              <a:t>TIAB Pitesti </a:t>
            </a:r>
          </a:p>
          <a:p>
            <a:endParaRPr lang="en-US" sz="2400" b="1" i="1" dirty="0">
              <a:solidFill>
                <a:srgbClr val="000000"/>
              </a:solidFill>
            </a:endParaRPr>
          </a:p>
          <a:p>
            <a:r>
              <a:rPr lang="en-US" sz="2000" b="1" i="1" dirty="0">
                <a:solidFill>
                  <a:srgbClr val="000000"/>
                </a:solidFill>
              </a:rPr>
              <a:t>Constructor de </a:t>
            </a:r>
          </a:p>
          <a:p>
            <a:r>
              <a:rPr lang="en-US" sz="2000" b="1" i="1" dirty="0" err="1">
                <a:solidFill>
                  <a:srgbClr val="000000"/>
                </a:solidFill>
              </a:rPr>
              <a:t>tablouri</a:t>
            </a:r>
            <a:r>
              <a:rPr lang="en-US" sz="2000" b="1" i="1" dirty="0">
                <a:solidFill>
                  <a:srgbClr val="000000"/>
                </a:solidFill>
              </a:rPr>
              <a:t> </a:t>
            </a:r>
            <a:r>
              <a:rPr lang="en-US" sz="2000" b="1" i="1" dirty="0" err="1">
                <a:solidFill>
                  <a:srgbClr val="000000"/>
                </a:solidFill>
              </a:rPr>
              <a:t>electrice</a:t>
            </a:r>
            <a:r>
              <a:rPr lang="en-US" sz="2000" b="1" i="1" dirty="0">
                <a:solidFill>
                  <a:srgbClr val="000000"/>
                </a:solidFill>
              </a:rPr>
              <a:t>:   </a:t>
            </a:r>
            <a:r>
              <a:rPr lang="en-US" sz="2200" b="1" i="1" dirty="0">
                <a:solidFill>
                  <a:srgbClr val="000000"/>
                </a:solidFill>
              </a:rPr>
              <a:t>Medium Electric </a:t>
            </a:r>
            <a:r>
              <a:rPr lang="en-US" sz="2200" b="1" i="1" dirty="0" err="1">
                <a:solidFill>
                  <a:srgbClr val="000000"/>
                </a:solidFill>
              </a:rPr>
              <a:t>srl</a:t>
            </a:r>
            <a:endParaRPr lang="en-US" sz="2200" b="1" i="1" dirty="0">
              <a:solidFill>
                <a:srgbClr val="000000"/>
              </a:solidFill>
            </a:endParaRPr>
          </a:p>
        </p:txBody>
      </p:sp>
      <p:pic>
        <p:nvPicPr>
          <p:cNvPr id="1026" name="Picture 2" descr="C:\Users\SESA21~1\AppData\Local\Temp\notesFFF692\~0740427.jpg"/>
          <p:cNvPicPr>
            <a:picLocks noChangeAspect="1" noChangeArrowheads="1"/>
          </p:cNvPicPr>
          <p:nvPr/>
        </p:nvPicPr>
        <p:blipFill>
          <a:blip r:embed="rId3" cstate="print"/>
          <a:srcRect/>
          <a:stretch>
            <a:fillRect/>
          </a:stretch>
        </p:blipFill>
        <p:spPr bwMode="auto">
          <a:xfrm>
            <a:off x="6071375" y="1672596"/>
            <a:ext cx="6117449" cy="3441065"/>
          </a:xfrm>
          <a:prstGeom prst="rect">
            <a:avLst/>
          </a:prstGeom>
          <a:noFill/>
        </p:spPr>
      </p:pic>
      <p:pic>
        <p:nvPicPr>
          <p:cNvPr id="1027" name="Picture 3" descr="C:\Users\SESA21~1\AppData\Local\Temp\notesFFF692\20160411_144436.jpg"/>
          <p:cNvPicPr>
            <a:picLocks noChangeAspect="1" noChangeArrowheads="1"/>
          </p:cNvPicPr>
          <p:nvPr/>
        </p:nvPicPr>
        <p:blipFill>
          <a:blip r:embed="rId4" cstate="print"/>
          <a:srcRect/>
          <a:stretch>
            <a:fillRect/>
          </a:stretch>
        </p:blipFill>
        <p:spPr bwMode="auto">
          <a:xfrm>
            <a:off x="4293871" y="0"/>
            <a:ext cx="3857625" cy="6858000"/>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7"/>
                                        </p:tgtEl>
                                        <p:attrNameLst>
                                          <p:attrName>style.visibility</p:attrName>
                                        </p:attrNameLst>
                                      </p:cBhvr>
                                      <p:to>
                                        <p:strVal val="visible"/>
                                      </p:to>
                                    </p:set>
                                    <p:anim calcmode="lin" valueType="num">
                                      <p:cBhvr additive="base">
                                        <p:cTn id="7" dur="500" fill="hold"/>
                                        <p:tgtEl>
                                          <p:spTgt spid="1027"/>
                                        </p:tgtEl>
                                        <p:attrNameLst>
                                          <p:attrName>ppt_x</p:attrName>
                                        </p:attrNameLst>
                                      </p:cBhvr>
                                      <p:tavLst>
                                        <p:tav tm="0">
                                          <p:val>
                                            <p:strVal val="#ppt_x"/>
                                          </p:val>
                                        </p:tav>
                                        <p:tav tm="100000">
                                          <p:val>
                                            <p:strVal val="#ppt_x"/>
                                          </p:val>
                                        </p:tav>
                                      </p:tavLst>
                                    </p:anim>
                                    <p:anim calcmode="lin" valueType="num">
                                      <p:cBhvr additive="base">
                                        <p:cTn id="8" dur="500" fill="hold"/>
                                        <p:tgtEl>
                                          <p:spTgt spid="102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6" presetClass="emph" presetSubtype="0" fill="hold" nodeType="clickEffect">
                                  <p:stCondLst>
                                    <p:cond delay="0"/>
                                  </p:stCondLst>
                                  <p:childTnLst>
                                    <p:animScale>
                                      <p:cBhvr>
                                        <p:cTn id="12" dur="2000" fill="hold"/>
                                        <p:tgtEl>
                                          <p:spTgt spid="1027"/>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Placeholder 6" descr="172518054_7_RGB_EA.jpg"/>
          <p:cNvPicPr>
            <a:picLocks noChangeAspect="1"/>
          </p:cNvPicPr>
          <p:nvPr/>
        </p:nvPicPr>
        <p:blipFill rotWithShape="1">
          <a:blip r:embed="rId3" cstate="print"/>
          <a:srcRect l="37062" t="205" r="13384" b="-205"/>
          <a:stretch/>
        </p:blipFill>
        <p:spPr>
          <a:xfrm>
            <a:off x="6151103" y="10491"/>
            <a:ext cx="6037722" cy="6856214"/>
          </a:xfrm>
          <a:prstGeom prst="rect">
            <a:avLst/>
          </a:prstGeom>
        </p:spPr>
      </p:pic>
      <p:sp>
        <p:nvSpPr>
          <p:cNvPr id="4" name="Slide Number Placeholder 3"/>
          <p:cNvSpPr>
            <a:spLocks noGrp="1"/>
          </p:cNvSpPr>
          <p:nvPr>
            <p:ph type="sldNum" sz="quarter" idx="4"/>
          </p:nvPr>
        </p:nvSpPr>
        <p:spPr/>
        <p:txBody>
          <a:bodyPr/>
          <a:lstStyle/>
          <a:p>
            <a:r>
              <a:rPr lang="en-US"/>
              <a:t>Page </a:t>
            </a:r>
            <a:fld id="{5A9C12DC-491F-9444-86A2-13AC5C62A2FC}" type="slidenum">
              <a:rPr lang="en-US" smtClean="0"/>
              <a:pPr/>
              <a:t>2</a:t>
            </a:fld>
            <a:endParaRPr lang="en-US" dirty="0"/>
          </a:p>
        </p:txBody>
      </p:sp>
      <p:sp>
        <p:nvSpPr>
          <p:cNvPr id="5" name="Footer Placeholder 4"/>
          <p:cNvSpPr>
            <a:spLocks noGrp="1"/>
          </p:cNvSpPr>
          <p:nvPr>
            <p:ph type="ftr" sz="quarter" idx="3"/>
          </p:nvPr>
        </p:nvSpPr>
        <p:spPr/>
        <p:txBody>
          <a:bodyPr/>
          <a:lstStyle/>
          <a:p>
            <a:r>
              <a:rPr lang="en-US"/>
              <a:t>Confidential Property of Schneider Electric |</a:t>
            </a:r>
            <a:endParaRPr lang="en-US" dirty="0"/>
          </a:p>
        </p:txBody>
      </p:sp>
      <p:pic>
        <p:nvPicPr>
          <p:cNvPr id="12" name="Imagen 11"/>
          <p:cNvPicPr>
            <a:picLocks noChangeAspect="1"/>
          </p:cNvPicPr>
          <p:nvPr/>
        </p:nvPicPr>
        <p:blipFill rotWithShape="1">
          <a:blip r:embed="rId4" cstate="email">
            <a:extLst>
              <a:ext uri="{28A0092B-C50C-407E-A947-70E740481C1C}">
                <a14:useLocalDpi xmlns:a14="http://schemas.microsoft.com/office/drawing/2010/main" val="0"/>
              </a:ext>
            </a:extLst>
          </a:blip>
          <a:srcRect t="644" r="48641"/>
          <a:stretch/>
        </p:blipFill>
        <p:spPr>
          <a:xfrm>
            <a:off x="694531" y="1323332"/>
            <a:ext cx="4179090" cy="742587"/>
          </a:xfrm>
          <a:prstGeom prst="rect">
            <a:avLst/>
          </a:prstGeom>
        </p:spPr>
      </p:pic>
      <p:sp>
        <p:nvSpPr>
          <p:cNvPr id="11" name="Rectangle 78"/>
          <p:cNvSpPr>
            <a:spLocks noChangeArrowheads="1"/>
          </p:cNvSpPr>
          <p:nvPr/>
        </p:nvSpPr>
        <p:spPr bwMode="auto">
          <a:xfrm>
            <a:off x="15761" y="106256"/>
            <a:ext cx="5536630" cy="1057030"/>
          </a:xfrm>
          <a:prstGeom prst="rect">
            <a:avLst/>
          </a:prstGeom>
          <a:noFill/>
          <a:ln w="9525">
            <a:noFill/>
            <a:miter lim="800000"/>
            <a:headEnd/>
            <a:tailEnd/>
          </a:ln>
        </p:spPr>
        <p:txBody>
          <a:bodyPr lIns="0" tIns="14396" rIns="0" bIns="14396" anchor="t"/>
          <a:lstStyle/>
          <a:p>
            <a:pPr algn="ctr"/>
            <a:r>
              <a:rPr lang="en-US" sz="2400" b="1" dirty="0">
                <a:solidFill>
                  <a:srgbClr val="000000"/>
                </a:solidFill>
                <a:latin typeface="Arial" pitchFamily="34" charset="0"/>
                <a:cs typeface="Arial" pitchFamily="34" charset="0"/>
              </a:rPr>
              <a:t>Statistic, </a:t>
            </a:r>
            <a:r>
              <a:rPr lang="en-US" sz="2400" b="1" dirty="0" err="1">
                <a:solidFill>
                  <a:srgbClr val="000000"/>
                </a:solidFill>
                <a:latin typeface="Arial" pitchFamily="34" charset="0"/>
                <a:cs typeface="Arial" pitchFamily="34" charset="0"/>
              </a:rPr>
              <a:t>cladirile</a:t>
            </a:r>
            <a:r>
              <a:rPr lang="en-US" sz="2400" b="1" dirty="0">
                <a:solidFill>
                  <a:srgbClr val="000000"/>
                </a:solidFill>
                <a:latin typeface="Arial" pitchFamily="34" charset="0"/>
                <a:cs typeface="Arial" pitchFamily="34" charset="0"/>
              </a:rPr>
              <a:t> </a:t>
            </a:r>
            <a:r>
              <a:rPr lang="en-US" sz="2400" b="1" dirty="0" err="1">
                <a:solidFill>
                  <a:srgbClr val="000000"/>
                </a:solidFill>
                <a:latin typeface="Arial" pitchFamily="34" charset="0"/>
                <a:cs typeface="Arial" pitchFamily="34" charset="0"/>
              </a:rPr>
              <a:t>functioneaza</a:t>
            </a:r>
            <a:r>
              <a:rPr lang="en-US" sz="2400" b="1" dirty="0">
                <a:solidFill>
                  <a:srgbClr val="000000"/>
                </a:solidFill>
                <a:latin typeface="Arial" pitchFamily="34" charset="0"/>
                <a:cs typeface="Arial" pitchFamily="34" charset="0"/>
              </a:rPr>
              <a:t> cu </a:t>
            </a:r>
            <a:r>
              <a:rPr lang="en-US" sz="2400" b="1" dirty="0" err="1">
                <a:solidFill>
                  <a:srgbClr val="000000"/>
                </a:solidFill>
                <a:latin typeface="Arial" pitchFamily="34" charset="0"/>
                <a:cs typeface="Arial" pitchFamily="34" charset="0"/>
              </a:rPr>
              <a:t>cca</a:t>
            </a:r>
            <a:r>
              <a:rPr lang="en-US" sz="2400" b="1" dirty="0">
                <a:solidFill>
                  <a:srgbClr val="000000"/>
                </a:solidFill>
                <a:latin typeface="Arial" pitchFamily="34" charset="0"/>
                <a:cs typeface="Arial" pitchFamily="34" charset="0"/>
              </a:rPr>
              <a:t> 40% </a:t>
            </a:r>
            <a:r>
              <a:rPr lang="ro-RO" sz="2400" dirty="0">
                <a:solidFill>
                  <a:srgbClr val="000000"/>
                </a:solidFill>
                <a:latin typeface="Arial" pitchFamily="34" charset="0"/>
                <a:cs typeface="Arial" pitchFamily="34" charset="0"/>
              </a:rPr>
              <a:t>din </a:t>
            </a:r>
            <a:r>
              <a:rPr lang="en-US" sz="2400" dirty="0" err="1">
                <a:solidFill>
                  <a:srgbClr val="000000"/>
                </a:solidFill>
                <a:latin typeface="Arial" pitchFamily="34" charset="0"/>
                <a:cs typeface="Arial" pitchFamily="34" charset="0"/>
              </a:rPr>
              <a:t>consumul</a:t>
            </a:r>
            <a:r>
              <a:rPr lang="en-US" sz="2400" dirty="0">
                <a:solidFill>
                  <a:srgbClr val="000000"/>
                </a:solidFill>
                <a:latin typeface="Arial" pitchFamily="34" charset="0"/>
                <a:cs typeface="Arial" pitchFamily="34" charset="0"/>
              </a:rPr>
              <a:t> total de </a:t>
            </a:r>
            <a:r>
              <a:rPr lang="en-US" sz="2400" dirty="0" err="1">
                <a:solidFill>
                  <a:srgbClr val="000000"/>
                </a:solidFill>
                <a:latin typeface="Arial" pitchFamily="34" charset="0"/>
                <a:cs typeface="Arial" pitchFamily="34" charset="0"/>
              </a:rPr>
              <a:t>energie</a:t>
            </a:r>
            <a:r>
              <a:rPr lang="en-US" sz="2400" dirty="0">
                <a:solidFill>
                  <a:srgbClr val="000000"/>
                </a:solidFill>
                <a:latin typeface="Arial" pitchFamily="34" charset="0"/>
                <a:cs typeface="Arial" pitchFamily="34" charset="0"/>
              </a:rPr>
              <a:t> </a:t>
            </a:r>
            <a:r>
              <a:rPr lang="en-US" sz="2400" dirty="0" err="1">
                <a:solidFill>
                  <a:srgbClr val="000000"/>
                </a:solidFill>
                <a:latin typeface="Arial" pitchFamily="34" charset="0"/>
                <a:cs typeface="Arial" pitchFamily="34" charset="0"/>
              </a:rPr>
              <a:t>electrica</a:t>
            </a:r>
            <a:endParaRPr lang="en-US" sz="2533" dirty="0">
              <a:solidFill>
                <a:srgbClr val="3DCD58"/>
              </a:solidFill>
            </a:endParaRPr>
          </a:p>
        </p:txBody>
      </p:sp>
      <p:sp>
        <p:nvSpPr>
          <p:cNvPr id="13" name="Rectangle 12"/>
          <p:cNvSpPr/>
          <p:nvPr/>
        </p:nvSpPr>
        <p:spPr bwMode="auto">
          <a:xfrm>
            <a:off x="-3734" y="710031"/>
            <a:ext cx="9903420" cy="259758"/>
          </a:xfrm>
          <a:prstGeom prst="rect">
            <a:avLst/>
          </a:prstGeom>
          <a:noFill/>
          <a:ln w="28575" cap="flat" cmpd="sng" algn="ctr">
            <a:noFill/>
            <a:prstDash val="solid"/>
            <a:round/>
            <a:headEnd type="none" w="med" len="med"/>
            <a:tailEnd type="none" w="med" len="med"/>
          </a:ln>
          <a:effectLst/>
        </p:spPr>
        <p:txBody>
          <a:bodyPr vert="horz" wrap="square" lIns="233939" tIns="49518" rIns="155959" bIns="49518" numCol="1" rtlCol="0" anchor="ctr" anchorCtr="0" compatLnSpc="1">
            <a:prstTxWarp prst="textNoShape">
              <a:avLst/>
            </a:prstTxWarp>
          </a:bodyPr>
          <a:lstStyle/>
          <a:p>
            <a:pPr defTabSz="1218895" fontAlgn="base">
              <a:spcBef>
                <a:spcPct val="0"/>
              </a:spcBef>
              <a:spcAft>
                <a:spcPct val="0"/>
              </a:spcAft>
            </a:pPr>
            <a:endParaRPr lang="en-US" altLang="zh-CN" sz="1466" dirty="0">
              <a:solidFill>
                <a:srgbClr val="42B4E6"/>
              </a:solidFill>
              <a:ea typeface="宋体" charset="-122"/>
            </a:endParaRPr>
          </a:p>
        </p:txBody>
      </p:sp>
      <p:sp>
        <p:nvSpPr>
          <p:cNvPr id="15" name="Rectangle 14"/>
          <p:cNvSpPr/>
          <p:nvPr/>
        </p:nvSpPr>
        <p:spPr>
          <a:xfrm rot="5400000">
            <a:off x="2971642" y="3180357"/>
            <a:ext cx="6856211" cy="497288"/>
          </a:xfrm>
          <a:prstGeom prst="rect">
            <a:avLst/>
          </a:prstGeom>
          <a:solidFill>
            <a:schemeClr val="tx2">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33" dirty="0"/>
          </a:p>
        </p:txBody>
      </p:sp>
      <p:sp>
        <p:nvSpPr>
          <p:cNvPr id="16" name="Rectangle 15"/>
          <p:cNvSpPr/>
          <p:nvPr/>
        </p:nvSpPr>
        <p:spPr>
          <a:xfrm rot="5400000">
            <a:off x="2474353" y="3180064"/>
            <a:ext cx="6856211" cy="4972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533" dirty="0"/>
          </a:p>
        </p:txBody>
      </p:sp>
      <p:pic>
        <p:nvPicPr>
          <p:cNvPr id="21505" name="Picture 1"/>
          <p:cNvPicPr>
            <a:picLocks noChangeAspect="1" noChangeArrowheads="1"/>
          </p:cNvPicPr>
          <p:nvPr/>
        </p:nvPicPr>
        <p:blipFill>
          <a:blip r:embed="rId5"/>
          <a:srcRect/>
          <a:stretch>
            <a:fillRect/>
          </a:stretch>
        </p:blipFill>
        <p:spPr bwMode="auto">
          <a:xfrm>
            <a:off x="715355" y="2355052"/>
            <a:ext cx="2889442" cy="810813"/>
          </a:xfrm>
          <a:prstGeom prst="rect">
            <a:avLst/>
          </a:prstGeom>
          <a:noFill/>
          <a:ln w="9525">
            <a:noFill/>
            <a:miter lim="800000"/>
            <a:headEnd/>
            <a:tailEnd/>
          </a:ln>
        </p:spPr>
      </p:pic>
      <p:pic>
        <p:nvPicPr>
          <p:cNvPr id="21506" name="Picture 2"/>
          <p:cNvPicPr>
            <a:picLocks noChangeAspect="1" noChangeArrowheads="1"/>
          </p:cNvPicPr>
          <p:nvPr/>
        </p:nvPicPr>
        <p:blipFill>
          <a:blip r:embed="rId6"/>
          <a:srcRect/>
          <a:stretch>
            <a:fillRect/>
          </a:stretch>
        </p:blipFill>
        <p:spPr bwMode="auto">
          <a:xfrm>
            <a:off x="3737035" y="2392987"/>
            <a:ext cx="1186819" cy="771796"/>
          </a:xfrm>
          <a:prstGeom prst="rect">
            <a:avLst/>
          </a:prstGeom>
          <a:noFill/>
          <a:ln w="9525">
            <a:noFill/>
            <a:miter lim="800000"/>
            <a:headEnd/>
            <a:tailEnd/>
          </a:ln>
        </p:spPr>
      </p:pic>
      <p:pic>
        <p:nvPicPr>
          <p:cNvPr id="21507" name="Picture 3"/>
          <p:cNvPicPr>
            <a:picLocks noChangeAspect="1" noChangeArrowheads="1"/>
          </p:cNvPicPr>
          <p:nvPr/>
        </p:nvPicPr>
        <p:blipFill>
          <a:blip r:embed="rId7"/>
          <a:srcRect/>
          <a:stretch>
            <a:fillRect/>
          </a:stretch>
        </p:blipFill>
        <p:spPr bwMode="auto">
          <a:xfrm>
            <a:off x="793292" y="3463698"/>
            <a:ext cx="788679" cy="862157"/>
          </a:xfrm>
          <a:prstGeom prst="rect">
            <a:avLst/>
          </a:prstGeom>
          <a:noFill/>
          <a:ln w="9525">
            <a:noFill/>
            <a:miter lim="800000"/>
            <a:headEnd/>
            <a:tailEnd/>
          </a:ln>
        </p:spPr>
      </p:pic>
      <p:pic>
        <p:nvPicPr>
          <p:cNvPr id="21508" name="Picture 4"/>
          <p:cNvPicPr>
            <a:picLocks noChangeAspect="1" noChangeArrowheads="1"/>
          </p:cNvPicPr>
          <p:nvPr/>
        </p:nvPicPr>
        <p:blipFill>
          <a:blip r:embed="rId8"/>
          <a:srcRect/>
          <a:stretch>
            <a:fillRect/>
          </a:stretch>
        </p:blipFill>
        <p:spPr bwMode="auto">
          <a:xfrm>
            <a:off x="1861563" y="3559605"/>
            <a:ext cx="809617" cy="815014"/>
          </a:xfrm>
          <a:prstGeom prst="rect">
            <a:avLst/>
          </a:prstGeom>
          <a:noFill/>
          <a:ln w="9525">
            <a:noFill/>
            <a:miter lim="800000"/>
            <a:headEnd/>
            <a:tailEnd/>
          </a:ln>
        </p:spPr>
      </p:pic>
      <p:pic>
        <p:nvPicPr>
          <p:cNvPr id="21509" name="Picture 5"/>
          <p:cNvPicPr>
            <a:picLocks noChangeAspect="1" noChangeArrowheads="1"/>
          </p:cNvPicPr>
          <p:nvPr/>
        </p:nvPicPr>
        <p:blipFill>
          <a:blip r:embed="rId9"/>
          <a:srcRect/>
          <a:stretch>
            <a:fillRect/>
          </a:stretch>
        </p:blipFill>
        <p:spPr bwMode="auto">
          <a:xfrm>
            <a:off x="2973069" y="3555693"/>
            <a:ext cx="904031" cy="824731"/>
          </a:xfrm>
          <a:prstGeom prst="rect">
            <a:avLst/>
          </a:prstGeom>
          <a:noFill/>
          <a:ln w="9525">
            <a:noFill/>
            <a:miter lim="800000"/>
            <a:headEnd/>
            <a:tailEnd/>
          </a:ln>
        </p:spPr>
      </p:pic>
      <p:pic>
        <p:nvPicPr>
          <p:cNvPr id="21510" name="Picture 6"/>
          <p:cNvPicPr>
            <a:picLocks noChangeAspect="1" noChangeArrowheads="1"/>
          </p:cNvPicPr>
          <p:nvPr/>
        </p:nvPicPr>
        <p:blipFill>
          <a:blip r:embed="rId10"/>
          <a:srcRect/>
          <a:stretch>
            <a:fillRect/>
          </a:stretch>
        </p:blipFill>
        <p:spPr bwMode="auto">
          <a:xfrm>
            <a:off x="4204514" y="3566757"/>
            <a:ext cx="669107" cy="713714"/>
          </a:xfrm>
          <a:prstGeom prst="rect">
            <a:avLst/>
          </a:prstGeom>
          <a:noFill/>
          <a:ln w="9525">
            <a:noFill/>
            <a:miter lim="800000"/>
            <a:headEnd/>
            <a:tailEnd/>
          </a:ln>
        </p:spPr>
      </p:pic>
      <p:pic>
        <p:nvPicPr>
          <p:cNvPr id="21511" name="Picture 7"/>
          <p:cNvPicPr>
            <a:picLocks noChangeAspect="1" noChangeArrowheads="1"/>
          </p:cNvPicPr>
          <p:nvPr/>
        </p:nvPicPr>
        <p:blipFill>
          <a:blip r:embed="rId11"/>
          <a:srcRect/>
          <a:stretch>
            <a:fillRect/>
          </a:stretch>
        </p:blipFill>
        <p:spPr bwMode="auto">
          <a:xfrm>
            <a:off x="3462162" y="4541906"/>
            <a:ext cx="1443777" cy="695681"/>
          </a:xfrm>
          <a:prstGeom prst="rect">
            <a:avLst/>
          </a:prstGeom>
          <a:noFill/>
          <a:ln w="9525">
            <a:noFill/>
            <a:miter lim="800000"/>
            <a:headEnd/>
            <a:tailEnd/>
          </a:ln>
        </p:spPr>
      </p:pic>
      <p:pic>
        <p:nvPicPr>
          <p:cNvPr id="21512" name="Picture 8"/>
          <p:cNvPicPr>
            <a:picLocks noChangeAspect="1" noChangeArrowheads="1"/>
          </p:cNvPicPr>
          <p:nvPr/>
        </p:nvPicPr>
        <p:blipFill>
          <a:blip r:embed="rId12"/>
          <a:srcRect/>
          <a:stretch>
            <a:fillRect/>
          </a:stretch>
        </p:blipFill>
        <p:spPr bwMode="auto">
          <a:xfrm>
            <a:off x="2017170" y="4738634"/>
            <a:ext cx="1237523" cy="618761"/>
          </a:xfrm>
          <a:prstGeom prst="rect">
            <a:avLst/>
          </a:prstGeom>
          <a:noFill/>
          <a:ln w="9525">
            <a:noFill/>
            <a:miter lim="800000"/>
            <a:headEnd/>
            <a:tailEnd/>
          </a:ln>
        </p:spPr>
      </p:pic>
      <p:pic>
        <p:nvPicPr>
          <p:cNvPr id="21513" name="Picture 9"/>
          <p:cNvPicPr>
            <a:picLocks noChangeAspect="1" noChangeArrowheads="1"/>
          </p:cNvPicPr>
          <p:nvPr/>
        </p:nvPicPr>
        <p:blipFill>
          <a:blip r:embed="rId13"/>
          <a:srcRect/>
          <a:stretch>
            <a:fillRect/>
          </a:stretch>
        </p:blipFill>
        <p:spPr bwMode="auto">
          <a:xfrm>
            <a:off x="1007244" y="4668939"/>
            <a:ext cx="639560" cy="728710"/>
          </a:xfrm>
          <a:prstGeom prst="rect">
            <a:avLst/>
          </a:prstGeom>
          <a:noFill/>
          <a:ln w="9525">
            <a:noFill/>
            <a:miter lim="800000"/>
            <a:headEnd/>
            <a:tailEnd/>
          </a:ln>
        </p:spPr>
      </p:pic>
    </p:spTree>
    <p:extLst>
      <p:ext uri="{BB962C8B-B14F-4D97-AF65-F5344CB8AC3E}">
        <p14:creationId xmlns:p14="http://schemas.microsoft.com/office/powerpoint/2010/main" val="26090593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0053821"/>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r>
              <a:rPr lang="en-US">
                <a:solidFill>
                  <a:srgbClr val="3DCD58"/>
                </a:solidFill>
              </a:rPr>
              <a:t>Page </a:t>
            </a:r>
            <a:fld id="{5A9C12DC-491F-9444-86A2-13AC5C62A2FC}" type="slidenum">
              <a:rPr lang="en-US">
                <a:solidFill>
                  <a:srgbClr val="3DCD58"/>
                </a:solidFill>
              </a:rPr>
              <a:pPr/>
              <a:t>21</a:t>
            </a:fld>
            <a:endParaRPr lang="en-US" dirty="0">
              <a:solidFill>
                <a:srgbClr val="3DCD58"/>
              </a:solidFill>
            </a:endParaRPr>
          </a:p>
        </p:txBody>
      </p:sp>
      <p:sp>
        <p:nvSpPr>
          <p:cNvPr id="3" name="Footer Placeholder 2"/>
          <p:cNvSpPr>
            <a:spLocks noGrp="1"/>
          </p:cNvSpPr>
          <p:nvPr>
            <p:ph type="ftr" sz="quarter" idx="3"/>
          </p:nvPr>
        </p:nvSpPr>
        <p:spPr/>
        <p:txBody>
          <a:bodyPr/>
          <a:lstStyle/>
          <a:p>
            <a:r>
              <a:rPr lang="en-US">
                <a:solidFill>
                  <a:srgbClr val="626469"/>
                </a:solidFill>
              </a:rPr>
              <a:t>Confidential Property of Schneider Electric |</a:t>
            </a:r>
            <a:endParaRPr lang="en-US" dirty="0">
              <a:solidFill>
                <a:srgbClr val="626469"/>
              </a:solidFill>
            </a:endParaRPr>
          </a:p>
        </p:txBody>
      </p:sp>
      <p:pic>
        <p:nvPicPr>
          <p:cNvPr id="1026" name="Picture 2" descr="C:\Users\sesa196077\Desktop\JPT Review 9AM\Visuals\LED\LED\16x9_size\16x9_03.jpg"/>
          <p:cNvPicPr>
            <a:picLocks noChangeAspect="1" noChangeArrowheads="1"/>
          </p:cNvPicPr>
          <p:nvPr/>
        </p:nvPicPr>
        <p:blipFill>
          <a:blip r:embed="rId2" cstate="print"/>
          <a:srcRect/>
          <a:stretch>
            <a:fillRect/>
          </a:stretch>
        </p:blipFill>
        <p:spPr bwMode="auto">
          <a:xfrm>
            <a:off x="1592" y="1789"/>
            <a:ext cx="12186851" cy="6855105"/>
          </a:xfrm>
          <a:prstGeom prst="rect">
            <a:avLst/>
          </a:prstGeom>
          <a:noFill/>
        </p:spPr>
      </p:pic>
    </p:spTree>
    <p:extLst>
      <p:ext uri="{BB962C8B-B14F-4D97-AF65-F5344CB8AC3E}">
        <p14:creationId xmlns:p14="http://schemas.microsoft.com/office/powerpoint/2010/main" val="39892945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a:xfrm>
            <a:off x="608013" y="2125041"/>
            <a:ext cx="5186362" cy="4125768"/>
          </a:xfrm>
        </p:spPr>
        <p:txBody>
          <a:bodyPr/>
          <a:lstStyle/>
          <a:p>
            <a:pPr>
              <a:buFont typeface="Wingdings"/>
              <a:buChar char="Ø"/>
            </a:pPr>
            <a:r>
              <a:rPr lang="en-US" dirty="0"/>
              <a:t> </a:t>
            </a:r>
            <a:r>
              <a:rPr lang="ro-RO" dirty="0"/>
              <a:t>Directiva pentru performanța energetică a clădirilor</a:t>
            </a:r>
            <a:endParaRPr lang="en-US" dirty="0"/>
          </a:p>
          <a:p>
            <a:pPr>
              <a:buFont typeface="Wingdings"/>
              <a:buChar char="Ø"/>
            </a:pPr>
            <a:endParaRPr lang="en-US" dirty="0"/>
          </a:p>
          <a:p>
            <a:pPr>
              <a:buFont typeface="Wingdings"/>
              <a:buChar char="Ø"/>
            </a:pPr>
            <a:endParaRPr lang="en-US" dirty="0"/>
          </a:p>
          <a:p>
            <a:pPr>
              <a:buFont typeface="Wingdings"/>
              <a:buChar char="Ø"/>
            </a:pPr>
            <a:endParaRPr lang="en-US" dirty="0"/>
          </a:p>
          <a:p>
            <a:pPr>
              <a:buFont typeface="Wingdings"/>
              <a:buChar char="Ø"/>
            </a:pPr>
            <a:endParaRPr lang="en-US" dirty="0"/>
          </a:p>
          <a:p>
            <a:pPr>
              <a:buFont typeface="Wingdings"/>
              <a:buChar char="Ø"/>
            </a:pPr>
            <a:endParaRPr lang="en-US" dirty="0"/>
          </a:p>
          <a:p>
            <a:pPr>
              <a:buFont typeface="Wingdings"/>
              <a:buChar char="Ø"/>
            </a:pPr>
            <a:r>
              <a:rPr lang="en-US" dirty="0"/>
              <a:t> </a:t>
            </a:r>
            <a:r>
              <a:rPr lang="ro-RO" dirty="0"/>
              <a:t>Cerințe simple ale standardelor</a:t>
            </a:r>
            <a:r>
              <a:rPr lang="en-US" dirty="0"/>
              <a:t>:</a:t>
            </a:r>
          </a:p>
          <a:p>
            <a:pPr lvl="2">
              <a:buClr>
                <a:schemeClr val="accent1"/>
              </a:buClr>
              <a:buFont typeface="Arial" pitchFamily="34" charset="0"/>
              <a:buChar char="•"/>
            </a:pPr>
            <a:r>
              <a:rPr lang="en-US" sz="1600" dirty="0"/>
              <a:t> </a:t>
            </a:r>
            <a:r>
              <a:rPr lang="ro-RO" sz="1600" dirty="0"/>
              <a:t>Monitorizarea consumului energetic</a:t>
            </a:r>
            <a:endParaRPr lang="en-US" sz="1600" dirty="0"/>
          </a:p>
          <a:p>
            <a:pPr lvl="2">
              <a:buClr>
                <a:schemeClr val="accent1"/>
              </a:buClr>
              <a:buFont typeface="Arial" pitchFamily="34" charset="0"/>
              <a:buChar char="•"/>
            </a:pPr>
            <a:r>
              <a:rPr lang="en-US" sz="1600" dirty="0"/>
              <a:t> </a:t>
            </a:r>
            <a:r>
              <a:rPr lang="ro-RO" sz="1600" dirty="0"/>
              <a:t>Identificarea surselor prin care se pierde energie</a:t>
            </a:r>
            <a:endParaRPr lang="en-US" sz="1600" dirty="0"/>
          </a:p>
        </p:txBody>
      </p:sp>
      <p:sp>
        <p:nvSpPr>
          <p:cNvPr id="6" name="Picture Placeholder 5"/>
          <p:cNvSpPr>
            <a:spLocks noGrp="1"/>
          </p:cNvSpPr>
          <p:nvPr>
            <p:ph type="pic" sz="quarter" idx="16"/>
          </p:nvPr>
        </p:nvSpPr>
        <p:spPr/>
      </p:sp>
      <p:sp>
        <p:nvSpPr>
          <p:cNvPr id="4" name="Title 3"/>
          <p:cNvSpPr>
            <a:spLocks noGrp="1"/>
          </p:cNvSpPr>
          <p:nvPr>
            <p:ph type="title"/>
          </p:nvPr>
        </p:nvSpPr>
        <p:spPr>
          <a:xfrm>
            <a:off x="608014" y="261939"/>
            <a:ext cx="5186362" cy="1663844"/>
          </a:xfrm>
        </p:spPr>
        <p:txBody>
          <a:bodyPr/>
          <a:lstStyle/>
          <a:p>
            <a:r>
              <a:rPr lang="en-US" sz="2800" dirty="0" err="1"/>
              <a:t>Noile</a:t>
            </a:r>
            <a:r>
              <a:rPr lang="en-US" sz="2800" dirty="0"/>
              <a:t>  </a:t>
            </a:r>
            <a:r>
              <a:rPr lang="en-US" sz="2800" dirty="0" err="1"/>
              <a:t>standarde</a:t>
            </a:r>
            <a:r>
              <a:rPr lang="en-US" sz="2800" dirty="0"/>
              <a:t> </a:t>
            </a:r>
            <a:r>
              <a:rPr lang="en-US" sz="2800" dirty="0" err="1"/>
              <a:t>privind</a:t>
            </a:r>
            <a:r>
              <a:rPr lang="en-US" sz="2800" dirty="0"/>
              <a:t> </a:t>
            </a:r>
            <a:r>
              <a:rPr lang="en-US" sz="2800" dirty="0" err="1"/>
              <a:t>nivelul</a:t>
            </a:r>
            <a:r>
              <a:rPr lang="en-US" sz="2800" dirty="0"/>
              <a:t> </a:t>
            </a:r>
            <a:r>
              <a:rPr lang="en-US" sz="2800" dirty="0" err="1"/>
              <a:t>performantelor</a:t>
            </a:r>
            <a:r>
              <a:rPr lang="en-US" sz="2800" dirty="0"/>
              <a:t> de </a:t>
            </a:r>
            <a:r>
              <a:rPr lang="en-US" sz="2800" dirty="0" err="1"/>
              <a:t>consum</a:t>
            </a:r>
            <a:r>
              <a:rPr lang="en-US" sz="2800" dirty="0"/>
              <a:t> </a:t>
            </a:r>
            <a:r>
              <a:rPr lang="en-US" sz="2800" dirty="0" err="1"/>
              <a:t>pentru</a:t>
            </a:r>
            <a:r>
              <a:rPr lang="en-US" sz="2800" dirty="0"/>
              <a:t> </a:t>
            </a:r>
            <a:r>
              <a:rPr lang="en-US" sz="2800" dirty="0" err="1"/>
              <a:t>cladiri</a:t>
            </a:r>
            <a:r>
              <a:rPr lang="en-US" sz="2800" dirty="0"/>
              <a:t> </a:t>
            </a:r>
            <a:r>
              <a:rPr lang="en-US" sz="2800" dirty="0" err="1"/>
              <a:t>noi</a:t>
            </a:r>
            <a:r>
              <a:rPr lang="en-US" sz="2800" dirty="0"/>
              <a:t> </a:t>
            </a:r>
            <a:r>
              <a:rPr lang="en-US" sz="2800" dirty="0" err="1"/>
              <a:t>si</a:t>
            </a:r>
            <a:r>
              <a:rPr lang="en-US" sz="2800" dirty="0"/>
              <a:t> in curs de </a:t>
            </a:r>
            <a:r>
              <a:rPr lang="en-US" sz="2800" dirty="0" err="1"/>
              <a:t>renovare</a:t>
            </a:r>
            <a:endParaRPr lang="en-US" sz="2800" dirty="0"/>
          </a:p>
        </p:txBody>
      </p:sp>
      <p:pic>
        <p:nvPicPr>
          <p:cNvPr id="4099" name="Picture 3"/>
          <p:cNvPicPr>
            <a:picLocks noChangeAspect="1" noChangeArrowheads="1"/>
          </p:cNvPicPr>
          <p:nvPr/>
        </p:nvPicPr>
        <p:blipFill>
          <a:blip r:embed="rId3" cstate="print"/>
          <a:srcRect/>
          <a:stretch>
            <a:fillRect/>
          </a:stretch>
        </p:blipFill>
        <p:spPr bwMode="auto">
          <a:xfrm>
            <a:off x="6056313" y="8"/>
            <a:ext cx="6132512" cy="5434013"/>
          </a:xfrm>
          <a:prstGeom prst="rect">
            <a:avLst/>
          </a:prstGeom>
          <a:noFill/>
          <a:ln w="9525">
            <a:noFill/>
            <a:miter lim="800000"/>
            <a:headEnd/>
            <a:tailEnd/>
          </a:ln>
        </p:spPr>
      </p:pic>
      <p:pic>
        <p:nvPicPr>
          <p:cNvPr id="10" name="Picture 9" descr="numbers2.jpg"/>
          <p:cNvPicPr>
            <a:picLocks noChangeAspect="1"/>
          </p:cNvPicPr>
          <p:nvPr/>
        </p:nvPicPr>
        <p:blipFill>
          <a:blip r:embed="rId4" cstate="print"/>
          <a:stretch>
            <a:fillRect/>
          </a:stretch>
        </p:blipFill>
        <p:spPr>
          <a:xfrm>
            <a:off x="1634839" y="3222309"/>
            <a:ext cx="3325093" cy="1486383"/>
          </a:xfrm>
          <a:prstGeom prst="rect">
            <a:avLst/>
          </a:prstGeom>
        </p:spPr>
      </p:pic>
      <p:pic>
        <p:nvPicPr>
          <p:cNvPr id="4100" name="Picture 4"/>
          <p:cNvPicPr>
            <a:picLocks noChangeAspect="1" noChangeArrowheads="1"/>
          </p:cNvPicPr>
          <p:nvPr/>
        </p:nvPicPr>
        <p:blipFill>
          <a:blip r:embed="rId5" cstate="print"/>
          <a:srcRect/>
          <a:stretch>
            <a:fillRect/>
          </a:stretch>
        </p:blipFill>
        <p:spPr bwMode="auto">
          <a:xfrm>
            <a:off x="6265143" y="5689899"/>
            <a:ext cx="647867" cy="777439"/>
          </a:xfrm>
          <a:prstGeom prst="rect">
            <a:avLst/>
          </a:prstGeom>
          <a:noFill/>
          <a:ln w="9525">
            <a:noFill/>
            <a:miter lim="800000"/>
            <a:headEnd/>
            <a:tailEnd/>
          </a:ln>
        </p:spPr>
      </p:pic>
      <p:pic>
        <p:nvPicPr>
          <p:cNvPr id="4102" name="Picture 6"/>
          <p:cNvPicPr>
            <a:picLocks noChangeAspect="1" noChangeArrowheads="1"/>
          </p:cNvPicPr>
          <p:nvPr/>
        </p:nvPicPr>
        <p:blipFill>
          <a:blip r:embed="rId6" cstate="print"/>
          <a:srcRect/>
          <a:stretch>
            <a:fillRect/>
          </a:stretch>
        </p:blipFill>
        <p:spPr bwMode="auto">
          <a:xfrm>
            <a:off x="7127280" y="5717605"/>
            <a:ext cx="707122" cy="651003"/>
          </a:xfrm>
          <a:prstGeom prst="rect">
            <a:avLst/>
          </a:prstGeom>
          <a:noFill/>
          <a:ln w="9525">
            <a:noFill/>
            <a:miter lim="800000"/>
            <a:headEnd/>
            <a:tailEnd/>
          </a:ln>
        </p:spPr>
      </p:pic>
      <p:pic>
        <p:nvPicPr>
          <p:cNvPr id="4103" name="Picture 7"/>
          <p:cNvPicPr>
            <a:picLocks noChangeAspect="1" noChangeArrowheads="1"/>
          </p:cNvPicPr>
          <p:nvPr/>
        </p:nvPicPr>
        <p:blipFill>
          <a:blip r:embed="rId7" cstate="print"/>
          <a:srcRect/>
          <a:stretch>
            <a:fillRect/>
          </a:stretch>
        </p:blipFill>
        <p:spPr bwMode="auto">
          <a:xfrm>
            <a:off x="8011243" y="5711125"/>
            <a:ext cx="646214" cy="651001"/>
          </a:xfrm>
          <a:prstGeom prst="rect">
            <a:avLst/>
          </a:prstGeom>
          <a:noFill/>
          <a:ln w="9525">
            <a:noFill/>
            <a:miter lim="800000"/>
            <a:headEnd/>
            <a:tailEnd/>
          </a:ln>
        </p:spPr>
      </p:pic>
      <p:pic>
        <p:nvPicPr>
          <p:cNvPr id="4104" name="Picture 8"/>
          <p:cNvPicPr>
            <a:picLocks noChangeAspect="1" noChangeArrowheads="1"/>
          </p:cNvPicPr>
          <p:nvPr/>
        </p:nvPicPr>
        <p:blipFill>
          <a:blip r:embed="rId8" cstate="print"/>
          <a:srcRect/>
          <a:stretch>
            <a:fillRect/>
          </a:stretch>
        </p:blipFill>
        <p:spPr bwMode="auto">
          <a:xfrm>
            <a:off x="8842729" y="5711113"/>
            <a:ext cx="721137" cy="646387"/>
          </a:xfrm>
          <a:prstGeom prst="rect">
            <a:avLst/>
          </a:prstGeom>
          <a:noFill/>
          <a:ln w="9525">
            <a:noFill/>
            <a:miter lim="800000"/>
            <a:headEnd/>
            <a:tailEnd/>
          </a:ln>
        </p:spPr>
      </p:pic>
      <p:pic>
        <p:nvPicPr>
          <p:cNvPr id="4105" name="Picture 9"/>
          <p:cNvPicPr>
            <a:picLocks noChangeAspect="1" noChangeArrowheads="1"/>
          </p:cNvPicPr>
          <p:nvPr/>
        </p:nvPicPr>
        <p:blipFill>
          <a:blip r:embed="rId9" cstate="print"/>
          <a:srcRect/>
          <a:stretch>
            <a:fillRect/>
          </a:stretch>
        </p:blipFill>
        <p:spPr bwMode="auto">
          <a:xfrm>
            <a:off x="9753613" y="5724755"/>
            <a:ext cx="818287" cy="605036"/>
          </a:xfrm>
          <a:prstGeom prst="rect">
            <a:avLst/>
          </a:prstGeom>
          <a:noFill/>
          <a:ln w="9525">
            <a:noFill/>
            <a:miter lim="800000"/>
            <a:headEnd/>
            <a:tailEnd/>
          </a:ln>
        </p:spPr>
      </p:pic>
      <p:pic>
        <p:nvPicPr>
          <p:cNvPr id="4106" name="Picture 10"/>
          <p:cNvPicPr>
            <a:picLocks noChangeAspect="1" noChangeArrowheads="1"/>
          </p:cNvPicPr>
          <p:nvPr/>
        </p:nvPicPr>
        <p:blipFill>
          <a:blip r:embed="rId10" cstate="print"/>
          <a:srcRect/>
          <a:stretch>
            <a:fillRect/>
          </a:stretch>
        </p:blipFill>
        <p:spPr bwMode="auto">
          <a:xfrm>
            <a:off x="10792696" y="5711121"/>
            <a:ext cx="1151811" cy="783931"/>
          </a:xfrm>
          <a:prstGeom prst="rect">
            <a:avLst/>
          </a:prstGeom>
          <a:noFill/>
          <a:ln w="9525">
            <a:noFill/>
            <a:miter lim="800000"/>
            <a:headEnd/>
            <a:tailEnd/>
          </a:ln>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Content Placeholder 21" descr="CostaLevTestim_006_RGB_EA.jpg"/>
          <p:cNvPicPr>
            <a:picLocks noGrp="1" noChangeAspect="1"/>
          </p:cNvPicPr>
          <p:nvPr>
            <p:ph sz="quarter" idx="17"/>
          </p:nvPr>
        </p:nvPicPr>
        <p:blipFill>
          <a:blip r:embed="rId3" cstate="email"/>
          <a:stretch>
            <a:fillRect/>
          </a:stretch>
        </p:blipFill>
        <p:spPr>
          <a:xfrm>
            <a:off x="7051005" y="1491524"/>
            <a:ext cx="4825999" cy="4263629"/>
          </a:xfrm>
        </p:spPr>
      </p:pic>
      <p:sp>
        <p:nvSpPr>
          <p:cNvPr id="20" name="Text Placeholder 19"/>
          <p:cNvSpPr>
            <a:spLocks noGrp="1"/>
          </p:cNvSpPr>
          <p:nvPr>
            <p:ph type="body" sz="quarter" idx="32"/>
          </p:nvPr>
        </p:nvSpPr>
        <p:spPr>
          <a:xfrm>
            <a:off x="336463" y="111746"/>
            <a:ext cx="11526480" cy="492443"/>
          </a:xfrm>
        </p:spPr>
        <p:txBody>
          <a:bodyPr/>
          <a:lstStyle/>
          <a:p>
            <a:pPr lvl="0"/>
            <a:r>
              <a:rPr lang="en-US" sz="3000" b="1" dirty="0" err="1">
                <a:solidFill>
                  <a:schemeClr val="tx1"/>
                </a:solidFill>
              </a:rPr>
              <a:t>Cerintele</a:t>
            </a:r>
            <a:r>
              <a:rPr lang="en-US" sz="3000" b="1" dirty="0">
                <a:solidFill>
                  <a:schemeClr val="tx1"/>
                </a:solidFill>
              </a:rPr>
              <a:t> </a:t>
            </a:r>
            <a:r>
              <a:rPr lang="en-US" sz="3000" b="1" dirty="0" err="1">
                <a:solidFill>
                  <a:schemeClr val="tx1"/>
                </a:solidFill>
              </a:rPr>
              <a:t>actuale</a:t>
            </a:r>
            <a:r>
              <a:rPr lang="en-US" sz="3000" b="1" dirty="0">
                <a:solidFill>
                  <a:schemeClr val="tx1"/>
                </a:solidFill>
              </a:rPr>
              <a:t> ale </a:t>
            </a:r>
            <a:r>
              <a:rPr lang="en-US" sz="3000" b="1" dirty="0" err="1">
                <a:solidFill>
                  <a:schemeClr val="tx1"/>
                </a:solidFill>
              </a:rPr>
              <a:t>unui</a:t>
            </a:r>
            <a:r>
              <a:rPr lang="en-US" sz="3000" b="1" dirty="0">
                <a:solidFill>
                  <a:schemeClr val="tx1"/>
                </a:solidFill>
              </a:rPr>
              <a:t> </a:t>
            </a:r>
            <a:r>
              <a:rPr lang="en-US" sz="3000" b="1" dirty="0" err="1">
                <a:solidFill>
                  <a:schemeClr val="tx1"/>
                </a:solidFill>
              </a:rPr>
              <a:t>dezvoltator</a:t>
            </a:r>
            <a:r>
              <a:rPr lang="en-US" sz="3000" b="1" dirty="0">
                <a:solidFill>
                  <a:schemeClr val="tx1"/>
                </a:solidFill>
              </a:rPr>
              <a:t> de </a:t>
            </a:r>
            <a:r>
              <a:rPr lang="en-US" sz="3000" b="1" dirty="0" err="1">
                <a:solidFill>
                  <a:schemeClr val="tx1"/>
                </a:solidFill>
              </a:rPr>
              <a:t>cladiri</a:t>
            </a:r>
            <a:r>
              <a:rPr lang="en-US" sz="3000" b="1" dirty="0">
                <a:solidFill>
                  <a:schemeClr val="tx1"/>
                </a:solidFill>
              </a:rPr>
              <a:t>….</a:t>
            </a:r>
          </a:p>
        </p:txBody>
      </p:sp>
      <p:sp>
        <p:nvSpPr>
          <p:cNvPr id="21" name="Text Placeholder 20"/>
          <p:cNvSpPr>
            <a:spLocks noGrp="1"/>
          </p:cNvSpPr>
          <p:nvPr>
            <p:ph type="body" sz="quarter" idx="33"/>
          </p:nvPr>
        </p:nvSpPr>
        <p:spPr/>
        <p:txBody>
          <a:bodyPr/>
          <a:lstStyle/>
          <a:p>
            <a:r>
              <a:rPr lang="fr-FR" i="1" dirty="0">
                <a:solidFill>
                  <a:schemeClr val="tx1"/>
                </a:solidFill>
              </a:rPr>
              <a:t>Sa </a:t>
            </a:r>
            <a:r>
              <a:rPr lang="fr-FR" i="1" dirty="0" err="1">
                <a:solidFill>
                  <a:schemeClr val="tx1"/>
                </a:solidFill>
              </a:rPr>
              <a:t>isi</a:t>
            </a:r>
            <a:r>
              <a:rPr lang="fr-FR" i="1" dirty="0">
                <a:solidFill>
                  <a:schemeClr val="tx1"/>
                </a:solidFill>
              </a:rPr>
              <a:t> </a:t>
            </a:r>
            <a:r>
              <a:rPr lang="fr-FR" i="1" dirty="0" err="1">
                <a:solidFill>
                  <a:schemeClr val="tx1"/>
                </a:solidFill>
              </a:rPr>
              <a:t>conduca</a:t>
            </a:r>
            <a:r>
              <a:rPr lang="fr-FR" i="1" dirty="0">
                <a:solidFill>
                  <a:schemeClr val="tx1"/>
                </a:solidFill>
              </a:rPr>
              <a:t> </a:t>
            </a:r>
            <a:r>
              <a:rPr lang="fr-FR" i="1" dirty="0" err="1">
                <a:solidFill>
                  <a:schemeClr val="tx1"/>
                </a:solidFill>
              </a:rPr>
              <a:t>afacerea</a:t>
            </a:r>
            <a:r>
              <a:rPr lang="fr-FR" i="1" dirty="0">
                <a:solidFill>
                  <a:schemeClr val="tx1"/>
                </a:solidFill>
              </a:rPr>
              <a:t> </a:t>
            </a:r>
            <a:r>
              <a:rPr lang="fr-FR" i="1" dirty="0" err="1">
                <a:solidFill>
                  <a:schemeClr val="tx1"/>
                </a:solidFill>
              </a:rPr>
              <a:t>cu</a:t>
            </a:r>
            <a:r>
              <a:rPr lang="fr-FR" i="1" dirty="0">
                <a:solidFill>
                  <a:schemeClr val="tx1"/>
                </a:solidFill>
              </a:rPr>
              <a:t> </a:t>
            </a:r>
            <a:r>
              <a:rPr lang="fr-FR" i="1" dirty="0" err="1">
                <a:solidFill>
                  <a:schemeClr val="tx1"/>
                </a:solidFill>
              </a:rPr>
              <a:t>eficienta</a:t>
            </a:r>
            <a:r>
              <a:rPr lang="fr-FR" i="1" dirty="0">
                <a:solidFill>
                  <a:schemeClr val="tx1"/>
                </a:solidFill>
              </a:rPr>
              <a:t> maxima</a:t>
            </a:r>
            <a:endParaRPr lang="en-US" i="1" dirty="0">
              <a:solidFill>
                <a:schemeClr val="tx1"/>
              </a:solidFill>
            </a:endParaRPr>
          </a:p>
        </p:txBody>
      </p:sp>
      <p:sp>
        <p:nvSpPr>
          <p:cNvPr id="23" name="Rectangle 22"/>
          <p:cNvSpPr/>
          <p:nvPr/>
        </p:nvSpPr>
        <p:spPr>
          <a:xfrm>
            <a:off x="336463" y="1389830"/>
            <a:ext cx="5957658" cy="5158592"/>
          </a:xfrm>
          <a:prstGeom prst="rect">
            <a:avLst/>
          </a:prstGeom>
        </p:spPr>
        <p:txBody>
          <a:bodyPr wrap="square">
            <a:spAutoFit/>
          </a:bodyPr>
          <a:lstStyle/>
          <a:p>
            <a:pPr marL="353396" lvl="1" indent="-239124">
              <a:buClr>
                <a:schemeClr val="tx2"/>
              </a:buClr>
            </a:pPr>
            <a:r>
              <a:rPr lang="en-US" sz="2133" dirty="0" err="1">
                <a:solidFill>
                  <a:schemeClr val="bg2"/>
                </a:solidFill>
              </a:rPr>
              <a:t>Cerinte</a:t>
            </a:r>
            <a:r>
              <a:rPr lang="en-US" sz="2133" dirty="0">
                <a:solidFill>
                  <a:schemeClr val="bg2"/>
                </a:solidFill>
              </a:rPr>
              <a:t> </a:t>
            </a:r>
            <a:r>
              <a:rPr lang="en-US" sz="2133" dirty="0" err="1">
                <a:solidFill>
                  <a:schemeClr val="bg2"/>
                </a:solidFill>
              </a:rPr>
              <a:t>explicite</a:t>
            </a:r>
            <a:r>
              <a:rPr lang="en-US" sz="2133" dirty="0">
                <a:solidFill>
                  <a:schemeClr val="bg2"/>
                </a:solidFill>
              </a:rPr>
              <a:t>:</a:t>
            </a:r>
          </a:p>
          <a:p>
            <a:pPr marL="353396" lvl="1" indent="-239124">
              <a:buClr>
                <a:schemeClr val="tx2"/>
              </a:buClr>
            </a:pPr>
            <a:endParaRPr lang="en-US" sz="2133" dirty="0">
              <a:solidFill>
                <a:schemeClr val="bg2"/>
              </a:solidFill>
            </a:endParaRPr>
          </a:p>
          <a:p>
            <a:pPr marL="353396" lvl="1" indent="-239124">
              <a:buClr>
                <a:schemeClr val="tx2"/>
              </a:buClr>
              <a:buFont typeface="Arial" pitchFamily="34" charset="0"/>
              <a:buChar char="•"/>
            </a:pPr>
            <a:r>
              <a:rPr lang="en-US" sz="2000" b="1" dirty="0" err="1">
                <a:solidFill>
                  <a:schemeClr val="tx2"/>
                </a:solidFill>
              </a:rPr>
              <a:t>Conformitate</a:t>
            </a:r>
            <a:r>
              <a:rPr lang="en-US" sz="1866" dirty="0"/>
              <a:t> cu </a:t>
            </a:r>
            <a:r>
              <a:rPr lang="en-US" sz="1866" dirty="0" err="1"/>
              <a:t>standardele</a:t>
            </a:r>
            <a:r>
              <a:rPr lang="en-US" sz="1866" dirty="0"/>
              <a:t> in </a:t>
            </a:r>
            <a:r>
              <a:rPr lang="en-US" sz="1866" dirty="0" err="1"/>
              <a:t>vigoare</a:t>
            </a:r>
            <a:endParaRPr lang="en-US" sz="1866" dirty="0"/>
          </a:p>
          <a:p>
            <a:pPr marL="353396" lvl="1" indent="-239124">
              <a:buClr>
                <a:schemeClr val="tx2"/>
              </a:buClr>
              <a:buFont typeface="Arial" pitchFamily="34" charset="0"/>
              <a:buChar char="•"/>
            </a:pPr>
            <a:endParaRPr lang="en-US" sz="1866" dirty="0"/>
          </a:p>
          <a:p>
            <a:pPr marL="353396" lvl="1" indent="-239124">
              <a:buClr>
                <a:schemeClr val="tx2"/>
              </a:buClr>
              <a:buFont typeface="Arial" pitchFamily="34" charset="0"/>
              <a:buChar char="•"/>
            </a:pPr>
            <a:r>
              <a:rPr lang="en-US" sz="1866" b="1" dirty="0" err="1">
                <a:solidFill>
                  <a:schemeClr val="tx2"/>
                </a:solidFill>
              </a:rPr>
              <a:t>Reducerea</a:t>
            </a:r>
            <a:r>
              <a:rPr lang="en-US" sz="1866" b="1" dirty="0">
                <a:solidFill>
                  <a:schemeClr val="tx2"/>
                </a:solidFill>
              </a:rPr>
              <a:t> </a:t>
            </a:r>
            <a:r>
              <a:rPr lang="en-US" sz="1866" b="1" dirty="0" err="1">
                <a:solidFill>
                  <a:schemeClr val="tx2"/>
                </a:solidFill>
              </a:rPr>
              <a:t>costurilor</a:t>
            </a:r>
            <a:r>
              <a:rPr lang="en-US" sz="1866" b="1" dirty="0">
                <a:solidFill>
                  <a:schemeClr val="tx2"/>
                </a:solidFill>
              </a:rPr>
              <a:t> </a:t>
            </a:r>
            <a:r>
              <a:rPr lang="en-US" sz="1866" dirty="0"/>
              <a:t>cu </a:t>
            </a:r>
            <a:r>
              <a:rPr lang="en-US" sz="1866" dirty="0" err="1"/>
              <a:t>energia</a:t>
            </a:r>
            <a:r>
              <a:rPr lang="en-US" sz="1866" dirty="0"/>
              <a:t> </a:t>
            </a:r>
          </a:p>
          <a:p>
            <a:pPr marL="353396" lvl="1" indent="-239124">
              <a:buClr>
                <a:schemeClr val="tx2"/>
              </a:buClr>
              <a:buFont typeface="Arial" pitchFamily="34" charset="0"/>
              <a:buChar char="•"/>
            </a:pPr>
            <a:endParaRPr lang="en-US" sz="1866" dirty="0"/>
          </a:p>
          <a:p>
            <a:pPr marL="353396" lvl="1" indent="-239124">
              <a:buClr>
                <a:schemeClr val="tx2"/>
              </a:buClr>
              <a:buFont typeface="Arial" pitchFamily="34" charset="0"/>
              <a:buChar char="•"/>
            </a:pPr>
            <a:r>
              <a:rPr lang="en-US" sz="1866" dirty="0" err="1"/>
              <a:t>Minimizarea</a:t>
            </a:r>
            <a:r>
              <a:rPr lang="en-US" sz="1866" dirty="0"/>
              <a:t> </a:t>
            </a:r>
            <a:r>
              <a:rPr lang="en-US" sz="1866" b="1" dirty="0" err="1">
                <a:solidFill>
                  <a:schemeClr val="tx2"/>
                </a:solidFill>
              </a:rPr>
              <a:t>timpilor</a:t>
            </a:r>
            <a:r>
              <a:rPr lang="en-US" sz="1866" b="1" dirty="0">
                <a:solidFill>
                  <a:schemeClr val="tx2"/>
                </a:solidFill>
              </a:rPr>
              <a:t> de </a:t>
            </a:r>
            <a:r>
              <a:rPr lang="en-US" sz="1866" b="1" dirty="0" err="1">
                <a:solidFill>
                  <a:schemeClr val="tx2"/>
                </a:solidFill>
              </a:rPr>
              <a:t>intrerupere</a:t>
            </a:r>
            <a:endParaRPr lang="en-US" sz="1866" b="1" dirty="0">
              <a:solidFill>
                <a:schemeClr val="tx2"/>
              </a:solidFill>
            </a:endParaRPr>
          </a:p>
          <a:p>
            <a:pPr marL="114272" lvl="1">
              <a:buClr>
                <a:schemeClr val="tx2"/>
              </a:buClr>
            </a:pPr>
            <a:endParaRPr lang="en-US" sz="1866" dirty="0"/>
          </a:p>
          <a:p>
            <a:pPr marL="353396" lvl="1" indent="-239124">
              <a:buClr>
                <a:schemeClr val="tx2"/>
              </a:buClr>
              <a:buFont typeface="Arial" pitchFamily="34" charset="0"/>
              <a:buChar char="•"/>
            </a:pPr>
            <a:r>
              <a:rPr lang="en-US" sz="1866" b="1" dirty="0" err="1"/>
              <a:t>Cresterea</a:t>
            </a:r>
            <a:r>
              <a:rPr lang="en-US" sz="1866" b="1" dirty="0"/>
              <a:t>, per </a:t>
            </a:r>
            <a:r>
              <a:rPr lang="en-US" sz="1866" b="1" dirty="0" err="1"/>
              <a:t>ansamblu</a:t>
            </a:r>
            <a:r>
              <a:rPr lang="en-US" sz="1866" b="1" dirty="0"/>
              <a:t>, a </a:t>
            </a:r>
            <a:r>
              <a:rPr lang="en-US" sz="1866" b="1" dirty="0" err="1"/>
              <a:t>eficientei</a:t>
            </a:r>
            <a:r>
              <a:rPr lang="en-US" sz="1866" b="1" dirty="0"/>
              <a:t> de </a:t>
            </a:r>
            <a:r>
              <a:rPr lang="en-US" sz="1866" b="1" dirty="0" err="1"/>
              <a:t>functionare</a:t>
            </a:r>
            <a:r>
              <a:rPr lang="en-US" sz="1866" b="1" dirty="0"/>
              <a:t> a </a:t>
            </a:r>
            <a:r>
              <a:rPr lang="en-US" sz="1866" b="1" dirty="0" err="1"/>
              <a:t>cladirii</a:t>
            </a:r>
            <a:endParaRPr lang="en-US" sz="1866" b="1" dirty="0"/>
          </a:p>
          <a:p>
            <a:pPr marL="353396" lvl="1" indent="-239124">
              <a:buClr>
                <a:schemeClr val="tx2"/>
              </a:buClr>
              <a:buFont typeface="Arial" pitchFamily="34" charset="0"/>
              <a:buChar char="•"/>
            </a:pPr>
            <a:endParaRPr lang="en-US" sz="1866" dirty="0">
              <a:solidFill>
                <a:schemeClr val="bg1">
                  <a:lumMod val="50000"/>
                </a:schemeClr>
              </a:solidFill>
            </a:endParaRPr>
          </a:p>
          <a:p>
            <a:pPr marL="353396" lvl="1" indent="-239124">
              <a:buClr>
                <a:schemeClr val="tx2"/>
              </a:buClr>
            </a:pPr>
            <a:r>
              <a:rPr lang="fr-FR" sz="2133" dirty="0" err="1">
                <a:solidFill>
                  <a:schemeClr val="bg2"/>
                </a:solidFill>
              </a:rPr>
              <a:t>Cerinte</a:t>
            </a:r>
            <a:r>
              <a:rPr lang="fr-FR" sz="2133" dirty="0">
                <a:solidFill>
                  <a:schemeClr val="bg2"/>
                </a:solidFill>
              </a:rPr>
              <a:t> implicite:</a:t>
            </a:r>
          </a:p>
          <a:p>
            <a:pPr marL="353396" lvl="1" indent="-239124">
              <a:buClr>
                <a:schemeClr val="tx2"/>
              </a:buClr>
            </a:pPr>
            <a:endParaRPr lang="fr-FR" sz="2133" dirty="0">
              <a:solidFill>
                <a:schemeClr val="tx2"/>
              </a:solidFill>
            </a:endParaRPr>
          </a:p>
          <a:p>
            <a:pPr marL="353396" lvl="1" indent="-239124">
              <a:buClr>
                <a:schemeClr val="tx2"/>
              </a:buClr>
              <a:buFont typeface="Arial" pitchFamily="34" charset="0"/>
              <a:buChar char="•"/>
            </a:pPr>
            <a:r>
              <a:rPr lang="en-US" sz="1866" b="1" dirty="0" err="1">
                <a:solidFill>
                  <a:schemeClr val="tx2"/>
                </a:solidFill>
              </a:rPr>
              <a:t>Fara</a:t>
            </a:r>
            <a:r>
              <a:rPr lang="en-US" sz="1866" b="1" dirty="0">
                <a:solidFill>
                  <a:schemeClr val="tx2"/>
                </a:solidFill>
              </a:rPr>
              <a:t> </a:t>
            </a:r>
            <a:r>
              <a:rPr lang="en-US" sz="1866" b="1" dirty="0" err="1">
                <a:solidFill>
                  <a:schemeClr val="tx2"/>
                </a:solidFill>
              </a:rPr>
              <a:t>compromisuri</a:t>
            </a:r>
            <a:r>
              <a:rPr lang="en-US" sz="1866" b="1" dirty="0">
                <a:solidFill>
                  <a:schemeClr val="accent5"/>
                </a:solidFill>
              </a:rPr>
              <a:t> </a:t>
            </a:r>
            <a:r>
              <a:rPr lang="en-US" sz="1866" dirty="0" err="1"/>
              <a:t>privind</a:t>
            </a:r>
            <a:r>
              <a:rPr lang="en-US" sz="1866" dirty="0"/>
              <a:t> </a:t>
            </a:r>
            <a:r>
              <a:rPr lang="en-US" sz="1866" dirty="0" err="1"/>
              <a:t>confortul</a:t>
            </a:r>
            <a:r>
              <a:rPr lang="en-US" sz="1866" dirty="0"/>
              <a:t> </a:t>
            </a:r>
            <a:r>
              <a:rPr lang="en-US" sz="1866" dirty="0" err="1"/>
              <a:t>si</a:t>
            </a:r>
            <a:r>
              <a:rPr lang="en-US" sz="1866" dirty="0"/>
              <a:t> </a:t>
            </a:r>
            <a:r>
              <a:rPr lang="en-US" sz="1866" dirty="0" err="1"/>
              <a:t>securitatea</a:t>
            </a:r>
            <a:r>
              <a:rPr lang="en-US" sz="1866" dirty="0"/>
              <a:t> </a:t>
            </a:r>
            <a:r>
              <a:rPr lang="en-US" sz="1866" dirty="0" err="1"/>
              <a:t>ocupantilor</a:t>
            </a:r>
            <a:r>
              <a:rPr lang="en-US" sz="1866" dirty="0"/>
              <a:t> </a:t>
            </a:r>
            <a:r>
              <a:rPr lang="en-US" sz="1866" dirty="0" err="1"/>
              <a:t>cladirii</a:t>
            </a:r>
            <a:r>
              <a:rPr lang="en-US" sz="1866" dirty="0"/>
              <a:t>  </a:t>
            </a:r>
            <a:r>
              <a:rPr lang="en-US" sz="1866" dirty="0" err="1"/>
              <a:t>si</a:t>
            </a:r>
            <a:r>
              <a:rPr lang="en-US" sz="1866" dirty="0"/>
              <a:t> a </a:t>
            </a:r>
            <a:r>
              <a:rPr lang="en-US" sz="1866" dirty="0" err="1"/>
              <a:t>datelor</a:t>
            </a:r>
            <a:r>
              <a:rPr lang="en-US" sz="1866" dirty="0"/>
              <a:t> </a:t>
            </a:r>
          </a:p>
          <a:p>
            <a:pPr marL="353396" lvl="1" indent="-239124">
              <a:buClr>
                <a:schemeClr val="tx2"/>
              </a:buClr>
            </a:pPr>
            <a:r>
              <a:rPr lang="en-US" sz="1866" dirty="0"/>
              <a:t> </a:t>
            </a:r>
          </a:p>
          <a:p>
            <a:pPr marL="353396" lvl="1" indent="-239124">
              <a:buClr>
                <a:schemeClr val="tx2"/>
              </a:buClr>
              <a:buFont typeface="Arial" pitchFamily="34" charset="0"/>
              <a:buChar char="•"/>
            </a:pPr>
            <a:r>
              <a:rPr lang="en-US" sz="1866" b="1" dirty="0" err="1">
                <a:solidFill>
                  <a:schemeClr val="tx2"/>
                </a:solidFill>
              </a:rPr>
              <a:t>Gata</a:t>
            </a:r>
            <a:r>
              <a:rPr lang="en-US" sz="1866" b="1" dirty="0">
                <a:solidFill>
                  <a:schemeClr val="tx2"/>
                </a:solidFill>
              </a:rPr>
              <a:t> </a:t>
            </a:r>
            <a:r>
              <a:rPr lang="en-US" sz="1866" b="1" dirty="0" err="1">
                <a:solidFill>
                  <a:schemeClr val="tx2"/>
                </a:solidFill>
              </a:rPr>
              <a:t>pentru</a:t>
            </a:r>
            <a:r>
              <a:rPr lang="en-US" sz="1866" b="1" dirty="0">
                <a:solidFill>
                  <a:schemeClr val="tx2"/>
                </a:solidFill>
              </a:rPr>
              <a:t> </a:t>
            </a:r>
            <a:r>
              <a:rPr lang="en-US" sz="1866" b="1" dirty="0" err="1">
                <a:solidFill>
                  <a:schemeClr val="tx2"/>
                </a:solidFill>
              </a:rPr>
              <a:t>evolutii</a:t>
            </a:r>
            <a:r>
              <a:rPr lang="en-US" sz="1866" b="1" dirty="0">
                <a:solidFill>
                  <a:schemeClr val="tx2"/>
                </a:solidFill>
              </a:rPr>
              <a:t> </a:t>
            </a:r>
            <a:r>
              <a:rPr lang="en-US" sz="1866" b="1" dirty="0" err="1">
                <a:solidFill>
                  <a:schemeClr val="tx2"/>
                </a:solidFill>
              </a:rPr>
              <a:t>ulterioare</a:t>
            </a:r>
            <a:endParaRPr lang="en-US" sz="1866" b="1" dirty="0">
              <a:solidFill>
                <a:schemeClr val="tx2"/>
              </a:solidFill>
            </a:endParaRPr>
          </a:p>
        </p:txBody>
      </p:sp>
      <p:pic>
        <p:nvPicPr>
          <p:cNvPr id="10" name="Content Placeholder 21" descr="CostaLevTestim_006_RGB_EA.jpg"/>
          <p:cNvPicPr>
            <a:picLocks noChangeAspect="1"/>
          </p:cNvPicPr>
          <p:nvPr/>
        </p:nvPicPr>
        <p:blipFill>
          <a:blip r:embed="rId3" cstate="email"/>
          <a:stretch>
            <a:fillRect/>
          </a:stretch>
        </p:blipFill>
        <p:spPr>
          <a:xfrm>
            <a:off x="5289632" y="1118264"/>
            <a:ext cx="3620442" cy="3198555"/>
          </a:xfrm>
        </p:spPr>
      </p:pic>
      <p:pic>
        <p:nvPicPr>
          <p:cNvPr id="11" name="Content Placeholder 21" descr="CostaLevTestim_006_RGB_EA.jpg"/>
          <p:cNvPicPr>
            <a:picLocks noChangeAspect="1"/>
          </p:cNvPicPr>
          <p:nvPr/>
        </p:nvPicPr>
        <p:blipFill>
          <a:blip r:embed="rId3" cstate="email"/>
          <a:stretch>
            <a:fillRect/>
          </a:stretch>
        </p:blipFill>
        <p:spPr>
          <a:xfrm>
            <a:off x="6865877" y="1183025"/>
            <a:ext cx="4829974" cy="4267141"/>
          </a:xfrm>
          <a:prstGeom prst="rect">
            <a:avLst/>
          </a:prstGeom>
        </p:spPr>
      </p:pic>
    </p:spTree>
    <p:extLst>
      <p:ext uri="{BB962C8B-B14F-4D97-AF65-F5344CB8AC3E}">
        <p14:creationId xmlns:p14="http://schemas.microsoft.com/office/powerpoint/2010/main" val="39632205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1" name="Conector recto de flecha 50"/>
          <p:cNvCxnSpPr/>
          <p:nvPr/>
        </p:nvCxnSpPr>
        <p:spPr>
          <a:xfrm>
            <a:off x="4276873" y="1312077"/>
            <a:ext cx="3599063" cy="0"/>
          </a:xfrm>
          <a:prstGeom prst="straightConnector1">
            <a:avLst/>
          </a:prstGeom>
          <a:ln w="63500" cap="rnd">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5" name="Agrupar 4"/>
          <p:cNvGrpSpPr/>
          <p:nvPr/>
        </p:nvGrpSpPr>
        <p:grpSpPr>
          <a:xfrm>
            <a:off x="4202415" y="1719471"/>
            <a:ext cx="3723791" cy="4187503"/>
            <a:chOff x="3152632" y="1289269"/>
            <a:chExt cx="2793571" cy="3141445"/>
          </a:xfrm>
        </p:grpSpPr>
        <p:pic>
          <p:nvPicPr>
            <p:cNvPr id="2" name="Imagen 1"/>
            <p:cNvPicPr>
              <a:picLocks noChangeAspect="1"/>
            </p:cNvPicPr>
            <p:nvPr/>
          </p:nvPicPr>
          <p:blipFill rotWithShape="1">
            <a:blip r:embed="rId3" cstate="email">
              <a:extLst>
                <a:ext uri="{28A0092B-C50C-407E-A947-70E740481C1C}">
                  <a14:useLocalDpi xmlns:a14="http://schemas.microsoft.com/office/drawing/2010/main" val="0"/>
                </a:ext>
              </a:extLst>
            </a:blip>
            <a:srcRect l="22200" b="19658"/>
            <a:stretch/>
          </p:blipFill>
          <p:spPr>
            <a:xfrm>
              <a:off x="3152632" y="1289269"/>
              <a:ext cx="2793571" cy="2163615"/>
            </a:xfrm>
            <a:prstGeom prst="rect">
              <a:avLst/>
            </a:prstGeom>
          </p:spPr>
        </p:pic>
        <p:grpSp>
          <p:nvGrpSpPr>
            <p:cNvPr id="74" name="Group 50"/>
            <p:cNvGrpSpPr/>
            <p:nvPr/>
          </p:nvGrpSpPr>
          <p:grpSpPr>
            <a:xfrm>
              <a:off x="3458029" y="3667454"/>
              <a:ext cx="2076214" cy="763260"/>
              <a:chOff x="3415497" y="3667454"/>
              <a:chExt cx="2076214" cy="763260"/>
            </a:xfrm>
          </p:grpSpPr>
          <p:pic>
            <p:nvPicPr>
              <p:cNvPr id="76" name="Picture 2"/>
              <p:cNvPicPr>
                <a:picLocks noChangeAspect="1" noChangeArrowheads="1"/>
              </p:cNvPicPr>
              <p:nvPr/>
            </p:nvPicPr>
            <p:blipFill>
              <a:blip r:embed="rId4" cstate="print"/>
              <a:srcRect/>
              <a:stretch>
                <a:fillRect/>
              </a:stretch>
            </p:blipFill>
            <p:spPr bwMode="auto">
              <a:xfrm>
                <a:off x="3619964" y="3667454"/>
                <a:ext cx="701584" cy="763260"/>
              </a:xfrm>
              <a:prstGeom prst="rect">
                <a:avLst/>
              </a:prstGeom>
              <a:noFill/>
              <a:ln w="3175">
                <a:noFill/>
                <a:miter lim="800000"/>
                <a:headEnd/>
                <a:tailEnd/>
              </a:ln>
              <a:effectLst/>
            </p:spPr>
          </p:pic>
          <p:sp>
            <p:nvSpPr>
              <p:cNvPr id="77" name="Right Arrow 37"/>
              <p:cNvSpPr/>
              <p:nvPr/>
            </p:nvSpPr>
            <p:spPr>
              <a:xfrm>
                <a:off x="3415497" y="4228897"/>
                <a:ext cx="204467" cy="138389"/>
              </a:xfrm>
              <a:prstGeom prst="rightArrow">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533"/>
              </a:p>
            </p:txBody>
          </p:sp>
          <p:sp>
            <p:nvSpPr>
              <p:cNvPr id="78" name="Freeform 15"/>
              <p:cNvSpPr>
                <a:spLocks/>
              </p:cNvSpPr>
              <p:nvPr/>
            </p:nvSpPr>
            <p:spPr bwMode="auto">
              <a:xfrm>
                <a:off x="4933501" y="3941102"/>
                <a:ext cx="153989" cy="324000"/>
              </a:xfrm>
              <a:custGeom>
                <a:avLst/>
                <a:gdLst/>
                <a:ahLst/>
                <a:cxnLst>
                  <a:cxn ang="0">
                    <a:pos x="50" y="16"/>
                  </a:cxn>
                  <a:cxn ang="0">
                    <a:pos x="56" y="24"/>
                  </a:cxn>
                  <a:cxn ang="0">
                    <a:pos x="55" y="28"/>
                  </a:cxn>
                  <a:cxn ang="0">
                    <a:pos x="53" y="31"/>
                  </a:cxn>
                  <a:cxn ang="0">
                    <a:pos x="50" y="33"/>
                  </a:cxn>
                  <a:cxn ang="0">
                    <a:pos x="50" y="33"/>
                  </a:cxn>
                  <a:cxn ang="0">
                    <a:pos x="41" y="27"/>
                  </a:cxn>
                  <a:cxn ang="0">
                    <a:pos x="30" y="24"/>
                  </a:cxn>
                  <a:cxn ang="0">
                    <a:pos x="20" y="27"/>
                  </a:cxn>
                  <a:cxn ang="0">
                    <a:pos x="17" y="33"/>
                  </a:cxn>
                  <a:cxn ang="0">
                    <a:pos x="19" y="36"/>
                  </a:cxn>
                  <a:cxn ang="0">
                    <a:pos x="22" y="39"/>
                  </a:cxn>
                  <a:cxn ang="0">
                    <a:pos x="26" y="41"/>
                  </a:cxn>
                  <a:cxn ang="0">
                    <a:pos x="33" y="42"/>
                  </a:cxn>
                  <a:cxn ang="0">
                    <a:pos x="41" y="45"/>
                  </a:cxn>
                  <a:cxn ang="0">
                    <a:pos x="49" y="48"/>
                  </a:cxn>
                  <a:cxn ang="0">
                    <a:pos x="55" y="55"/>
                  </a:cxn>
                  <a:cxn ang="0">
                    <a:pos x="57" y="64"/>
                  </a:cxn>
                  <a:cxn ang="0">
                    <a:pos x="51" y="79"/>
                  </a:cxn>
                  <a:cxn ang="0">
                    <a:pos x="36" y="86"/>
                  </a:cxn>
                  <a:cxn ang="0">
                    <a:pos x="36" y="91"/>
                  </a:cxn>
                  <a:cxn ang="0">
                    <a:pos x="29" y="99"/>
                  </a:cxn>
                  <a:cxn ang="0">
                    <a:pos x="28" y="99"/>
                  </a:cxn>
                  <a:cxn ang="0">
                    <a:pos x="23" y="97"/>
                  </a:cxn>
                  <a:cxn ang="0">
                    <a:pos x="22" y="91"/>
                  </a:cxn>
                  <a:cxn ang="0">
                    <a:pos x="22" y="86"/>
                  </a:cxn>
                  <a:cxn ang="0">
                    <a:pos x="12" y="84"/>
                  </a:cxn>
                  <a:cxn ang="0">
                    <a:pos x="6" y="81"/>
                  </a:cxn>
                  <a:cxn ang="0">
                    <a:pos x="1" y="77"/>
                  </a:cxn>
                  <a:cxn ang="0">
                    <a:pos x="0" y="72"/>
                  </a:cxn>
                  <a:cxn ang="0">
                    <a:pos x="1" y="69"/>
                  </a:cxn>
                  <a:cxn ang="0">
                    <a:pos x="3" y="66"/>
                  </a:cxn>
                  <a:cxn ang="0">
                    <a:pos x="5" y="64"/>
                  </a:cxn>
                  <a:cxn ang="0">
                    <a:pos x="6" y="64"/>
                  </a:cxn>
                  <a:cxn ang="0">
                    <a:pos x="15" y="71"/>
                  </a:cxn>
                  <a:cxn ang="0">
                    <a:pos x="28" y="74"/>
                  </a:cxn>
                  <a:cxn ang="0">
                    <a:pos x="37" y="71"/>
                  </a:cxn>
                  <a:cxn ang="0">
                    <a:pos x="41" y="65"/>
                  </a:cxn>
                  <a:cxn ang="0">
                    <a:pos x="39" y="61"/>
                  </a:cxn>
                  <a:cxn ang="0">
                    <a:pos x="36" y="58"/>
                  </a:cxn>
                  <a:cxn ang="0">
                    <a:pos x="31" y="56"/>
                  </a:cxn>
                  <a:cxn ang="0">
                    <a:pos x="25" y="55"/>
                  </a:cxn>
                  <a:cxn ang="0">
                    <a:pos x="17" y="53"/>
                  </a:cxn>
                  <a:cxn ang="0">
                    <a:pos x="9" y="49"/>
                  </a:cxn>
                  <a:cxn ang="0">
                    <a:pos x="4" y="43"/>
                  </a:cxn>
                  <a:cxn ang="0">
                    <a:pos x="2" y="33"/>
                  </a:cxn>
                  <a:cxn ang="0">
                    <a:pos x="7" y="19"/>
                  </a:cxn>
                  <a:cxn ang="0">
                    <a:pos x="22" y="12"/>
                  </a:cxn>
                  <a:cxn ang="0">
                    <a:pos x="22" y="7"/>
                  </a:cxn>
                  <a:cxn ang="0">
                    <a:pos x="24" y="1"/>
                  </a:cxn>
                  <a:cxn ang="0">
                    <a:pos x="29" y="0"/>
                  </a:cxn>
                  <a:cxn ang="0">
                    <a:pos x="29" y="0"/>
                  </a:cxn>
                  <a:cxn ang="0">
                    <a:pos x="34" y="1"/>
                  </a:cxn>
                  <a:cxn ang="0">
                    <a:pos x="36" y="7"/>
                  </a:cxn>
                  <a:cxn ang="0">
                    <a:pos x="36" y="11"/>
                  </a:cxn>
                  <a:cxn ang="0">
                    <a:pos x="50" y="16"/>
                  </a:cxn>
                </a:cxnLst>
                <a:rect l="0" t="0" r="r" b="b"/>
                <a:pathLst>
                  <a:path w="57" h="99">
                    <a:moveTo>
                      <a:pt x="50" y="16"/>
                    </a:moveTo>
                    <a:cubicBezTo>
                      <a:pt x="54" y="19"/>
                      <a:pt x="56" y="22"/>
                      <a:pt x="56" y="24"/>
                    </a:cubicBezTo>
                    <a:cubicBezTo>
                      <a:pt x="56" y="26"/>
                      <a:pt x="55" y="27"/>
                      <a:pt x="55" y="28"/>
                    </a:cubicBezTo>
                    <a:cubicBezTo>
                      <a:pt x="54" y="29"/>
                      <a:pt x="54" y="30"/>
                      <a:pt x="53" y="31"/>
                    </a:cubicBezTo>
                    <a:cubicBezTo>
                      <a:pt x="52" y="32"/>
                      <a:pt x="51" y="32"/>
                      <a:pt x="50" y="33"/>
                    </a:cubicBezTo>
                    <a:cubicBezTo>
                      <a:pt x="50" y="33"/>
                      <a:pt x="50" y="33"/>
                      <a:pt x="50" y="33"/>
                    </a:cubicBezTo>
                    <a:cubicBezTo>
                      <a:pt x="47" y="30"/>
                      <a:pt x="44" y="28"/>
                      <a:pt x="41" y="27"/>
                    </a:cubicBezTo>
                    <a:cubicBezTo>
                      <a:pt x="37" y="25"/>
                      <a:pt x="34" y="24"/>
                      <a:pt x="30" y="24"/>
                    </a:cubicBezTo>
                    <a:cubicBezTo>
                      <a:pt x="26" y="24"/>
                      <a:pt x="23" y="25"/>
                      <a:pt x="20" y="27"/>
                    </a:cubicBezTo>
                    <a:cubicBezTo>
                      <a:pt x="19" y="28"/>
                      <a:pt x="17" y="30"/>
                      <a:pt x="17" y="33"/>
                    </a:cubicBezTo>
                    <a:cubicBezTo>
                      <a:pt x="17" y="34"/>
                      <a:pt x="18" y="35"/>
                      <a:pt x="19" y="36"/>
                    </a:cubicBezTo>
                    <a:cubicBezTo>
                      <a:pt x="19" y="38"/>
                      <a:pt x="20" y="38"/>
                      <a:pt x="22" y="39"/>
                    </a:cubicBezTo>
                    <a:cubicBezTo>
                      <a:pt x="23" y="40"/>
                      <a:pt x="25" y="40"/>
                      <a:pt x="26" y="41"/>
                    </a:cubicBezTo>
                    <a:cubicBezTo>
                      <a:pt x="28" y="41"/>
                      <a:pt x="30" y="42"/>
                      <a:pt x="33" y="42"/>
                    </a:cubicBezTo>
                    <a:cubicBezTo>
                      <a:pt x="35" y="43"/>
                      <a:pt x="38" y="44"/>
                      <a:pt x="41" y="45"/>
                    </a:cubicBezTo>
                    <a:cubicBezTo>
                      <a:pt x="44" y="45"/>
                      <a:pt x="46" y="47"/>
                      <a:pt x="49" y="48"/>
                    </a:cubicBezTo>
                    <a:cubicBezTo>
                      <a:pt x="51" y="50"/>
                      <a:pt x="53" y="52"/>
                      <a:pt x="55" y="55"/>
                    </a:cubicBezTo>
                    <a:cubicBezTo>
                      <a:pt x="56" y="57"/>
                      <a:pt x="57" y="60"/>
                      <a:pt x="57" y="64"/>
                    </a:cubicBezTo>
                    <a:cubicBezTo>
                      <a:pt x="57" y="70"/>
                      <a:pt x="55" y="75"/>
                      <a:pt x="51" y="79"/>
                    </a:cubicBezTo>
                    <a:cubicBezTo>
                      <a:pt x="48" y="82"/>
                      <a:pt x="42" y="85"/>
                      <a:pt x="36" y="86"/>
                    </a:cubicBezTo>
                    <a:cubicBezTo>
                      <a:pt x="36" y="91"/>
                      <a:pt x="36" y="91"/>
                      <a:pt x="36" y="91"/>
                    </a:cubicBezTo>
                    <a:cubicBezTo>
                      <a:pt x="36" y="96"/>
                      <a:pt x="33" y="99"/>
                      <a:pt x="29" y="99"/>
                    </a:cubicBezTo>
                    <a:cubicBezTo>
                      <a:pt x="28" y="99"/>
                      <a:pt x="28" y="99"/>
                      <a:pt x="28" y="99"/>
                    </a:cubicBezTo>
                    <a:cubicBezTo>
                      <a:pt x="26" y="99"/>
                      <a:pt x="24" y="98"/>
                      <a:pt x="23" y="97"/>
                    </a:cubicBezTo>
                    <a:cubicBezTo>
                      <a:pt x="22" y="95"/>
                      <a:pt x="22" y="94"/>
                      <a:pt x="22" y="91"/>
                    </a:cubicBezTo>
                    <a:cubicBezTo>
                      <a:pt x="22" y="86"/>
                      <a:pt x="22" y="86"/>
                      <a:pt x="22" y="86"/>
                    </a:cubicBezTo>
                    <a:cubicBezTo>
                      <a:pt x="18" y="86"/>
                      <a:pt x="15" y="85"/>
                      <a:pt x="12" y="84"/>
                    </a:cubicBezTo>
                    <a:cubicBezTo>
                      <a:pt x="10" y="83"/>
                      <a:pt x="8" y="82"/>
                      <a:pt x="6" y="81"/>
                    </a:cubicBezTo>
                    <a:cubicBezTo>
                      <a:pt x="4" y="80"/>
                      <a:pt x="2" y="78"/>
                      <a:pt x="1" y="77"/>
                    </a:cubicBezTo>
                    <a:cubicBezTo>
                      <a:pt x="0" y="75"/>
                      <a:pt x="0" y="74"/>
                      <a:pt x="0" y="72"/>
                    </a:cubicBezTo>
                    <a:cubicBezTo>
                      <a:pt x="0" y="71"/>
                      <a:pt x="0" y="70"/>
                      <a:pt x="1" y="69"/>
                    </a:cubicBezTo>
                    <a:cubicBezTo>
                      <a:pt x="1" y="67"/>
                      <a:pt x="2" y="67"/>
                      <a:pt x="3" y="66"/>
                    </a:cubicBezTo>
                    <a:cubicBezTo>
                      <a:pt x="3" y="65"/>
                      <a:pt x="4" y="64"/>
                      <a:pt x="5" y="64"/>
                    </a:cubicBezTo>
                    <a:cubicBezTo>
                      <a:pt x="5" y="64"/>
                      <a:pt x="6" y="64"/>
                      <a:pt x="6" y="64"/>
                    </a:cubicBezTo>
                    <a:cubicBezTo>
                      <a:pt x="8" y="67"/>
                      <a:pt x="11" y="69"/>
                      <a:pt x="15" y="71"/>
                    </a:cubicBezTo>
                    <a:cubicBezTo>
                      <a:pt x="19" y="73"/>
                      <a:pt x="23" y="74"/>
                      <a:pt x="28" y="74"/>
                    </a:cubicBezTo>
                    <a:cubicBezTo>
                      <a:pt x="32" y="74"/>
                      <a:pt x="35" y="73"/>
                      <a:pt x="37" y="71"/>
                    </a:cubicBezTo>
                    <a:cubicBezTo>
                      <a:pt x="40" y="70"/>
                      <a:pt x="41" y="67"/>
                      <a:pt x="41" y="65"/>
                    </a:cubicBezTo>
                    <a:cubicBezTo>
                      <a:pt x="41" y="63"/>
                      <a:pt x="40" y="62"/>
                      <a:pt x="39" y="61"/>
                    </a:cubicBezTo>
                    <a:cubicBezTo>
                      <a:pt x="38" y="60"/>
                      <a:pt x="37" y="59"/>
                      <a:pt x="36" y="58"/>
                    </a:cubicBezTo>
                    <a:cubicBezTo>
                      <a:pt x="35" y="58"/>
                      <a:pt x="33" y="57"/>
                      <a:pt x="31" y="56"/>
                    </a:cubicBezTo>
                    <a:cubicBezTo>
                      <a:pt x="29" y="56"/>
                      <a:pt x="27" y="55"/>
                      <a:pt x="25" y="55"/>
                    </a:cubicBezTo>
                    <a:cubicBezTo>
                      <a:pt x="23" y="54"/>
                      <a:pt x="20" y="54"/>
                      <a:pt x="17" y="53"/>
                    </a:cubicBezTo>
                    <a:cubicBezTo>
                      <a:pt x="14" y="52"/>
                      <a:pt x="12" y="50"/>
                      <a:pt x="9" y="49"/>
                    </a:cubicBezTo>
                    <a:cubicBezTo>
                      <a:pt x="7" y="47"/>
                      <a:pt x="5" y="45"/>
                      <a:pt x="4" y="43"/>
                    </a:cubicBezTo>
                    <a:cubicBezTo>
                      <a:pt x="2" y="40"/>
                      <a:pt x="2" y="37"/>
                      <a:pt x="2" y="33"/>
                    </a:cubicBezTo>
                    <a:cubicBezTo>
                      <a:pt x="2" y="28"/>
                      <a:pt x="3" y="23"/>
                      <a:pt x="7" y="19"/>
                    </a:cubicBezTo>
                    <a:cubicBezTo>
                      <a:pt x="11" y="15"/>
                      <a:pt x="16" y="13"/>
                      <a:pt x="22" y="12"/>
                    </a:cubicBezTo>
                    <a:cubicBezTo>
                      <a:pt x="22" y="7"/>
                      <a:pt x="22" y="7"/>
                      <a:pt x="22" y="7"/>
                    </a:cubicBezTo>
                    <a:cubicBezTo>
                      <a:pt x="22" y="4"/>
                      <a:pt x="22" y="3"/>
                      <a:pt x="24" y="1"/>
                    </a:cubicBezTo>
                    <a:cubicBezTo>
                      <a:pt x="25" y="0"/>
                      <a:pt x="26" y="0"/>
                      <a:pt x="29" y="0"/>
                    </a:cubicBezTo>
                    <a:cubicBezTo>
                      <a:pt x="29" y="0"/>
                      <a:pt x="29" y="0"/>
                      <a:pt x="29" y="0"/>
                    </a:cubicBezTo>
                    <a:cubicBezTo>
                      <a:pt x="32" y="0"/>
                      <a:pt x="33" y="0"/>
                      <a:pt x="34" y="1"/>
                    </a:cubicBezTo>
                    <a:cubicBezTo>
                      <a:pt x="35" y="3"/>
                      <a:pt x="36" y="4"/>
                      <a:pt x="36" y="7"/>
                    </a:cubicBezTo>
                    <a:cubicBezTo>
                      <a:pt x="36" y="11"/>
                      <a:pt x="36" y="11"/>
                      <a:pt x="36" y="11"/>
                    </a:cubicBezTo>
                    <a:cubicBezTo>
                      <a:pt x="42" y="12"/>
                      <a:pt x="47" y="14"/>
                      <a:pt x="50" y="16"/>
                    </a:cubicBezTo>
                  </a:path>
                </a:pathLst>
              </a:custGeom>
              <a:solidFill>
                <a:schemeClr val="bg1">
                  <a:lumMod val="75000"/>
                </a:schemeClr>
              </a:solidFill>
              <a:ln w="9525">
                <a:noFill/>
                <a:round/>
                <a:headEnd/>
                <a:tailEnd/>
              </a:ln>
            </p:spPr>
            <p:txBody>
              <a:bodyPr/>
              <a:lstStyle/>
              <a:p>
                <a:endParaRPr lang="en-US" sz="2533">
                  <a:solidFill>
                    <a:schemeClr val="bg1">
                      <a:lumMod val="75000"/>
                    </a:schemeClr>
                  </a:solidFill>
                </a:endParaRPr>
              </a:p>
            </p:txBody>
          </p:sp>
          <p:sp>
            <p:nvSpPr>
              <p:cNvPr id="79" name="Freeform 15"/>
              <p:cNvSpPr>
                <a:spLocks/>
              </p:cNvSpPr>
              <p:nvPr/>
            </p:nvSpPr>
            <p:spPr bwMode="auto">
              <a:xfrm>
                <a:off x="5132861" y="3941102"/>
                <a:ext cx="159489" cy="335573"/>
              </a:xfrm>
              <a:custGeom>
                <a:avLst/>
                <a:gdLst/>
                <a:ahLst/>
                <a:cxnLst>
                  <a:cxn ang="0">
                    <a:pos x="50" y="16"/>
                  </a:cxn>
                  <a:cxn ang="0">
                    <a:pos x="56" y="24"/>
                  </a:cxn>
                  <a:cxn ang="0">
                    <a:pos x="55" y="28"/>
                  </a:cxn>
                  <a:cxn ang="0">
                    <a:pos x="53" y="31"/>
                  </a:cxn>
                  <a:cxn ang="0">
                    <a:pos x="50" y="33"/>
                  </a:cxn>
                  <a:cxn ang="0">
                    <a:pos x="50" y="33"/>
                  </a:cxn>
                  <a:cxn ang="0">
                    <a:pos x="41" y="27"/>
                  </a:cxn>
                  <a:cxn ang="0">
                    <a:pos x="30" y="24"/>
                  </a:cxn>
                  <a:cxn ang="0">
                    <a:pos x="20" y="27"/>
                  </a:cxn>
                  <a:cxn ang="0">
                    <a:pos x="17" y="33"/>
                  </a:cxn>
                  <a:cxn ang="0">
                    <a:pos x="19" y="36"/>
                  </a:cxn>
                  <a:cxn ang="0">
                    <a:pos x="22" y="39"/>
                  </a:cxn>
                  <a:cxn ang="0">
                    <a:pos x="26" y="41"/>
                  </a:cxn>
                  <a:cxn ang="0">
                    <a:pos x="33" y="42"/>
                  </a:cxn>
                  <a:cxn ang="0">
                    <a:pos x="41" y="45"/>
                  </a:cxn>
                  <a:cxn ang="0">
                    <a:pos x="49" y="48"/>
                  </a:cxn>
                  <a:cxn ang="0">
                    <a:pos x="55" y="55"/>
                  </a:cxn>
                  <a:cxn ang="0">
                    <a:pos x="57" y="64"/>
                  </a:cxn>
                  <a:cxn ang="0">
                    <a:pos x="51" y="79"/>
                  </a:cxn>
                  <a:cxn ang="0">
                    <a:pos x="36" y="86"/>
                  </a:cxn>
                  <a:cxn ang="0">
                    <a:pos x="36" y="91"/>
                  </a:cxn>
                  <a:cxn ang="0">
                    <a:pos x="29" y="99"/>
                  </a:cxn>
                  <a:cxn ang="0">
                    <a:pos x="28" y="99"/>
                  </a:cxn>
                  <a:cxn ang="0">
                    <a:pos x="23" y="97"/>
                  </a:cxn>
                  <a:cxn ang="0">
                    <a:pos x="22" y="91"/>
                  </a:cxn>
                  <a:cxn ang="0">
                    <a:pos x="22" y="86"/>
                  </a:cxn>
                  <a:cxn ang="0">
                    <a:pos x="12" y="84"/>
                  </a:cxn>
                  <a:cxn ang="0">
                    <a:pos x="6" y="81"/>
                  </a:cxn>
                  <a:cxn ang="0">
                    <a:pos x="1" y="77"/>
                  </a:cxn>
                  <a:cxn ang="0">
                    <a:pos x="0" y="72"/>
                  </a:cxn>
                  <a:cxn ang="0">
                    <a:pos x="1" y="69"/>
                  </a:cxn>
                  <a:cxn ang="0">
                    <a:pos x="3" y="66"/>
                  </a:cxn>
                  <a:cxn ang="0">
                    <a:pos x="5" y="64"/>
                  </a:cxn>
                  <a:cxn ang="0">
                    <a:pos x="6" y="64"/>
                  </a:cxn>
                  <a:cxn ang="0">
                    <a:pos x="15" y="71"/>
                  </a:cxn>
                  <a:cxn ang="0">
                    <a:pos x="28" y="74"/>
                  </a:cxn>
                  <a:cxn ang="0">
                    <a:pos x="37" y="71"/>
                  </a:cxn>
                  <a:cxn ang="0">
                    <a:pos x="41" y="65"/>
                  </a:cxn>
                  <a:cxn ang="0">
                    <a:pos x="39" y="61"/>
                  </a:cxn>
                  <a:cxn ang="0">
                    <a:pos x="36" y="58"/>
                  </a:cxn>
                  <a:cxn ang="0">
                    <a:pos x="31" y="56"/>
                  </a:cxn>
                  <a:cxn ang="0">
                    <a:pos x="25" y="55"/>
                  </a:cxn>
                  <a:cxn ang="0">
                    <a:pos x="17" y="53"/>
                  </a:cxn>
                  <a:cxn ang="0">
                    <a:pos x="9" y="49"/>
                  </a:cxn>
                  <a:cxn ang="0">
                    <a:pos x="4" y="43"/>
                  </a:cxn>
                  <a:cxn ang="0">
                    <a:pos x="2" y="33"/>
                  </a:cxn>
                  <a:cxn ang="0">
                    <a:pos x="7" y="19"/>
                  </a:cxn>
                  <a:cxn ang="0">
                    <a:pos x="22" y="12"/>
                  </a:cxn>
                  <a:cxn ang="0">
                    <a:pos x="22" y="7"/>
                  </a:cxn>
                  <a:cxn ang="0">
                    <a:pos x="24" y="1"/>
                  </a:cxn>
                  <a:cxn ang="0">
                    <a:pos x="29" y="0"/>
                  </a:cxn>
                  <a:cxn ang="0">
                    <a:pos x="29" y="0"/>
                  </a:cxn>
                  <a:cxn ang="0">
                    <a:pos x="34" y="1"/>
                  </a:cxn>
                  <a:cxn ang="0">
                    <a:pos x="36" y="7"/>
                  </a:cxn>
                  <a:cxn ang="0">
                    <a:pos x="36" y="11"/>
                  </a:cxn>
                  <a:cxn ang="0">
                    <a:pos x="50" y="16"/>
                  </a:cxn>
                </a:cxnLst>
                <a:rect l="0" t="0" r="r" b="b"/>
                <a:pathLst>
                  <a:path w="57" h="99">
                    <a:moveTo>
                      <a:pt x="50" y="16"/>
                    </a:moveTo>
                    <a:cubicBezTo>
                      <a:pt x="54" y="19"/>
                      <a:pt x="56" y="22"/>
                      <a:pt x="56" y="24"/>
                    </a:cubicBezTo>
                    <a:cubicBezTo>
                      <a:pt x="56" y="26"/>
                      <a:pt x="55" y="27"/>
                      <a:pt x="55" y="28"/>
                    </a:cubicBezTo>
                    <a:cubicBezTo>
                      <a:pt x="54" y="29"/>
                      <a:pt x="54" y="30"/>
                      <a:pt x="53" y="31"/>
                    </a:cubicBezTo>
                    <a:cubicBezTo>
                      <a:pt x="52" y="32"/>
                      <a:pt x="51" y="32"/>
                      <a:pt x="50" y="33"/>
                    </a:cubicBezTo>
                    <a:cubicBezTo>
                      <a:pt x="50" y="33"/>
                      <a:pt x="50" y="33"/>
                      <a:pt x="50" y="33"/>
                    </a:cubicBezTo>
                    <a:cubicBezTo>
                      <a:pt x="47" y="30"/>
                      <a:pt x="44" y="28"/>
                      <a:pt x="41" y="27"/>
                    </a:cubicBezTo>
                    <a:cubicBezTo>
                      <a:pt x="37" y="25"/>
                      <a:pt x="34" y="24"/>
                      <a:pt x="30" y="24"/>
                    </a:cubicBezTo>
                    <a:cubicBezTo>
                      <a:pt x="26" y="24"/>
                      <a:pt x="23" y="25"/>
                      <a:pt x="20" y="27"/>
                    </a:cubicBezTo>
                    <a:cubicBezTo>
                      <a:pt x="19" y="28"/>
                      <a:pt x="17" y="30"/>
                      <a:pt x="17" y="33"/>
                    </a:cubicBezTo>
                    <a:cubicBezTo>
                      <a:pt x="17" y="34"/>
                      <a:pt x="18" y="35"/>
                      <a:pt x="19" y="36"/>
                    </a:cubicBezTo>
                    <a:cubicBezTo>
                      <a:pt x="19" y="38"/>
                      <a:pt x="20" y="38"/>
                      <a:pt x="22" y="39"/>
                    </a:cubicBezTo>
                    <a:cubicBezTo>
                      <a:pt x="23" y="40"/>
                      <a:pt x="25" y="40"/>
                      <a:pt x="26" y="41"/>
                    </a:cubicBezTo>
                    <a:cubicBezTo>
                      <a:pt x="28" y="41"/>
                      <a:pt x="30" y="42"/>
                      <a:pt x="33" y="42"/>
                    </a:cubicBezTo>
                    <a:cubicBezTo>
                      <a:pt x="35" y="43"/>
                      <a:pt x="38" y="44"/>
                      <a:pt x="41" y="45"/>
                    </a:cubicBezTo>
                    <a:cubicBezTo>
                      <a:pt x="44" y="45"/>
                      <a:pt x="46" y="47"/>
                      <a:pt x="49" y="48"/>
                    </a:cubicBezTo>
                    <a:cubicBezTo>
                      <a:pt x="51" y="50"/>
                      <a:pt x="53" y="52"/>
                      <a:pt x="55" y="55"/>
                    </a:cubicBezTo>
                    <a:cubicBezTo>
                      <a:pt x="56" y="57"/>
                      <a:pt x="57" y="60"/>
                      <a:pt x="57" y="64"/>
                    </a:cubicBezTo>
                    <a:cubicBezTo>
                      <a:pt x="57" y="70"/>
                      <a:pt x="55" y="75"/>
                      <a:pt x="51" y="79"/>
                    </a:cubicBezTo>
                    <a:cubicBezTo>
                      <a:pt x="48" y="82"/>
                      <a:pt x="42" y="85"/>
                      <a:pt x="36" y="86"/>
                    </a:cubicBezTo>
                    <a:cubicBezTo>
                      <a:pt x="36" y="91"/>
                      <a:pt x="36" y="91"/>
                      <a:pt x="36" y="91"/>
                    </a:cubicBezTo>
                    <a:cubicBezTo>
                      <a:pt x="36" y="96"/>
                      <a:pt x="33" y="99"/>
                      <a:pt x="29" y="99"/>
                    </a:cubicBezTo>
                    <a:cubicBezTo>
                      <a:pt x="28" y="99"/>
                      <a:pt x="28" y="99"/>
                      <a:pt x="28" y="99"/>
                    </a:cubicBezTo>
                    <a:cubicBezTo>
                      <a:pt x="26" y="99"/>
                      <a:pt x="24" y="98"/>
                      <a:pt x="23" y="97"/>
                    </a:cubicBezTo>
                    <a:cubicBezTo>
                      <a:pt x="22" y="95"/>
                      <a:pt x="22" y="94"/>
                      <a:pt x="22" y="91"/>
                    </a:cubicBezTo>
                    <a:cubicBezTo>
                      <a:pt x="22" y="86"/>
                      <a:pt x="22" y="86"/>
                      <a:pt x="22" y="86"/>
                    </a:cubicBezTo>
                    <a:cubicBezTo>
                      <a:pt x="18" y="86"/>
                      <a:pt x="15" y="85"/>
                      <a:pt x="12" y="84"/>
                    </a:cubicBezTo>
                    <a:cubicBezTo>
                      <a:pt x="10" y="83"/>
                      <a:pt x="8" y="82"/>
                      <a:pt x="6" y="81"/>
                    </a:cubicBezTo>
                    <a:cubicBezTo>
                      <a:pt x="4" y="80"/>
                      <a:pt x="2" y="78"/>
                      <a:pt x="1" y="77"/>
                    </a:cubicBezTo>
                    <a:cubicBezTo>
                      <a:pt x="0" y="75"/>
                      <a:pt x="0" y="74"/>
                      <a:pt x="0" y="72"/>
                    </a:cubicBezTo>
                    <a:cubicBezTo>
                      <a:pt x="0" y="71"/>
                      <a:pt x="0" y="70"/>
                      <a:pt x="1" y="69"/>
                    </a:cubicBezTo>
                    <a:cubicBezTo>
                      <a:pt x="1" y="67"/>
                      <a:pt x="2" y="67"/>
                      <a:pt x="3" y="66"/>
                    </a:cubicBezTo>
                    <a:cubicBezTo>
                      <a:pt x="3" y="65"/>
                      <a:pt x="4" y="64"/>
                      <a:pt x="5" y="64"/>
                    </a:cubicBezTo>
                    <a:cubicBezTo>
                      <a:pt x="5" y="64"/>
                      <a:pt x="6" y="64"/>
                      <a:pt x="6" y="64"/>
                    </a:cubicBezTo>
                    <a:cubicBezTo>
                      <a:pt x="8" y="67"/>
                      <a:pt x="11" y="69"/>
                      <a:pt x="15" y="71"/>
                    </a:cubicBezTo>
                    <a:cubicBezTo>
                      <a:pt x="19" y="73"/>
                      <a:pt x="23" y="74"/>
                      <a:pt x="28" y="74"/>
                    </a:cubicBezTo>
                    <a:cubicBezTo>
                      <a:pt x="32" y="74"/>
                      <a:pt x="35" y="73"/>
                      <a:pt x="37" y="71"/>
                    </a:cubicBezTo>
                    <a:cubicBezTo>
                      <a:pt x="40" y="70"/>
                      <a:pt x="41" y="67"/>
                      <a:pt x="41" y="65"/>
                    </a:cubicBezTo>
                    <a:cubicBezTo>
                      <a:pt x="41" y="63"/>
                      <a:pt x="40" y="62"/>
                      <a:pt x="39" y="61"/>
                    </a:cubicBezTo>
                    <a:cubicBezTo>
                      <a:pt x="38" y="60"/>
                      <a:pt x="37" y="59"/>
                      <a:pt x="36" y="58"/>
                    </a:cubicBezTo>
                    <a:cubicBezTo>
                      <a:pt x="35" y="58"/>
                      <a:pt x="33" y="57"/>
                      <a:pt x="31" y="56"/>
                    </a:cubicBezTo>
                    <a:cubicBezTo>
                      <a:pt x="29" y="56"/>
                      <a:pt x="27" y="55"/>
                      <a:pt x="25" y="55"/>
                    </a:cubicBezTo>
                    <a:cubicBezTo>
                      <a:pt x="23" y="54"/>
                      <a:pt x="20" y="54"/>
                      <a:pt x="17" y="53"/>
                    </a:cubicBezTo>
                    <a:cubicBezTo>
                      <a:pt x="14" y="52"/>
                      <a:pt x="12" y="50"/>
                      <a:pt x="9" y="49"/>
                    </a:cubicBezTo>
                    <a:cubicBezTo>
                      <a:pt x="7" y="47"/>
                      <a:pt x="5" y="45"/>
                      <a:pt x="4" y="43"/>
                    </a:cubicBezTo>
                    <a:cubicBezTo>
                      <a:pt x="2" y="40"/>
                      <a:pt x="2" y="37"/>
                      <a:pt x="2" y="33"/>
                    </a:cubicBezTo>
                    <a:cubicBezTo>
                      <a:pt x="2" y="28"/>
                      <a:pt x="3" y="23"/>
                      <a:pt x="7" y="19"/>
                    </a:cubicBezTo>
                    <a:cubicBezTo>
                      <a:pt x="11" y="15"/>
                      <a:pt x="16" y="13"/>
                      <a:pt x="22" y="12"/>
                    </a:cubicBezTo>
                    <a:cubicBezTo>
                      <a:pt x="22" y="7"/>
                      <a:pt x="22" y="7"/>
                      <a:pt x="22" y="7"/>
                    </a:cubicBezTo>
                    <a:cubicBezTo>
                      <a:pt x="22" y="4"/>
                      <a:pt x="22" y="3"/>
                      <a:pt x="24" y="1"/>
                    </a:cubicBezTo>
                    <a:cubicBezTo>
                      <a:pt x="25" y="0"/>
                      <a:pt x="26" y="0"/>
                      <a:pt x="29" y="0"/>
                    </a:cubicBezTo>
                    <a:cubicBezTo>
                      <a:pt x="29" y="0"/>
                      <a:pt x="29" y="0"/>
                      <a:pt x="29" y="0"/>
                    </a:cubicBezTo>
                    <a:cubicBezTo>
                      <a:pt x="32" y="0"/>
                      <a:pt x="33" y="0"/>
                      <a:pt x="34" y="1"/>
                    </a:cubicBezTo>
                    <a:cubicBezTo>
                      <a:pt x="35" y="3"/>
                      <a:pt x="36" y="4"/>
                      <a:pt x="36" y="7"/>
                    </a:cubicBezTo>
                    <a:cubicBezTo>
                      <a:pt x="36" y="11"/>
                      <a:pt x="36" y="11"/>
                      <a:pt x="36" y="11"/>
                    </a:cubicBezTo>
                    <a:cubicBezTo>
                      <a:pt x="42" y="12"/>
                      <a:pt x="47" y="14"/>
                      <a:pt x="50" y="16"/>
                    </a:cubicBezTo>
                  </a:path>
                </a:pathLst>
              </a:custGeom>
              <a:solidFill>
                <a:schemeClr val="bg1">
                  <a:lumMod val="75000"/>
                </a:schemeClr>
              </a:solidFill>
              <a:ln w="9525">
                <a:noFill/>
                <a:round/>
                <a:headEnd/>
                <a:tailEnd/>
              </a:ln>
            </p:spPr>
            <p:txBody>
              <a:bodyPr/>
              <a:lstStyle/>
              <a:p>
                <a:endParaRPr lang="en-US" sz="2533">
                  <a:solidFill>
                    <a:schemeClr val="bg1">
                      <a:lumMod val="75000"/>
                    </a:schemeClr>
                  </a:solidFill>
                </a:endParaRPr>
              </a:p>
            </p:txBody>
          </p:sp>
          <p:sp>
            <p:nvSpPr>
              <p:cNvPr id="80" name="Freeform 15"/>
              <p:cNvSpPr>
                <a:spLocks/>
              </p:cNvSpPr>
              <p:nvPr/>
            </p:nvSpPr>
            <p:spPr bwMode="auto">
              <a:xfrm>
                <a:off x="5332222" y="3941102"/>
                <a:ext cx="159489" cy="335573"/>
              </a:xfrm>
              <a:custGeom>
                <a:avLst/>
                <a:gdLst/>
                <a:ahLst/>
                <a:cxnLst>
                  <a:cxn ang="0">
                    <a:pos x="50" y="16"/>
                  </a:cxn>
                  <a:cxn ang="0">
                    <a:pos x="56" y="24"/>
                  </a:cxn>
                  <a:cxn ang="0">
                    <a:pos x="55" y="28"/>
                  </a:cxn>
                  <a:cxn ang="0">
                    <a:pos x="53" y="31"/>
                  </a:cxn>
                  <a:cxn ang="0">
                    <a:pos x="50" y="33"/>
                  </a:cxn>
                  <a:cxn ang="0">
                    <a:pos x="50" y="33"/>
                  </a:cxn>
                  <a:cxn ang="0">
                    <a:pos x="41" y="27"/>
                  </a:cxn>
                  <a:cxn ang="0">
                    <a:pos x="30" y="24"/>
                  </a:cxn>
                  <a:cxn ang="0">
                    <a:pos x="20" y="27"/>
                  </a:cxn>
                  <a:cxn ang="0">
                    <a:pos x="17" y="33"/>
                  </a:cxn>
                  <a:cxn ang="0">
                    <a:pos x="19" y="36"/>
                  </a:cxn>
                  <a:cxn ang="0">
                    <a:pos x="22" y="39"/>
                  </a:cxn>
                  <a:cxn ang="0">
                    <a:pos x="26" y="41"/>
                  </a:cxn>
                  <a:cxn ang="0">
                    <a:pos x="33" y="42"/>
                  </a:cxn>
                  <a:cxn ang="0">
                    <a:pos x="41" y="45"/>
                  </a:cxn>
                  <a:cxn ang="0">
                    <a:pos x="49" y="48"/>
                  </a:cxn>
                  <a:cxn ang="0">
                    <a:pos x="55" y="55"/>
                  </a:cxn>
                  <a:cxn ang="0">
                    <a:pos x="57" y="64"/>
                  </a:cxn>
                  <a:cxn ang="0">
                    <a:pos x="51" y="79"/>
                  </a:cxn>
                  <a:cxn ang="0">
                    <a:pos x="36" y="86"/>
                  </a:cxn>
                  <a:cxn ang="0">
                    <a:pos x="36" y="91"/>
                  </a:cxn>
                  <a:cxn ang="0">
                    <a:pos x="29" y="99"/>
                  </a:cxn>
                  <a:cxn ang="0">
                    <a:pos x="28" y="99"/>
                  </a:cxn>
                  <a:cxn ang="0">
                    <a:pos x="23" y="97"/>
                  </a:cxn>
                  <a:cxn ang="0">
                    <a:pos x="22" y="91"/>
                  </a:cxn>
                  <a:cxn ang="0">
                    <a:pos x="22" y="86"/>
                  </a:cxn>
                  <a:cxn ang="0">
                    <a:pos x="12" y="84"/>
                  </a:cxn>
                  <a:cxn ang="0">
                    <a:pos x="6" y="81"/>
                  </a:cxn>
                  <a:cxn ang="0">
                    <a:pos x="1" y="77"/>
                  </a:cxn>
                  <a:cxn ang="0">
                    <a:pos x="0" y="72"/>
                  </a:cxn>
                  <a:cxn ang="0">
                    <a:pos x="1" y="69"/>
                  </a:cxn>
                  <a:cxn ang="0">
                    <a:pos x="3" y="66"/>
                  </a:cxn>
                  <a:cxn ang="0">
                    <a:pos x="5" y="64"/>
                  </a:cxn>
                  <a:cxn ang="0">
                    <a:pos x="6" y="64"/>
                  </a:cxn>
                  <a:cxn ang="0">
                    <a:pos x="15" y="71"/>
                  </a:cxn>
                  <a:cxn ang="0">
                    <a:pos x="28" y="74"/>
                  </a:cxn>
                  <a:cxn ang="0">
                    <a:pos x="37" y="71"/>
                  </a:cxn>
                  <a:cxn ang="0">
                    <a:pos x="41" y="65"/>
                  </a:cxn>
                  <a:cxn ang="0">
                    <a:pos x="39" y="61"/>
                  </a:cxn>
                  <a:cxn ang="0">
                    <a:pos x="36" y="58"/>
                  </a:cxn>
                  <a:cxn ang="0">
                    <a:pos x="31" y="56"/>
                  </a:cxn>
                  <a:cxn ang="0">
                    <a:pos x="25" y="55"/>
                  </a:cxn>
                  <a:cxn ang="0">
                    <a:pos x="17" y="53"/>
                  </a:cxn>
                  <a:cxn ang="0">
                    <a:pos x="9" y="49"/>
                  </a:cxn>
                  <a:cxn ang="0">
                    <a:pos x="4" y="43"/>
                  </a:cxn>
                  <a:cxn ang="0">
                    <a:pos x="2" y="33"/>
                  </a:cxn>
                  <a:cxn ang="0">
                    <a:pos x="7" y="19"/>
                  </a:cxn>
                  <a:cxn ang="0">
                    <a:pos x="22" y="12"/>
                  </a:cxn>
                  <a:cxn ang="0">
                    <a:pos x="22" y="7"/>
                  </a:cxn>
                  <a:cxn ang="0">
                    <a:pos x="24" y="1"/>
                  </a:cxn>
                  <a:cxn ang="0">
                    <a:pos x="29" y="0"/>
                  </a:cxn>
                  <a:cxn ang="0">
                    <a:pos x="29" y="0"/>
                  </a:cxn>
                  <a:cxn ang="0">
                    <a:pos x="34" y="1"/>
                  </a:cxn>
                  <a:cxn ang="0">
                    <a:pos x="36" y="7"/>
                  </a:cxn>
                  <a:cxn ang="0">
                    <a:pos x="36" y="11"/>
                  </a:cxn>
                  <a:cxn ang="0">
                    <a:pos x="50" y="16"/>
                  </a:cxn>
                </a:cxnLst>
                <a:rect l="0" t="0" r="r" b="b"/>
                <a:pathLst>
                  <a:path w="57" h="99">
                    <a:moveTo>
                      <a:pt x="50" y="16"/>
                    </a:moveTo>
                    <a:cubicBezTo>
                      <a:pt x="54" y="19"/>
                      <a:pt x="56" y="22"/>
                      <a:pt x="56" y="24"/>
                    </a:cubicBezTo>
                    <a:cubicBezTo>
                      <a:pt x="56" y="26"/>
                      <a:pt x="55" y="27"/>
                      <a:pt x="55" y="28"/>
                    </a:cubicBezTo>
                    <a:cubicBezTo>
                      <a:pt x="54" y="29"/>
                      <a:pt x="54" y="30"/>
                      <a:pt x="53" y="31"/>
                    </a:cubicBezTo>
                    <a:cubicBezTo>
                      <a:pt x="52" y="32"/>
                      <a:pt x="51" y="32"/>
                      <a:pt x="50" y="33"/>
                    </a:cubicBezTo>
                    <a:cubicBezTo>
                      <a:pt x="50" y="33"/>
                      <a:pt x="50" y="33"/>
                      <a:pt x="50" y="33"/>
                    </a:cubicBezTo>
                    <a:cubicBezTo>
                      <a:pt x="47" y="30"/>
                      <a:pt x="44" y="28"/>
                      <a:pt x="41" y="27"/>
                    </a:cubicBezTo>
                    <a:cubicBezTo>
                      <a:pt x="37" y="25"/>
                      <a:pt x="34" y="24"/>
                      <a:pt x="30" y="24"/>
                    </a:cubicBezTo>
                    <a:cubicBezTo>
                      <a:pt x="26" y="24"/>
                      <a:pt x="23" y="25"/>
                      <a:pt x="20" y="27"/>
                    </a:cubicBezTo>
                    <a:cubicBezTo>
                      <a:pt x="19" y="28"/>
                      <a:pt x="17" y="30"/>
                      <a:pt x="17" y="33"/>
                    </a:cubicBezTo>
                    <a:cubicBezTo>
                      <a:pt x="17" y="34"/>
                      <a:pt x="18" y="35"/>
                      <a:pt x="19" y="36"/>
                    </a:cubicBezTo>
                    <a:cubicBezTo>
                      <a:pt x="19" y="38"/>
                      <a:pt x="20" y="38"/>
                      <a:pt x="22" y="39"/>
                    </a:cubicBezTo>
                    <a:cubicBezTo>
                      <a:pt x="23" y="40"/>
                      <a:pt x="25" y="40"/>
                      <a:pt x="26" y="41"/>
                    </a:cubicBezTo>
                    <a:cubicBezTo>
                      <a:pt x="28" y="41"/>
                      <a:pt x="30" y="42"/>
                      <a:pt x="33" y="42"/>
                    </a:cubicBezTo>
                    <a:cubicBezTo>
                      <a:pt x="35" y="43"/>
                      <a:pt x="38" y="44"/>
                      <a:pt x="41" y="45"/>
                    </a:cubicBezTo>
                    <a:cubicBezTo>
                      <a:pt x="44" y="45"/>
                      <a:pt x="46" y="47"/>
                      <a:pt x="49" y="48"/>
                    </a:cubicBezTo>
                    <a:cubicBezTo>
                      <a:pt x="51" y="50"/>
                      <a:pt x="53" y="52"/>
                      <a:pt x="55" y="55"/>
                    </a:cubicBezTo>
                    <a:cubicBezTo>
                      <a:pt x="56" y="57"/>
                      <a:pt x="57" y="60"/>
                      <a:pt x="57" y="64"/>
                    </a:cubicBezTo>
                    <a:cubicBezTo>
                      <a:pt x="57" y="70"/>
                      <a:pt x="55" y="75"/>
                      <a:pt x="51" y="79"/>
                    </a:cubicBezTo>
                    <a:cubicBezTo>
                      <a:pt x="48" y="82"/>
                      <a:pt x="42" y="85"/>
                      <a:pt x="36" y="86"/>
                    </a:cubicBezTo>
                    <a:cubicBezTo>
                      <a:pt x="36" y="91"/>
                      <a:pt x="36" y="91"/>
                      <a:pt x="36" y="91"/>
                    </a:cubicBezTo>
                    <a:cubicBezTo>
                      <a:pt x="36" y="96"/>
                      <a:pt x="33" y="99"/>
                      <a:pt x="29" y="99"/>
                    </a:cubicBezTo>
                    <a:cubicBezTo>
                      <a:pt x="28" y="99"/>
                      <a:pt x="28" y="99"/>
                      <a:pt x="28" y="99"/>
                    </a:cubicBezTo>
                    <a:cubicBezTo>
                      <a:pt x="26" y="99"/>
                      <a:pt x="24" y="98"/>
                      <a:pt x="23" y="97"/>
                    </a:cubicBezTo>
                    <a:cubicBezTo>
                      <a:pt x="22" y="95"/>
                      <a:pt x="22" y="94"/>
                      <a:pt x="22" y="91"/>
                    </a:cubicBezTo>
                    <a:cubicBezTo>
                      <a:pt x="22" y="86"/>
                      <a:pt x="22" y="86"/>
                      <a:pt x="22" y="86"/>
                    </a:cubicBezTo>
                    <a:cubicBezTo>
                      <a:pt x="18" y="86"/>
                      <a:pt x="15" y="85"/>
                      <a:pt x="12" y="84"/>
                    </a:cubicBezTo>
                    <a:cubicBezTo>
                      <a:pt x="10" y="83"/>
                      <a:pt x="8" y="82"/>
                      <a:pt x="6" y="81"/>
                    </a:cubicBezTo>
                    <a:cubicBezTo>
                      <a:pt x="4" y="80"/>
                      <a:pt x="2" y="78"/>
                      <a:pt x="1" y="77"/>
                    </a:cubicBezTo>
                    <a:cubicBezTo>
                      <a:pt x="0" y="75"/>
                      <a:pt x="0" y="74"/>
                      <a:pt x="0" y="72"/>
                    </a:cubicBezTo>
                    <a:cubicBezTo>
                      <a:pt x="0" y="71"/>
                      <a:pt x="0" y="70"/>
                      <a:pt x="1" y="69"/>
                    </a:cubicBezTo>
                    <a:cubicBezTo>
                      <a:pt x="1" y="67"/>
                      <a:pt x="2" y="67"/>
                      <a:pt x="3" y="66"/>
                    </a:cubicBezTo>
                    <a:cubicBezTo>
                      <a:pt x="3" y="65"/>
                      <a:pt x="4" y="64"/>
                      <a:pt x="5" y="64"/>
                    </a:cubicBezTo>
                    <a:cubicBezTo>
                      <a:pt x="5" y="64"/>
                      <a:pt x="6" y="64"/>
                      <a:pt x="6" y="64"/>
                    </a:cubicBezTo>
                    <a:cubicBezTo>
                      <a:pt x="8" y="67"/>
                      <a:pt x="11" y="69"/>
                      <a:pt x="15" y="71"/>
                    </a:cubicBezTo>
                    <a:cubicBezTo>
                      <a:pt x="19" y="73"/>
                      <a:pt x="23" y="74"/>
                      <a:pt x="28" y="74"/>
                    </a:cubicBezTo>
                    <a:cubicBezTo>
                      <a:pt x="32" y="74"/>
                      <a:pt x="35" y="73"/>
                      <a:pt x="37" y="71"/>
                    </a:cubicBezTo>
                    <a:cubicBezTo>
                      <a:pt x="40" y="70"/>
                      <a:pt x="41" y="67"/>
                      <a:pt x="41" y="65"/>
                    </a:cubicBezTo>
                    <a:cubicBezTo>
                      <a:pt x="41" y="63"/>
                      <a:pt x="40" y="62"/>
                      <a:pt x="39" y="61"/>
                    </a:cubicBezTo>
                    <a:cubicBezTo>
                      <a:pt x="38" y="60"/>
                      <a:pt x="37" y="59"/>
                      <a:pt x="36" y="58"/>
                    </a:cubicBezTo>
                    <a:cubicBezTo>
                      <a:pt x="35" y="58"/>
                      <a:pt x="33" y="57"/>
                      <a:pt x="31" y="56"/>
                    </a:cubicBezTo>
                    <a:cubicBezTo>
                      <a:pt x="29" y="56"/>
                      <a:pt x="27" y="55"/>
                      <a:pt x="25" y="55"/>
                    </a:cubicBezTo>
                    <a:cubicBezTo>
                      <a:pt x="23" y="54"/>
                      <a:pt x="20" y="54"/>
                      <a:pt x="17" y="53"/>
                    </a:cubicBezTo>
                    <a:cubicBezTo>
                      <a:pt x="14" y="52"/>
                      <a:pt x="12" y="50"/>
                      <a:pt x="9" y="49"/>
                    </a:cubicBezTo>
                    <a:cubicBezTo>
                      <a:pt x="7" y="47"/>
                      <a:pt x="5" y="45"/>
                      <a:pt x="4" y="43"/>
                    </a:cubicBezTo>
                    <a:cubicBezTo>
                      <a:pt x="2" y="40"/>
                      <a:pt x="2" y="37"/>
                      <a:pt x="2" y="33"/>
                    </a:cubicBezTo>
                    <a:cubicBezTo>
                      <a:pt x="2" y="28"/>
                      <a:pt x="3" y="23"/>
                      <a:pt x="7" y="19"/>
                    </a:cubicBezTo>
                    <a:cubicBezTo>
                      <a:pt x="11" y="15"/>
                      <a:pt x="16" y="13"/>
                      <a:pt x="22" y="12"/>
                    </a:cubicBezTo>
                    <a:cubicBezTo>
                      <a:pt x="22" y="7"/>
                      <a:pt x="22" y="7"/>
                      <a:pt x="22" y="7"/>
                    </a:cubicBezTo>
                    <a:cubicBezTo>
                      <a:pt x="22" y="4"/>
                      <a:pt x="22" y="3"/>
                      <a:pt x="24" y="1"/>
                    </a:cubicBezTo>
                    <a:cubicBezTo>
                      <a:pt x="25" y="0"/>
                      <a:pt x="26" y="0"/>
                      <a:pt x="29" y="0"/>
                    </a:cubicBezTo>
                    <a:cubicBezTo>
                      <a:pt x="29" y="0"/>
                      <a:pt x="29" y="0"/>
                      <a:pt x="29" y="0"/>
                    </a:cubicBezTo>
                    <a:cubicBezTo>
                      <a:pt x="32" y="0"/>
                      <a:pt x="33" y="0"/>
                      <a:pt x="34" y="1"/>
                    </a:cubicBezTo>
                    <a:cubicBezTo>
                      <a:pt x="35" y="3"/>
                      <a:pt x="36" y="4"/>
                      <a:pt x="36" y="7"/>
                    </a:cubicBezTo>
                    <a:cubicBezTo>
                      <a:pt x="36" y="11"/>
                      <a:pt x="36" y="11"/>
                      <a:pt x="36" y="11"/>
                    </a:cubicBezTo>
                    <a:cubicBezTo>
                      <a:pt x="42" y="12"/>
                      <a:pt x="47" y="14"/>
                      <a:pt x="50" y="16"/>
                    </a:cubicBezTo>
                  </a:path>
                </a:pathLst>
              </a:custGeom>
              <a:solidFill>
                <a:schemeClr val="bg1">
                  <a:lumMod val="75000"/>
                </a:schemeClr>
              </a:solidFill>
              <a:ln w="9525">
                <a:noFill/>
                <a:round/>
                <a:headEnd/>
                <a:tailEnd/>
              </a:ln>
            </p:spPr>
            <p:txBody>
              <a:bodyPr/>
              <a:lstStyle/>
              <a:p>
                <a:endParaRPr lang="en-US" sz="2533">
                  <a:solidFill>
                    <a:schemeClr val="bg1">
                      <a:lumMod val="75000"/>
                    </a:schemeClr>
                  </a:solidFill>
                </a:endParaRPr>
              </a:p>
            </p:txBody>
          </p:sp>
          <p:sp>
            <p:nvSpPr>
              <p:cNvPr id="83" name="Freeform 13"/>
              <p:cNvSpPr>
                <a:spLocks/>
              </p:cNvSpPr>
              <p:nvPr/>
            </p:nvSpPr>
            <p:spPr bwMode="auto">
              <a:xfrm>
                <a:off x="4469071" y="4041572"/>
                <a:ext cx="273050" cy="60325"/>
              </a:xfrm>
              <a:custGeom>
                <a:avLst/>
                <a:gdLst/>
                <a:ahLst/>
                <a:cxnLst>
                  <a:cxn ang="0">
                    <a:pos x="33" y="19"/>
                  </a:cxn>
                  <a:cxn ang="0">
                    <a:pos x="10" y="19"/>
                  </a:cxn>
                  <a:cxn ang="0">
                    <a:pos x="0" y="11"/>
                  </a:cxn>
                  <a:cxn ang="0">
                    <a:pos x="0" y="9"/>
                  </a:cxn>
                  <a:cxn ang="0">
                    <a:pos x="10" y="0"/>
                  </a:cxn>
                  <a:cxn ang="0">
                    <a:pos x="33" y="0"/>
                  </a:cxn>
                  <a:cxn ang="0">
                    <a:pos x="53" y="0"/>
                  </a:cxn>
                  <a:cxn ang="0">
                    <a:pos x="75" y="0"/>
                  </a:cxn>
                  <a:cxn ang="0">
                    <a:pos x="86" y="9"/>
                  </a:cxn>
                  <a:cxn ang="0">
                    <a:pos x="86" y="11"/>
                  </a:cxn>
                  <a:cxn ang="0">
                    <a:pos x="75" y="19"/>
                  </a:cxn>
                  <a:cxn ang="0">
                    <a:pos x="53" y="19"/>
                  </a:cxn>
                </a:cxnLst>
                <a:rect l="0" t="0" r="r" b="b"/>
                <a:pathLst>
                  <a:path w="86" h="19">
                    <a:moveTo>
                      <a:pt x="33" y="19"/>
                    </a:moveTo>
                    <a:cubicBezTo>
                      <a:pt x="10" y="19"/>
                      <a:pt x="10" y="19"/>
                      <a:pt x="10" y="19"/>
                    </a:cubicBezTo>
                    <a:cubicBezTo>
                      <a:pt x="3" y="19"/>
                      <a:pt x="0" y="16"/>
                      <a:pt x="0" y="11"/>
                    </a:cubicBezTo>
                    <a:cubicBezTo>
                      <a:pt x="0" y="9"/>
                      <a:pt x="0" y="9"/>
                      <a:pt x="0" y="9"/>
                    </a:cubicBezTo>
                    <a:cubicBezTo>
                      <a:pt x="0" y="4"/>
                      <a:pt x="3" y="0"/>
                      <a:pt x="10" y="0"/>
                    </a:cubicBezTo>
                    <a:cubicBezTo>
                      <a:pt x="33" y="0"/>
                      <a:pt x="33" y="0"/>
                      <a:pt x="33" y="0"/>
                    </a:cubicBezTo>
                    <a:cubicBezTo>
                      <a:pt x="53" y="0"/>
                      <a:pt x="53" y="0"/>
                      <a:pt x="53" y="0"/>
                    </a:cubicBezTo>
                    <a:cubicBezTo>
                      <a:pt x="75" y="0"/>
                      <a:pt x="75" y="0"/>
                      <a:pt x="75" y="0"/>
                    </a:cubicBezTo>
                    <a:cubicBezTo>
                      <a:pt x="83" y="0"/>
                      <a:pt x="86" y="4"/>
                      <a:pt x="86" y="9"/>
                    </a:cubicBezTo>
                    <a:cubicBezTo>
                      <a:pt x="86" y="11"/>
                      <a:pt x="86" y="11"/>
                      <a:pt x="86" y="11"/>
                    </a:cubicBezTo>
                    <a:cubicBezTo>
                      <a:pt x="86" y="16"/>
                      <a:pt x="83" y="19"/>
                      <a:pt x="75" y="19"/>
                    </a:cubicBezTo>
                    <a:cubicBezTo>
                      <a:pt x="53" y="19"/>
                      <a:pt x="53" y="19"/>
                      <a:pt x="53" y="19"/>
                    </a:cubicBezTo>
                  </a:path>
                </a:pathLst>
              </a:custGeom>
              <a:solidFill>
                <a:schemeClr val="bg1">
                  <a:lumMod val="75000"/>
                </a:schemeClr>
              </a:solidFill>
              <a:ln w="9525">
                <a:noFill/>
                <a:round/>
                <a:headEnd/>
                <a:tailEnd/>
              </a:ln>
            </p:spPr>
            <p:txBody>
              <a:bodyPr/>
              <a:lstStyle/>
              <a:p>
                <a:endParaRPr lang="en-US" sz="2533">
                  <a:solidFill>
                    <a:schemeClr val="bg1">
                      <a:lumMod val="75000"/>
                    </a:schemeClr>
                  </a:solidFill>
                </a:endParaRPr>
              </a:p>
            </p:txBody>
          </p:sp>
          <p:sp>
            <p:nvSpPr>
              <p:cNvPr id="84" name="Freeform 14"/>
              <p:cNvSpPr>
                <a:spLocks/>
              </p:cNvSpPr>
              <p:nvPr/>
            </p:nvSpPr>
            <p:spPr bwMode="auto">
              <a:xfrm>
                <a:off x="4469071" y="4168572"/>
                <a:ext cx="273050" cy="60325"/>
              </a:xfrm>
              <a:custGeom>
                <a:avLst/>
                <a:gdLst/>
                <a:ahLst/>
                <a:cxnLst>
                  <a:cxn ang="0">
                    <a:pos x="33" y="19"/>
                  </a:cxn>
                  <a:cxn ang="0">
                    <a:pos x="10" y="19"/>
                  </a:cxn>
                  <a:cxn ang="0">
                    <a:pos x="0" y="10"/>
                  </a:cxn>
                  <a:cxn ang="0">
                    <a:pos x="0" y="8"/>
                  </a:cxn>
                  <a:cxn ang="0">
                    <a:pos x="10" y="0"/>
                  </a:cxn>
                  <a:cxn ang="0">
                    <a:pos x="33" y="0"/>
                  </a:cxn>
                  <a:cxn ang="0">
                    <a:pos x="53" y="0"/>
                  </a:cxn>
                  <a:cxn ang="0">
                    <a:pos x="75" y="0"/>
                  </a:cxn>
                  <a:cxn ang="0">
                    <a:pos x="86" y="8"/>
                  </a:cxn>
                  <a:cxn ang="0">
                    <a:pos x="86" y="10"/>
                  </a:cxn>
                  <a:cxn ang="0">
                    <a:pos x="75" y="19"/>
                  </a:cxn>
                  <a:cxn ang="0">
                    <a:pos x="53" y="19"/>
                  </a:cxn>
                </a:cxnLst>
                <a:rect l="0" t="0" r="r" b="b"/>
                <a:pathLst>
                  <a:path w="86" h="19">
                    <a:moveTo>
                      <a:pt x="33" y="19"/>
                    </a:moveTo>
                    <a:cubicBezTo>
                      <a:pt x="10" y="19"/>
                      <a:pt x="10" y="19"/>
                      <a:pt x="10" y="19"/>
                    </a:cubicBezTo>
                    <a:cubicBezTo>
                      <a:pt x="3" y="19"/>
                      <a:pt x="0" y="15"/>
                      <a:pt x="0" y="10"/>
                    </a:cubicBezTo>
                    <a:cubicBezTo>
                      <a:pt x="0" y="8"/>
                      <a:pt x="0" y="8"/>
                      <a:pt x="0" y="8"/>
                    </a:cubicBezTo>
                    <a:cubicBezTo>
                      <a:pt x="0" y="3"/>
                      <a:pt x="3" y="0"/>
                      <a:pt x="10" y="0"/>
                    </a:cubicBezTo>
                    <a:cubicBezTo>
                      <a:pt x="33" y="0"/>
                      <a:pt x="33" y="0"/>
                      <a:pt x="33" y="0"/>
                    </a:cubicBezTo>
                    <a:cubicBezTo>
                      <a:pt x="53" y="0"/>
                      <a:pt x="53" y="0"/>
                      <a:pt x="53" y="0"/>
                    </a:cubicBezTo>
                    <a:cubicBezTo>
                      <a:pt x="75" y="0"/>
                      <a:pt x="75" y="0"/>
                      <a:pt x="75" y="0"/>
                    </a:cubicBezTo>
                    <a:cubicBezTo>
                      <a:pt x="83" y="0"/>
                      <a:pt x="86" y="3"/>
                      <a:pt x="86" y="8"/>
                    </a:cubicBezTo>
                    <a:cubicBezTo>
                      <a:pt x="86" y="10"/>
                      <a:pt x="86" y="10"/>
                      <a:pt x="86" y="10"/>
                    </a:cubicBezTo>
                    <a:cubicBezTo>
                      <a:pt x="86" y="15"/>
                      <a:pt x="83" y="19"/>
                      <a:pt x="75" y="19"/>
                    </a:cubicBezTo>
                    <a:cubicBezTo>
                      <a:pt x="53" y="19"/>
                      <a:pt x="53" y="19"/>
                      <a:pt x="53" y="19"/>
                    </a:cubicBezTo>
                  </a:path>
                </a:pathLst>
              </a:custGeom>
              <a:solidFill>
                <a:schemeClr val="bg1">
                  <a:lumMod val="75000"/>
                </a:schemeClr>
              </a:solidFill>
              <a:ln w="9525">
                <a:noFill/>
                <a:round/>
                <a:headEnd/>
                <a:tailEnd/>
              </a:ln>
            </p:spPr>
            <p:txBody>
              <a:bodyPr/>
              <a:lstStyle/>
              <a:p>
                <a:endParaRPr lang="en-US" sz="2533">
                  <a:solidFill>
                    <a:schemeClr val="bg1">
                      <a:lumMod val="75000"/>
                    </a:schemeClr>
                  </a:solidFill>
                </a:endParaRPr>
              </a:p>
            </p:txBody>
          </p:sp>
        </p:grpSp>
      </p:grpSp>
      <p:sp>
        <p:nvSpPr>
          <p:cNvPr id="22" name="Marcador de texto 13"/>
          <p:cNvSpPr txBox="1">
            <a:spLocks/>
          </p:cNvSpPr>
          <p:nvPr/>
        </p:nvSpPr>
        <p:spPr>
          <a:xfrm>
            <a:off x="343346" y="1038745"/>
            <a:ext cx="3596562" cy="390042"/>
          </a:xfrm>
          <a:prstGeom prst="rect">
            <a:avLst/>
          </a:prstGeom>
          <a:solidFill>
            <a:srgbClr val="36C746"/>
          </a:solidFill>
        </p:spPr>
        <p:txBody>
          <a:bodyPr vert="horz" lIns="0" tIns="0" rIns="0" bIns="0" rtlCol="0" anchor="ctr">
            <a:noAutofit/>
          </a:bodyPr>
          <a:lstStyle>
            <a:lvl1pPr marL="358762" indent="-342888" algn="l" defTabSz="457184" rtl="0" eaLnBrk="1" latinLnBrk="0" hangingPunct="1">
              <a:spcBef>
                <a:spcPts val="500"/>
              </a:spcBef>
              <a:spcAft>
                <a:spcPts val="500"/>
              </a:spcAft>
              <a:buClr>
                <a:schemeClr val="bg2"/>
              </a:buClr>
              <a:buFontTx/>
              <a:buNone/>
              <a:defRPr sz="1600" kern="1200" baseline="0">
                <a:solidFill>
                  <a:schemeClr val="accent1"/>
                </a:solidFill>
                <a:latin typeface="Arial"/>
                <a:ea typeface="+mn-ea"/>
                <a:cs typeface="Arial"/>
              </a:defRPr>
            </a:lvl1pPr>
            <a:lvl2pPr marL="407973" indent="-228592" algn="l" defTabSz="447659" rtl="0" eaLnBrk="1" latinLnBrk="0" hangingPunct="1">
              <a:spcBef>
                <a:spcPts val="500"/>
              </a:spcBef>
              <a:spcAft>
                <a:spcPts val="500"/>
              </a:spcAft>
              <a:buClr>
                <a:srgbClr val="36C746"/>
              </a:buClr>
              <a:buFontTx/>
              <a:buNone/>
              <a:defRPr sz="1400" kern="1200">
                <a:solidFill>
                  <a:schemeClr val="accent1"/>
                </a:solidFill>
                <a:latin typeface="Arial"/>
                <a:ea typeface="+mn-ea"/>
                <a:cs typeface="Arial"/>
              </a:defRPr>
            </a:lvl2pPr>
            <a:lvl3pPr marL="587354" indent="-228592" algn="l" defTabSz="457184" rtl="0" eaLnBrk="1" latinLnBrk="0" hangingPunct="1">
              <a:spcBef>
                <a:spcPts val="500"/>
              </a:spcBef>
              <a:spcAft>
                <a:spcPts val="500"/>
              </a:spcAft>
              <a:buClr>
                <a:srgbClr val="36C746"/>
              </a:buClr>
              <a:buFontTx/>
              <a:buNone/>
              <a:defRPr sz="1300" kern="1200">
                <a:solidFill>
                  <a:schemeClr val="accent1"/>
                </a:solidFill>
                <a:latin typeface="Arial"/>
                <a:ea typeface="+mn-ea"/>
                <a:cs typeface="Arial"/>
              </a:defRPr>
            </a:lvl3pPr>
            <a:lvl4pPr marL="768323" indent="-228592" algn="l" defTabSz="457184" rtl="0" eaLnBrk="1" latinLnBrk="0" hangingPunct="1">
              <a:spcBef>
                <a:spcPts val="500"/>
              </a:spcBef>
              <a:spcAft>
                <a:spcPts val="500"/>
              </a:spcAft>
              <a:buClr>
                <a:srgbClr val="36C746"/>
              </a:buClr>
              <a:buFontTx/>
              <a:buNone/>
              <a:defRPr sz="1200" kern="1200">
                <a:solidFill>
                  <a:schemeClr val="accent1"/>
                </a:solidFill>
                <a:latin typeface="Arial"/>
                <a:ea typeface="+mn-ea"/>
                <a:cs typeface="Arial"/>
              </a:defRPr>
            </a:lvl4pPr>
            <a:lvl5pPr marL="939767" indent="-228592" algn="l" defTabSz="457184" rtl="0" eaLnBrk="1" latinLnBrk="0" hangingPunct="1">
              <a:spcBef>
                <a:spcPts val="500"/>
              </a:spcBef>
              <a:spcAft>
                <a:spcPts val="500"/>
              </a:spcAft>
              <a:buClr>
                <a:srgbClr val="36C746"/>
              </a:buClr>
              <a:buFontTx/>
              <a:buNone/>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s-ES_tradnl" sz="1866" b="1" dirty="0">
                <a:solidFill>
                  <a:srgbClr val="000000"/>
                </a:solidFill>
              </a:rPr>
              <a:t>In </a:t>
            </a:r>
            <a:r>
              <a:rPr lang="es-ES_tradnl" sz="1866" b="1" dirty="0" err="1">
                <a:solidFill>
                  <a:srgbClr val="000000"/>
                </a:solidFill>
              </a:rPr>
              <a:t>timpul</a:t>
            </a:r>
            <a:r>
              <a:rPr lang="es-ES_tradnl" sz="1866" b="1" dirty="0">
                <a:solidFill>
                  <a:srgbClr val="000000"/>
                </a:solidFill>
              </a:rPr>
              <a:t> </a:t>
            </a:r>
            <a:r>
              <a:rPr lang="es-ES_tradnl" sz="1866" b="1" dirty="0" err="1">
                <a:solidFill>
                  <a:srgbClr val="000000"/>
                </a:solidFill>
              </a:rPr>
              <a:t>constructiei</a:t>
            </a:r>
            <a:endParaRPr lang="es-ES_tradnl" sz="1866" b="1" dirty="0">
              <a:solidFill>
                <a:srgbClr val="000000"/>
              </a:solidFill>
            </a:endParaRPr>
          </a:p>
        </p:txBody>
      </p:sp>
      <p:grpSp>
        <p:nvGrpSpPr>
          <p:cNvPr id="12" name="Agrupar 11"/>
          <p:cNvGrpSpPr/>
          <p:nvPr/>
        </p:nvGrpSpPr>
        <p:grpSpPr>
          <a:xfrm>
            <a:off x="290895" y="1602354"/>
            <a:ext cx="3649013" cy="4534903"/>
            <a:chOff x="218229" y="1201409"/>
            <a:chExt cx="2737472" cy="3402063"/>
          </a:xfrm>
        </p:grpSpPr>
        <p:sp>
          <p:nvSpPr>
            <p:cNvPr id="18" name="Rounded Rectangle 16"/>
            <p:cNvSpPr/>
            <p:nvPr/>
          </p:nvSpPr>
          <p:spPr>
            <a:xfrm>
              <a:off x="252413" y="1282222"/>
              <a:ext cx="2700000" cy="792000"/>
            </a:xfrm>
            <a:prstGeom prst="roundRect">
              <a:avLst>
                <a:gd name="adj" fmla="val 0"/>
              </a:avLst>
            </a:prstGeom>
            <a:solidFill>
              <a:schemeClr val="bg1"/>
            </a:solidFill>
            <a:ln w="12700" cap="sq">
              <a:solidFill>
                <a:schemeClr val="bg1">
                  <a:lumMod val="75000"/>
                </a:schemeClr>
              </a:solidFill>
              <a:miter lim="800000"/>
            </a:ln>
            <a:effectLst>
              <a:softEdge rad="0"/>
            </a:effectLst>
          </p:spPr>
          <p:style>
            <a:lnRef idx="2">
              <a:schemeClr val="dk1"/>
            </a:lnRef>
            <a:fillRef idx="1">
              <a:schemeClr val="lt1"/>
            </a:fillRef>
            <a:effectRef idx="0">
              <a:schemeClr val="dk1"/>
            </a:effectRef>
            <a:fontRef idx="minor">
              <a:schemeClr val="dk1"/>
            </a:fontRef>
          </p:style>
          <p:txBody>
            <a:bodyPr lIns="143963" tIns="0" rIns="143963" bIns="0" rtlCol="0" anchor="ctr"/>
            <a:lstStyle/>
            <a:p>
              <a:endParaRPr lang="fr-FR" sz="1333" dirty="0">
                <a:solidFill>
                  <a:srgbClr val="000000"/>
                </a:solidFill>
              </a:endParaRPr>
            </a:p>
            <a:p>
              <a:pPr marL="285750" indent="-285750">
                <a:buFont typeface="Arial" panose="020B0604020202020204" pitchFamily="34" charset="0"/>
                <a:buChar char="•"/>
              </a:pPr>
              <a:r>
                <a:rPr lang="fr-FR" sz="1400" dirty="0" err="1">
                  <a:solidFill>
                    <a:srgbClr val="000000"/>
                  </a:solidFill>
                </a:rPr>
                <a:t>Prescriu</a:t>
              </a:r>
              <a:r>
                <a:rPr lang="fr-FR" sz="1400" dirty="0">
                  <a:solidFill>
                    <a:srgbClr val="000000"/>
                  </a:solidFill>
                </a:rPr>
                <a:t> </a:t>
              </a:r>
              <a:r>
                <a:rPr lang="fr-FR" sz="1400" dirty="0" err="1">
                  <a:solidFill>
                    <a:srgbClr val="000000"/>
                  </a:solidFill>
                </a:rPr>
                <a:t>solutii</a:t>
              </a:r>
              <a:r>
                <a:rPr lang="fr-FR" sz="1400" dirty="0">
                  <a:solidFill>
                    <a:srgbClr val="000000"/>
                  </a:solidFill>
                </a:rPr>
                <a:t> </a:t>
              </a:r>
              <a:r>
                <a:rPr lang="fr-FR" sz="1400" dirty="0" err="1">
                  <a:solidFill>
                    <a:srgbClr val="000000"/>
                  </a:solidFill>
                </a:rPr>
                <a:t>generice</a:t>
              </a:r>
              <a:r>
                <a:rPr lang="fr-FR" sz="1400" dirty="0">
                  <a:solidFill>
                    <a:srgbClr val="000000"/>
                  </a:solidFill>
                </a:rPr>
                <a:t> de </a:t>
              </a:r>
              <a:r>
                <a:rPr lang="fr-FR" sz="1400" dirty="0" err="1">
                  <a:solidFill>
                    <a:srgbClr val="000000"/>
                  </a:solidFill>
                </a:rPr>
                <a:t>eficienta</a:t>
              </a:r>
              <a:r>
                <a:rPr lang="fr-FR" sz="1400" dirty="0">
                  <a:solidFill>
                    <a:srgbClr val="000000"/>
                  </a:solidFill>
                </a:rPr>
                <a:t> </a:t>
              </a:r>
              <a:r>
                <a:rPr lang="fr-FR" sz="1400" dirty="0" err="1">
                  <a:solidFill>
                    <a:srgbClr val="000000"/>
                  </a:solidFill>
                </a:rPr>
                <a:t>energetica</a:t>
              </a:r>
              <a:r>
                <a:rPr lang="fr-FR" sz="1400" dirty="0">
                  <a:solidFill>
                    <a:srgbClr val="000000"/>
                  </a:solidFill>
                </a:rPr>
                <a:t>, conforme </a:t>
              </a:r>
              <a:r>
                <a:rPr lang="fr-FR" sz="1400" dirty="0" err="1">
                  <a:solidFill>
                    <a:srgbClr val="000000"/>
                  </a:solidFill>
                </a:rPr>
                <a:t>cu</a:t>
              </a:r>
              <a:r>
                <a:rPr lang="fr-FR" sz="1400" dirty="0">
                  <a:solidFill>
                    <a:srgbClr val="000000"/>
                  </a:solidFill>
                </a:rPr>
                <a:t> </a:t>
              </a:r>
              <a:r>
                <a:rPr lang="fr-FR" sz="1400" dirty="0" err="1">
                  <a:solidFill>
                    <a:srgbClr val="000000"/>
                  </a:solidFill>
                </a:rPr>
                <a:t>standardele</a:t>
              </a:r>
              <a:r>
                <a:rPr lang="fr-FR" sz="1400" dirty="0">
                  <a:solidFill>
                    <a:srgbClr val="000000"/>
                  </a:solidFill>
                </a:rPr>
                <a:t> </a:t>
              </a:r>
            </a:p>
            <a:p>
              <a:endParaRPr lang="fr-FR" sz="1400" dirty="0">
                <a:solidFill>
                  <a:srgbClr val="000000"/>
                </a:solidFill>
                <a:sym typeface="Wingdings" pitchFamily="2" charset="2"/>
              </a:endParaRPr>
            </a:p>
            <a:p>
              <a:pPr marL="285750" indent="-285750">
                <a:buFont typeface="Arial" panose="020B0604020202020204" pitchFamily="34" charset="0"/>
                <a:buChar char="•"/>
              </a:pPr>
              <a:r>
                <a:rPr lang="fr-FR" sz="1400" dirty="0">
                  <a:solidFill>
                    <a:srgbClr val="000000"/>
                  </a:solidFill>
                  <a:sym typeface="Wingdings" pitchFamily="2" charset="2"/>
                </a:rPr>
                <a:t>Nu se </a:t>
              </a:r>
              <a:r>
                <a:rPr lang="fr-FR" sz="1400" dirty="0" err="1">
                  <a:solidFill>
                    <a:srgbClr val="000000"/>
                  </a:solidFill>
                  <a:sym typeface="Wingdings" pitchFamily="2" charset="2"/>
                </a:rPr>
                <a:t>diferentiaza</a:t>
              </a:r>
              <a:r>
                <a:rPr lang="fr-FR" sz="1400" dirty="0">
                  <a:solidFill>
                    <a:srgbClr val="000000"/>
                  </a:solidFill>
                  <a:sym typeface="Wingdings" pitchFamily="2" charset="2"/>
                </a:rPr>
                <a:t> </a:t>
              </a:r>
              <a:r>
                <a:rPr lang="fr-FR" sz="1400" dirty="0" err="1">
                  <a:solidFill>
                    <a:srgbClr val="000000"/>
                  </a:solidFill>
                  <a:sym typeface="Wingdings" pitchFamily="2" charset="2"/>
                </a:rPr>
                <a:t>pe</a:t>
              </a:r>
              <a:r>
                <a:rPr lang="fr-FR" sz="1400" dirty="0">
                  <a:solidFill>
                    <a:srgbClr val="000000"/>
                  </a:solidFill>
                  <a:sym typeface="Wingdings" pitchFamily="2" charset="2"/>
                </a:rPr>
                <a:t> </a:t>
              </a:r>
              <a:r>
                <a:rPr lang="fr-FR" sz="1400" dirty="0" err="1">
                  <a:solidFill>
                    <a:srgbClr val="000000"/>
                  </a:solidFill>
                  <a:sym typeface="Wingdings" pitchFamily="2" charset="2"/>
                </a:rPr>
                <a:t>piata</a:t>
              </a:r>
              <a:endParaRPr lang="en-US" sz="1400" dirty="0">
                <a:solidFill>
                  <a:srgbClr val="000000"/>
                </a:solidFill>
              </a:endParaRPr>
            </a:p>
          </p:txBody>
        </p:sp>
        <p:sp>
          <p:nvSpPr>
            <p:cNvPr id="19" name="Rounded Rectangle 17"/>
            <p:cNvSpPr/>
            <p:nvPr/>
          </p:nvSpPr>
          <p:spPr>
            <a:xfrm>
              <a:off x="218229" y="2379886"/>
              <a:ext cx="2737472" cy="1146458"/>
            </a:xfrm>
            <a:prstGeom prst="roundRect">
              <a:avLst>
                <a:gd name="adj" fmla="val 0"/>
              </a:avLst>
            </a:prstGeom>
            <a:solidFill>
              <a:schemeClr val="bg1"/>
            </a:solidFill>
            <a:ln w="12700">
              <a:solidFill>
                <a:schemeClr val="bg1">
                  <a:lumMod val="75000"/>
                </a:schemeClr>
              </a:solidFill>
            </a:ln>
            <a:effectLst/>
          </p:spPr>
          <p:style>
            <a:lnRef idx="2">
              <a:schemeClr val="dk1"/>
            </a:lnRef>
            <a:fillRef idx="1">
              <a:schemeClr val="lt1"/>
            </a:fillRef>
            <a:effectRef idx="0">
              <a:schemeClr val="dk1"/>
            </a:effectRef>
            <a:fontRef idx="minor">
              <a:schemeClr val="dk1"/>
            </a:fontRef>
          </p:style>
          <p:txBody>
            <a:bodyPr lIns="143963" tIns="0" rIns="143963" bIns="0" rtlCol="0" anchor="ctr"/>
            <a:lstStyle/>
            <a:p>
              <a:endParaRPr lang="fr-FR" sz="1333" dirty="0">
                <a:solidFill>
                  <a:srgbClr val="000000"/>
                </a:solidFill>
              </a:endParaRPr>
            </a:p>
            <a:p>
              <a:r>
                <a:rPr lang="fr-FR" sz="1400" dirty="0" err="1">
                  <a:solidFill>
                    <a:srgbClr val="000000"/>
                  </a:solidFill>
                </a:rPr>
                <a:t>Configureaza</a:t>
              </a:r>
              <a:r>
                <a:rPr lang="fr-FR" sz="1400" dirty="0">
                  <a:solidFill>
                    <a:srgbClr val="000000"/>
                  </a:solidFill>
                </a:rPr>
                <a:t> </a:t>
              </a:r>
              <a:r>
                <a:rPr lang="fr-FR" sz="1400" dirty="0" err="1">
                  <a:solidFill>
                    <a:srgbClr val="000000"/>
                  </a:solidFill>
                </a:rPr>
                <a:t>tablouri</a:t>
              </a:r>
              <a:r>
                <a:rPr lang="fr-FR" sz="1400" dirty="0">
                  <a:solidFill>
                    <a:srgbClr val="000000"/>
                  </a:solidFill>
                </a:rPr>
                <a:t> </a:t>
              </a:r>
              <a:r>
                <a:rPr lang="fr-FR" sz="1400" dirty="0" err="1">
                  <a:solidFill>
                    <a:srgbClr val="000000"/>
                  </a:solidFill>
                </a:rPr>
                <a:t>pe</a:t>
              </a:r>
              <a:r>
                <a:rPr lang="fr-FR" sz="1400" dirty="0">
                  <a:solidFill>
                    <a:srgbClr val="000000"/>
                  </a:solidFill>
                </a:rPr>
                <a:t> </a:t>
              </a:r>
              <a:r>
                <a:rPr lang="fr-FR" sz="1400" dirty="0" err="1">
                  <a:solidFill>
                    <a:srgbClr val="000000"/>
                  </a:solidFill>
                </a:rPr>
                <a:t>solutii</a:t>
              </a:r>
              <a:r>
                <a:rPr lang="fr-FR" sz="1400" dirty="0">
                  <a:solidFill>
                    <a:srgbClr val="000000"/>
                  </a:solidFill>
                </a:rPr>
                <a:t> </a:t>
              </a:r>
              <a:r>
                <a:rPr lang="fr-FR" sz="1400" dirty="0" err="1">
                  <a:solidFill>
                    <a:srgbClr val="000000"/>
                  </a:solidFill>
                </a:rPr>
                <a:t>traditionale</a:t>
              </a:r>
              <a:r>
                <a:rPr lang="fr-FR" sz="1400" dirty="0">
                  <a:solidFill>
                    <a:srgbClr val="000000"/>
                  </a:solidFill>
                </a:rPr>
                <a:t> </a:t>
              </a:r>
              <a:r>
                <a:rPr lang="fr-FR" sz="1400" dirty="0" err="1">
                  <a:solidFill>
                    <a:srgbClr val="000000"/>
                  </a:solidFill>
                </a:rPr>
                <a:t>cu</a:t>
              </a:r>
              <a:r>
                <a:rPr lang="fr-FR" sz="1400" dirty="0">
                  <a:solidFill>
                    <a:srgbClr val="000000"/>
                  </a:solidFill>
                </a:rPr>
                <a:t> contacte </a:t>
              </a:r>
              <a:r>
                <a:rPr lang="fr-FR" sz="1400" dirty="0" err="1">
                  <a:solidFill>
                    <a:srgbClr val="000000"/>
                  </a:solidFill>
                </a:rPr>
                <a:t>auxiliare</a:t>
              </a:r>
              <a:r>
                <a:rPr lang="fr-FR" sz="1400" dirty="0">
                  <a:solidFill>
                    <a:srgbClr val="000000"/>
                  </a:solidFill>
                </a:rPr>
                <a:t> si </a:t>
              </a:r>
              <a:r>
                <a:rPr lang="fr-FR" sz="1400" dirty="0" err="1">
                  <a:solidFill>
                    <a:srgbClr val="000000"/>
                  </a:solidFill>
                </a:rPr>
                <a:t>puncte</a:t>
              </a:r>
              <a:r>
                <a:rPr lang="fr-FR" sz="1400" dirty="0">
                  <a:solidFill>
                    <a:srgbClr val="000000"/>
                  </a:solidFill>
                </a:rPr>
                <a:t> de date</a:t>
              </a:r>
            </a:p>
            <a:p>
              <a:endParaRPr lang="fr-FR" sz="1400" dirty="0">
                <a:solidFill>
                  <a:srgbClr val="000000"/>
                </a:solidFill>
              </a:endParaRPr>
            </a:p>
            <a:p>
              <a:pPr marL="285750" indent="-285750">
                <a:buFont typeface="Arial" panose="020B0604020202020204" pitchFamily="34" charset="0"/>
                <a:buChar char="•"/>
              </a:pPr>
              <a:r>
                <a:rPr lang="fr-FR" sz="1400" dirty="0" err="1">
                  <a:solidFill>
                    <a:srgbClr val="000000"/>
                  </a:solidFill>
                  <a:sym typeface="Wingdings" pitchFamily="2" charset="2"/>
                </a:rPr>
                <a:t>Multa</a:t>
              </a:r>
              <a:r>
                <a:rPr lang="fr-FR" sz="1400" dirty="0">
                  <a:solidFill>
                    <a:srgbClr val="000000"/>
                  </a:solidFill>
                  <a:sym typeface="Wingdings" pitchFamily="2" charset="2"/>
                </a:rPr>
                <a:t> </a:t>
              </a:r>
              <a:r>
                <a:rPr lang="fr-FR" sz="1400" dirty="0" err="1">
                  <a:solidFill>
                    <a:srgbClr val="000000"/>
                  </a:solidFill>
                  <a:sym typeface="Wingdings" pitchFamily="2" charset="2"/>
                </a:rPr>
                <a:t>cablare</a:t>
              </a:r>
              <a:endParaRPr lang="fr-FR" sz="1400" dirty="0">
                <a:solidFill>
                  <a:srgbClr val="000000"/>
                </a:solidFill>
                <a:sym typeface="Wingdings" pitchFamily="2" charset="2"/>
              </a:endParaRPr>
            </a:p>
            <a:p>
              <a:pPr marL="285750" indent="-285750">
                <a:buClr>
                  <a:srgbClr val="3DCD58"/>
                </a:buClr>
                <a:buFont typeface="Arial" panose="020B0604020202020204" pitchFamily="34" charset="0"/>
                <a:buChar char="•"/>
              </a:pPr>
              <a:r>
                <a:rPr lang="fr-FR" sz="1400" dirty="0" err="1">
                  <a:solidFill>
                    <a:srgbClr val="000000"/>
                  </a:solidFill>
                  <a:sym typeface="Wingdings" pitchFamily="2" charset="2"/>
                </a:rPr>
                <a:t>Rapoarte</a:t>
              </a:r>
              <a:r>
                <a:rPr lang="fr-FR" sz="1400" dirty="0">
                  <a:solidFill>
                    <a:srgbClr val="000000"/>
                  </a:solidFill>
                  <a:sym typeface="Wingdings" pitchFamily="2" charset="2"/>
                </a:rPr>
                <a:t> </a:t>
              </a:r>
              <a:r>
                <a:rPr lang="fr-FR" sz="1400" dirty="0" err="1">
                  <a:solidFill>
                    <a:srgbClr val="000000"/>
                  </a:solidFill>
                  <a:sym typeface="Wingdings" pitchFamily="2" charset="2"/>
                </a:rPr>
                <a:t>manuale</a:t>
              </a:r>
              <a:r>
                <a:rPr lang="fr-FR" sz="1400" dirty="0">
                  <a:solidFill>
                    <a:srgbClr val="000000"/>
                  </a:solidFill>
                  <a:sym typeface="Wingdings" pitchFamily="2" charset="2"/>
                </a:rPr>
                <a:t> </a:t>
              </a:r>
              <a:r>
                <a:rPr lang="fr-FR" sz="1400" dirty="0" err="1">
                  <a:solidFill>
                    <a:srgbClr val="000000"/>
                  </a:solidFill>
                  <a:sym typeface="Wingdings" pitchFamily="2" charset="2"/>
                </a:rPr>
                <a:t>privind</a:t>
              </a:r>
              <a:r>
                <a:rPr lang="fr-FR" sz="1400" dirty="0">
                  <a:solidFill>
                    <a:srgbClr val="000000"/>
                  </a:solidFill>
                  <a:sym typeface="Wingdings" pitchFamily="2" charset="2"/>
                </a:rPr>
                <a:t> </a:t>
              </a:r>
              <a:r>
                <a:rPr lang="fr-FR" sz="1400" dirty="0" err="1">
                  <a:solidFill>
                    <a:srgbClr val="000000"/>
                  </a:solidFill>
                  <a:sym typeface="Wingdings" pitchFamily="2" charset="2"/>
                </a:rPr>
                <a:t>conformitatea</a:t>
              </a:r>
              <a:r>
                <a:rPr lang="fr-FR" sz="1400" dirty="0">
                  <a:solidFill>
                    <a:srgbClr val="000000"/>
                  </a:solidFill>
                  <a:sym typeface="Wingdings" pitchFamily="2" charset="2"/>
                </a:rPr>
                <a:t> </a:t>
              </a:r>
              <a:r>
                <a:rPr lang="fr-FR" sz="1400" dirty="0" err="1">
                  <a:solidFill>
                    <a:srgbClr val="000000"/>
                  </a:solidFill>
                  <a:sym typeface="Wingdings" pitchFamily="2" charset="2"/>
                </a:rPr>
                <a:t>cu</a:t>
              </a:r>
              <a:r>
                <a:rPr lang="fr-FR" sz="1400" dirty="0">
                  <a:solidFill>
                    <a:srgbClr val="000000"/>
                  </a:solidFill>
                  <a:sym typeface="Wingdings" pitchFamily="2" charset="2"/>
                </a:rPr>
                <a:t> </a:t>
              </a:r>
              <a:r>
                <a:rPr lang="fr-FR" sz="1400" dirty="0" err="1">
                  <a:solidFill>
                    <a:srgbClr val="000000"/>
                  </a:solidFill>
                  <a:sym typeface="Wingdings" pitchFamily="2" charset="2"/>
                </a:rPr>
                <a:t>specificatiile</a:t>
              </a:r>
              <a:r>
                <a:rPr lang="fr-FR" sz="1400" dirty="0">
                  <a:solidFill>
                    <a:srgbClr val="000000"/>
                  </a:solidFill>
                  <a:sym typeface="Wingdings" pitchFamily="2" charset="2"/>
                </a:rPr>
                <a:t> </a:t>
              </a:r>
              <a:endParaRPr lang="en-US" sz="1400" dirty="0">
                <a:solidFill>
                  <a:srgbClr val="000000"/>
                </a:solidFill>
              </a:endParaRPr>
            </a:p>
          </p:txBody>
        </p:sp>
        <p:sp>
          <p:nvSpPr>
            <p:cNvPr id="20" name="Rounded Rectangle 18"/>
            <p:cNvSpPr/>
            <p:nvPr/>
          </p:nvSpPr>
          <p:spPr>
            <a:xfrm>
              <a:off x="252413" y="3811472"/>
              <a:ext cx="2698750" cy="792000"/>
            </a:xfrm>
            <a:prstGeom prst="roundRect">
              <a:avLst>
                <a:gd name="adj" fmla="val 0"/>
              </a:avLst>
            </a:prstGeom>
            <a:solidFill>
              <a:schemeClr val="bg1"/>
            </a:solidFill>
            <a:ln w="12700">
              <a:solidFill>
                <a:schemeClr val="bg1">
                  <a:lumMod val="75000"/>
                </a:schemeClr>
              </a:solidFill>
            </a:ln>
            <a:effectLst>
              <a:softEdge rad="0"/>
            </a:effectLst>
          </p:spPr>
          <p:style>
            <a:lnRef idx="2">
              <a:schemeClr val="dk1"/>
            </a:lnRef>
            <a:fillRef idx="1">
              <a:schemeClr val="lt1"/>
            </a:fillRef>
            <a:effectRef idx="0">
              <a:schemeClr val="dk1"/>
            </a:effectRef>
            <a:fontRef idx="minor">
              <a:schemeClr val="dk1"/>
            </a:fontRef>
          </p:style>
          <p:txBody>
            <a:bodyPr lIns="143963" tIns="0" rIns="143963" bIns="0" rtlCol="0" anchor="ctr"/>
            <a:lstStyle/>
            <a:p>
              <a:pPr marL="285750" indent="-285750">
                <a:buFont typeface="Arial" panose="020B0604020202020204" pitchFamily="34" charset="0"/>
                <a:buChar char="•"/>
              </a:pPr>
              <a:r>
                <a:rPr lang="fr-FR" sz="1400" dirty="0">
                  <a:solidFill>
                    <a:srgbClr val="000000"/>
                  </a:solidFill>
                </a:rPr>
                <a:t>Pot </a:t>
              </a:r>
              <a:r>
                <a:rPr lang="fr-FR" sz="1400" dirty="0" err="1">
                  <a:solidFill>
                    <a:srgbClr val="000000"/>
                  </a:solidFill>
                </a:rPr>
                <a:t>intalni</a:t>
              </a:r>
              <a:r>
                <a:rPr lang="fr-FR" sz="1400" dirty="0">
                  <a:solidFill>
                    <a:srgbClr val="000000"/>
                  </a:solidFill>
                </a:rPr>
                <a:t> </a:t>
              </a:r>
              <a:r>
                <a:rPr lang="fr-FR" sz="1400" dirty="0" err="1">
                  <a:solidFill>
                    <a:srgbClr val="000000"/>
                  </a:solidFill>
                </a:rPr>
                <a:t>erori</a:t>
              </a:r>
              <a:r>
                <a:rPr lang="fr-FR" sz="1400" dirty="0">
                  <a:solidFill>
                    <a:srgbClr val="000000"/>
                  </a:solidFill>
                </a:rPr>
                <a:t> si/</a:t>
              </a:r>
              <a:r>
                <a:rPr lang="fr-FR" sz="1400" dirty="0" err="1">
                  <a:solidFill>
                    <a:srgbClr val="000000"/>
                  </a:solidFill>
                </a:rPr>
                <a:t>sau</a:t>
              </a:r>
              <a:r>
                <a:rPr lang="fr-FR" sz="1400" dirty="0">
                  <a:solidFill>
                    <a:srgbClr val="000000"/>
                  </a:solidFill>
                </a:rPr>
                <a:t> </a:t>
              </a:r>
              <a:r>
                <a:rPr lang="fr-FR" sz="1400" dirty="0" err="1">
                  <a:solidFill>
                    <a:srgbClr val="000000"/>
                  </a:solidFill>
                </a:rPr>
                <a:t>dificultati</a:t>
              </a:r>
              <a:r>
                <a:rPr lang="fr-FR" sz="1400" dirty="0">
                  <a:solidFill>
                    <a:srgbClr val="000000"/>
                  </a:solidFill>
                </a:rPr>
                <a:t> de </a:t>
              </a:r>
              <a:r>
                <a:rPr lang="fr-FR" sz="1400" dirty="0" err="1">
                  <a:solidFill>
                    <a:srgbClr val="000000"/>
                  </a:solidFill>
                </a:rPr>
                <a:t>integrarea</a:t>
              </a:r>
              <a:r>
                <a:rPr lang="fr-FR" sz="1400" dirty="0">
                  <a:solidFill>
                    <a:srgbClr val="000000"/>
                  </a:solidFill>
                </a:rPr>
                <a:t> a </a:t>
              </a:r>
              <a:r>
                <a:rPr lang="fr-FR" sz="1400" dirty="0" err="1">
                  <a:solidFill>
                    <a:srgbClr val="000000"/>
                  </a:solidFill>
                </a:rPr>
                <a:t>diferitelor</a:t>
              </a:r>
              <a:r>
                <a:rPr lang="fr-FR" sz="1400" dirty="0">
                  <a:solidFill>
                    <a:srgbClr val="000000"/>
                  </a:solidFill>
                </a:rPr>
                <a:t> </a:t>
              </a:r>
              <a:r>
                <a:rPr lang="fr-FR" sz="1400" dirty="0" err="1">
                  <a:solidFill>
                    <a:srgbClr val="000000"/>
                  </a:solidFill>
                </a:rPr>
                <a:t>sisteme</a:t>
              </a:r>
              <a:endParaRPr lang="en-US" sz="1400" dirty="0">
                <a:solidFill>
                  <a:srgbClr val="000000"/>
                </a:solidFill>
              </a:endParaRPr>
            </a:p>
          </p:txBody>
        </p:sp>
        <p:sp>
          <p:nvSpPr>
            <p:cNvPr id="25" name="Freeform 2"/>
            <p:cNvSpPr>
              <a:spLocks noEditPoints="1"/>
            </p:cNvSpPr>
            <p:nvPr/>
          </p:nvSpPr>
          <p:spPr bwMode="auto">
            <a:xfrm>
              <a:off x="1456791" y="2118010"/>
              <a:ext cx="147245" cy="190176"/>
            </a:xfrm>
            <a:custGeom>
              <a:avLst/>
              <a:gdLst/>
              <a:ahLst/>
              <a:cxnLst>
                <a:cxn ang="0">
                  <a:pos x="35" y="97"/>
                </a:cxn>
                <a:cxn ang="0">
                  <a:pos x="35" y="97"/>
                </a:cxn>
                <a:cxn ang="0">
                  <a:pos x="35" y="97"/>
                </a:cxn>
                <a:cxn ang="0">
                  <a:pos x="46" y="91"/>
                </a:cxn>
                <a:cxn ang="0">
                  <a:pos x="62" y="74"/>
                </a:cxn>
                <a:cxn ang="0">
                  <a:pos x="65" y="70"/>
                </a:cxn>
                <a:cxn ang="0">
                  <a:pos x="63" y="59"/>
                </a:cxn>
                <a:cxn ang="0">
                  <a:pos x="50" y="62"/>
                </a:cxn>
                <a:cxn ang="0">
                  <a:pos x="44" y="69"/>
                </a:cxn>
                <a:cxn ang="0">
                  <a:pos x="44" y="10"/>
                </a:cxn>
                <a:cxn ang="0">
                  <a:pos x="36" y="0"/>
                </a:cxn>
                <a:cxn ang="0">
                  <a:pos x="34" y="0"/>
                </a:cxn>
                <a:cxn ang="0">
                  <a:pos x="26" y="10"/>
                </a:cxn>
                <a:cxn ang="0">
                  <a:pos x="26" y="69"/>
                </a:cxn>
                <a:cxn ang="0">
                  <a:pos x="20" y="62"/>
                </a:cxn>
                <a:cxn ang="0">
                  <a:pos x="8" y="60"/>
                </a:cxn>
                <a:cxn ang="0">
                  <a:pos x="6" y="71"/>
                </a:cxn>
                <a:cxn ang="0">
                  <a:pos x="9" y="74"/>
                </a:cxn>
                <a:cxn ang="0">
                  <a:pos x="24" y="91"/>
                </a:cxn>
                <a:cxn ang="0">
                  <a:pos x="28" y="95"/>
                </a:cxn>
                <a:cxn ang="0">
                  <a:pos x="35" y="97"/>
                </a:cxn>
                <a:cxn ang="0">
                  <a:pos x="42" y="95"/>
                </a:cxn>
                <a:cxn ang="0">
                  <a:pos x="46" y="91"/>
                </a:cxn>
              </a:cxnLst>
              <a:rect l="0" t="0" r="r" b="b"/>
              <a:pathLst>
                <a:path w="70" h="97">
                  <a:moveTo>
                    <a:pt x="35" y="97"/>
                  </a:moveTo>
                  <a:cubicBezTo>
                    <a:pt x="35" y="97"/>
                    <a:pt x="35" y="97"/>
                    <a:pt x="35" y="97"/>
                  </a:cubicBezTo>
                  <a:cubicBezTo>
                    <a:pt x="35" y="97"/>
                    <a:pt x="35" y="97"/>
                    <a:pt x="35" y="97"/>
                  </a:cubicBezTo>
                  <a:moveTo>
                    <a:pt x="46" y="91"/>
                  </a:moveTo>
                  <a:cubicBezTo>
                    <a:pt x="62" y="74"/>
                    <a:pt x="62" y="74"/>
                    <a:pt x="62" y="74"/>
                  </a:cubicBezTo>
                  <a:cubicBezTo>
                    <a:pt x="65" y="70"/>
                    <a:pt x="65" y="70"/>
                    <a:pt x="65" y="70"/>
                  </a:cubicBezTo>
                  <a:cubicBezTo>
                    <a:pt x="65" y="70"/>
                    <a:pt x="70" y="65"/>
                    <a:pt x="63" y="59"/>
                  </a:cubicBezTo>
                  <a:cubicBezTo>
                    <a:pt x="58" y="56"/>
                    <a:pt x="55" y="57"/>
                    <a:pt x="50" y="62"/>
                  </a:cubicBezTo>
                  <a:cubicBezTo>
                    <a:pt x="49" y="64"/>
                    <a:pt x="47" y="66"/>
                    <a:pt x="44" y="69"/>
                  </a:cubicBezTo>
                  <a:cubicBezTo>
                    <a:pt x="44" y="10"/>
                    <a:pt x="44" y="10"/>
                    <a:pt x="44" y="10"/>
                  </a:cubicBezTo>
                  <a:cubicBezTo>
                    <a:pt x="44" y="3"/>
                    <a:pt x="41" y="0"/>
                    <a:pt x="36" y="0"/>
                  </a:cubicBezTo>
                  <a:cubicBezTo>
                    <a:pt x="34" y="0"/>
                    <a:pt x="34" y="0"/>
                    <a:pt x="34" y="0"/>
                  </a:cubicBezTo>
                  <a:cubicBezTo>
                    <a:pt x="29" y="0"/>
                    <a:pt x="26" y="3"/>
                    <a:pt x="26" y="10"/>
                  </a:cubicBezTo>
                  <a:cubicBezTo>
                    <a:pt x="26" y="69"/>
                    <a:pt x="26" y="69"/>
                    <a:pt x="26" y="69"/>
                  </a:cubicBezTo>
                  <a:cubicBezTo>
                    <a:pt x="24" y="66"/>
                    <a:pt x="22" y="64"/>
                    <a:pt x="20" y="62"/>
                  </a:cubicBezTo>
                  <a:cubicBezTo>
                    <a:pt x="16" y="58"/>
                    <a:pt x="12" y="56"/>
                    <a:pt x="8" y="60"/>
                  </a:cubicBezTo>
                  <a:cubicBezTo>
                    <a:pt x="0" y="65"/>
                    <a:pt x="6" y="71"/>
                    <a:pt x="6" y="71"/>
                  </a:cubicBezTo>
                  <a:cubicBezTo>
                    <a:pt x="9" y="74"/>
                    <a:pt x="9" y="74"/>
                    <a:pt x="9" y="74"/>
                  </a:cubicBezTo>
                  <a:cubicBezTo>
                    <a:pt x="24" y="91"/>
                    <a:pt x="24" y="91"/>
                    <a:pt x="24" y="91"/>
                  </a:cubicBezTo>
                  <a:cubicBezTo>
                    <a:pt x="25" y="93"/>
                    <a:pt x="27" y="94"/>
                    <a:pt x="28" y="95"/>
                  </a:cubicBezTo>
                  <a:cubicBezTo>
                    <a:pt x="30" y="97"/>
                    <a:pt x="32" y="97"/>
                    <a:pt x="35" y="97"/>
                  </a:cubicBezTo>
                  <a:cubicBezTo>
                    <a:pt x="38" y="97"/>
                    <a:pt x="40" y="97"/>
                    <a:pt x="42" y="95"/>
                  </a:cubicBezTo>
                  <a:cubicBezTo>
                    <a:pt x="43" y="94"/>
                    <a:pt x="45" y="93"/>
                    <a:pt x="46" y="91"/>
                  </a:cubicBezTo>
                  <a:close/>
                </a:path>
              </a:pathLst>
            </a:custGeom>
            <a:solidFill>
              <a:srgbClr val="36C746"/>
            </a:solidFill>
            <a:ln w="9525">
              <a:noFill/>
              <a:round/>
              <a:headEnd/>
              <a:tailEnd/>
            </a:ln>
          </p:spPr>
          <p:txBody>
            <a:bodyPr/>
            <a:lstStyle/>
            <a:p>
              <a:endParaRPr lang="en-US" sz="2533"/>
            </a:p>
          </p:txBody>
        </p:sp>
        <p:sp>
          <p:nvSpPr>
            <p:cNvPr id="26" name="Freeform 2"/>
            <p:cNvSpPr>
              <a:spLocks noEditPoints="1"/>
            </p:cNvSpPr>
            <p:nvPr/>
          </p:nvSpPr>
          <p:spPr bwMode="auto">
            <a:xfrm>
              <a:off x="1456791" y="3533414"/>
              <a:ext cx="147245" cy="190176"/>
            </a:xfrm>
            <a:custGeom>
              <a:avLst/>
              <a:gdLst/>
              <a:ahLst/>
              <a:cxnLst>
                <a:cxn ang="0">
                  <a:pos x="35" y="97"/>
                </a:cxn>
                <a:cxn ang="0">
                  <a:pos x="35" y="97"/>
                </a:cxn>
                <a:cxn ang="0">
                  <a:pos x="35" y="97"/>
                </a:cxn>
                <a:cxn ang="0">
                  <a:pos x="46" y="91"/>
                </a:cxn>
                <a:cxn ang="0">
                  <a:pos x="62" y="74"/>
                </a:cxn>
                <a:cxn ang="0">
                  <a:pos x="65" y="70"/>
                </a:cxn>
                <a:cxn ang="0">
                  <a:pos x="63" y="59"/>
                </a:cxn>
                <a:cxn ang="0">
                  <a:pos x="50" y="62"/>
                </a:cxn>
                <a:cxn ang="0">
                  <a:pos x="44" y="69"/>
                </a:cxn>
                <a:cxn ang="0">
                  <a:pos x="44" y="10"/>
                </a:cxn>
                <a:cxn ang="0">
                  <a:pos x="36" y="0"/>
                </a:cxn>
                <a:cxn ang="0">
                  <a:pos x="34" y="0"/>
                </a:cxn>
                <a:cxn ang="0">
                  <a:pos x="26" y="10"/>
                </a:cxn>
                <a:cxn ang="0">
                  <a:pos x="26" y="69"/>
                </a:cxn>
                <a:cxn ang="0">
                  <a:pos x="20" y="62"/>
                </a:cxn>
                <a:cxn ang="0">
                  <a:pos x="8" y="60"/>
                </a:cxn>
                <a:cxn ang="0">
                  <a:pos x="6" y="71"/>
                </a:cxn>
                <a:cxn ang="0">
                  <a:pos x="9" y="74"/>
                </a:cxn>
                <a:cxn ang="0">
                  <a:pos x="24" y="91"/>
                </a:cxn>
                <a:cxn ang="0">
                  <a:pos x="28" y="95"/>
                </a:cxn>
                <a:cxn ang="0">
                  <a:pos x="35" y="97"/>
                </a:cxn>
                <a:cxn ang="0">
                  <a:pos x="42" y="95"/>
                </a:cxn>
                <a:cxn ang="0">
                  <a:pos x="46" y="91"/>
                </a:cxn>
              </a:cxnLst>
              <a:rect l="0" t="0" r="r" b="b"/>
              <a:pathLst>
                <a:path w="70" h="97">
                  <a:moveTo>
                    <a:pt x="35" y="97"/>
                  </a:moveTo>
                  <a:cubicBezTo>
                    <a:pt x="35" y="97"/>
                    <a:pt x="35" y="97"/>
                    <a:pt x="35" y="97"/>
                  </a:cubicBezTo>
                  <a:cubicBezTo>
                    <a:pt x="35" y="97"/>
                    <a:pt x="35" y="97"/>
                    <a:pt x="35" y="97"/>
                  </a:cubicBezTo>
                  <a:moveTo>
                    <a:pt x="46" y="91"/>
                  </a:moveTo>
                  <a:cubicBezTo>
                    <a:pt x="62" y="74"/>
                    <a:pt x="62" y="74"/>
                    <a:pt x="62" y="74"/>
                  </a:cubicBezTo>
                  <a:cubicBezTo>
                    <a:pt x="65" y="70"/>
                    <a:pt x="65" y="70"/>
                    <a:pt x="65" y="70"/>
                  </a:cubicBezTo>
                  <a:cubicBezTo>
                    <a:pt x="65" y="70"/>
                    <a:pt x="70" y="65"/>
                    <a:pt x="63" y="59"/>
                  </a:cubicBezTo>
                  <a:cubicBezTo>
                    <a:pt x="58" y="56"/>
                    <a:pt x="55" y="57"/>
                    <a:pt x="50" y="62"/>
                  </a:cubicBezTo>
                  <a:cubicBezTo>
                    <a:pt x="49" y="64"/>
                    <a:pt x="47" y="66"/>
                    <a:pt x="44" y="69"/>
                  </a:cubicBezTo>
                  <a:cubicBezTo>
                    <a:pt x="44" y="10"/>
                    <a:pt x="44" y="10"/>
                    <a:pt x="44" y="10"/>
                  </a:cubicBezTo>
                  <a:cubicBezTo>
                    <a:pt x="44" y="3"/>
                    <a:pt x="41" y="0"/>
                    <a:pt x="36" y="0"/>
                  </a:cubicBezTo>
                  <a:cubicBezTo>
                    <a:pt x="34" y="0"/>
                    <a:pt x="34" y="0"/>
                    <a:pt x="34" y="0"/>
                  </a:cubicBezTo>
                  <a:cubicBezTo>
                    <a:pt x="29" y="0"/>
                    <a:pt x="26" y="3"/>
                    <a:pt x="26" y="10"/>
                  </a:cubicBezTo>
                  <a:cubicBezTo>
                    <a:pt x="26" y="69"/>
                    <a:pt x="26" y="69"/>
                    <a:pt x="26" y="69"/>
                  </a:cubicBezTo>
                  <a:cubicBezTo>
                    <a:pt x="24" y="66"/>
                    <a:pt x="22" y="64"/>
                    <a:pt x="20" y="62"/>
                  </a:cubicBezTo>
                  <a:cubicBezTo>
                    <a:pt x="16" y="58"/>
                    <a:pt x="12" y="56"/>
                    <a:pt x="8" y="60"/>
                  </a:cubicBezTo>
                  <a:cubicBezTo>
                    <a:pt x="0" y="65"/>
                    <a:pt x="6" y="71"/>
                    <a:pt x="6" y="71"/>
                  </a:cubicBezTo>
                  <a:cubicBezTo>
                    <a:pt x="9" y="74"/>
                    <a:pt x="9" y="74"/>
                    <a:pt x="9" y="74"/>
                  </a:cubicBezTo>
                  <a:cubicBezTo>
                    <a:pt x="24" y="91"/>
                    <a:pt x="24" y="91"/>
                    <a:pt x="24" y="91"/>
                  </a:cubicBezTo>
                  <a:cubicBezTo>
                    <a:pt x="25" y="93"/>
                    <a:pt x="27" y="94"/>
                    <a:pt x="28" y="95"/>
                  </a:cubicBezTo>
                  <a:cubicBezTo>
                    <a:pt x="30" y="97"/>
                    <a:pt x="32" y="97"/>
                    <a:pt x="35" y="97"/>
                  </a:cubicBezTo>
                  <a:cubicBezTo>
                    <a:pt x="38" y="97"/>
                    <a:pt x="40" y="97"/>
                    <a:pt x="42" y="95"/>
                  </a:cubicBezTo>
                  <a:cubicBezTo>
                    <a:pt x="43" y="94"/>
                    <a:pt x="45" y="93"/>
                    <a:pt x="46" y="91"/>
                  </a:cubicBezTo>
                  <a:close/>
                </a:path>
              </a:pathLst>
            </a:custGeom>
            <a:solidFill>
              <a:srgbClr val="36C746"/>
            </a:solidFill>
            <a:ln w="9525">
              <a:noFill/>
              <a:round/>
              <a:headEnd/>
              <a:tailEnd/>
            </a:ln>
          </p:spPr>
          <p:txBody>
            <a:bodyPr/>
            <a:lstStyle/>
            <a:p>
              <a:endParaRPr lang="en-US" sz="2533"/>
            </a:p>
          </p:txBody>
        </p:sp>
        <p:sp>
          <p:nvSpPr>
            <p:cNvPr id="27" name="Rectangle 27"/>
            <p:cNvSpPr/>
            <p:nvPr/>
          </p:nvSpPr>
          <p:spPr>
            <a:xfrm>
              <a:off x="431006" y="1201409"/>
              <a:ext cx="842955" cy="161625"/>
            </a:xfrm>
            <a:prstGeom prst="rect">
              <a:avLst/>
            </a:prstGeom>
            <a:solidFill>
              <a:schemeClr val="bg1"/>
            </a:solidFill>
          </p:spPr>
          <p:txBody>
            <a:bodyPr wrap="square" lIns="0" tIns="0" rIns="0" bIns="0" anchor="ctr" anchorCtr="0">
              <a:spAutoFit/>
            </a:bodyPr>
            <a:lstStyle/>
            <a:p>
              <a:pPr marL="95976">
                <a:spcBef>
                  <a:spcPct val="0"/>
                </a:spcBef>
              </a:pPr>
              <a:r>
                <a:rPr lang="fr-FR" sz="1400" b="1" i="1" dirty="0" err="1">
                  <a:solidFill>
                    <a:srgbClr val="36C746"/>
                  </a:solidFill>
                  <a:latin typeface="+mj-lt"/>
                  <a:ea typeface="+mj-ea"/>
                  <a:cs typeface="+mj-cs"/>
                </a:rPr>
                <a:t>Proiectanti</a:t>
              </a:r>
              <a:r>
                <a:rPr lang="fr-FR" sz="1400" i="1" dirty="0" err="1">
                  <a:solidFill>
                    <a:srgbClr val="36C746"/>
                  </a:solidFill>
                  <a:latin typeface="+mj-lt"/>
                  <a:ea typeface="+mj-ea"/>
                  <a:cs typeface="+mj-cs"/>
                </a:rPr>
                <a:t>i</a:t>
              </a:r>
              <a:endParaRPr lang="en-US" sz="1400" i="1" dirty="0">
                <a:solidFill>
                  <a:srgbClr val="36C746"/>
                </a:solidFill>
                <a:latin typeface="+mj-lt"/>
                <a:ea typeface="+mj-ea"/>
                <a:cs typeface="+mj-cs"/>
              </a:endParaRPr>
            </a:p>
          </p:txBody>
        </p:sp>
        <p:sp>
          <p:nvSpPr>
            <p:cNvPr id="28" name="Rectangle 28"/>
            <p:cNvSpPr/>
            <p:nvPr/>
          </p:nvSpPr>
          <p:spPr>
            <a:xfrm>
              <a:off x="431006" y="2331204"/>
              <a:ext cx="1695528" cy="161625"/>
            </a:xfrm>
            <a:prstGeom prst="rect">
              <a:avLst/>
            </a:prstGeom>
            <a:solidFill>
              <a:schemeClr val="bg1"/>
            </a:solidFill>
          </p:spPr>
          <p:txBody>
            <a:bodyPr wrap="square" lIns="0" tIns="0" rIns="0" bIns="0" anchor="ctr" anchorCtr="0">
              <a:spAutoFit/>
            </a:bodyPr>
            <a:lstStyle/>
            <a:p>
              <a:pPr marL="95976">
                <a:spcBef>
                  <a:spcPct val="0"/>
                </a:spcBef>
              </a:pPr>
              <a:r>
                <a:rPr lang="fr-FR" sz="1400" b="1" i="1" dirty="0" err="1">
                  <a:solidFill>
                    <a:srgbClr val="36C746"/>
                  </a:solidFill>
                  <a:latin typeface="+mj-lt"/>
                  <a:ea typeface="+mj-ea"/>
                  <a:cs typeface="+mj-cs"/>
                </a:rPr>
                <a:t>Constructorii</a:t>
              </a:r>
              <a:r>
                <a:rPr lang="fr-FR" sz="1400" b="1" i="1" dirty="0">
                  <a:solidFill>
                    <a:srgbClr val="36C746"/>
                  </a:solidFill>
                  <a:latin typeface="+mj-lt"/>
                  <a:ea typeface="+mj-ea"/>
                  <a:cs typeface="+mj-cs"/>
                </a:rPr>
                <a:t> de </a:t>
              </a:r>
              <a:r>
                <a:rPr lang="fr-FR" sz="1400" b="1" i="1" dirty="0" err="1">
                  <a:solidFill>
                    <a:srgbClr val="36C746"/>
                  </a:solidFill>
                  <a:latin typeface="+mj-lt"/>
                  <a:ea typeface="+mj-ea"/>
                  <a:cs typeface="+mj-cs"/>
                </a:rPr>
                <a:t>tablouri</a:t>
              </a:r>
              <a:endParaRPr lang="en-US" sz="1400" b="1" i="1" dirty="0">
                <a:solidFill>
                  <a:srgbClr val="36C746"/>
                </a:solidFill>
                <a:latin typeface="+mj-lt"/>
                <a:ea typeface="+mj-ea"/>
                <a:cs typeface="+mj-cs"/>
              </a:endParaRPr>
            </a:p>
          </p:txBody>
        </p:sp>
        <p:sp>
          <p:nvSpPr>
            <p:cNvPr id="29" name="Rectangle 29"/>
            <p:cNvSpPr/>
            <p:nvPr/>
          </p:nvSpPr>
          <p:spPr>
            <a:xfrm>
              <a:off x="431006" y="3730659"/>
              <a:ext cx="1828800" cy="161625"/>
            </a:xfrm>
            <a:prstGeom prst="rect">
              <a:avLst/>
            </a:prstGeom>
            <a:solidFill>
              <a:schemeClr val="bg1"/>
            </a:solidFill>
          </p:spPr>
          <p:txBody>
            <a:bodyPr wrap="square" lIns="0" tIns="0" rIns="0" bIns="0" anchor="ctr" anchorCtr="0">
              <a:spAutoFit/>
            </a:bodyPr>
            <a:lstStyle/>
            <a:p>
              <a:pPr marL="95976">
                <a:spcBef>
                  <a:spcPct val="0"/>
                </a:spcBef>
              </a:pPr>
              <a:r>
                <a:rPr lang="fr-FR" sz="1400" b="1" i="1" dirty="0" err="1">
                  <a:solidFill>
                    <a:srgbClr val="36C746"/>
                  </a:solidFill>
                  <a:latin typeface="+mj-lt"/>
                  <a:ea typeface="+mj-ea"/>
                  <a:cs typeface="+mj-cs"/>
                </a:rPr>
                <a:t>Contractori</a:t>
              </a:r>
              <a:r>
                <a:rPr lang="fr-FR" sz="1400" b="1" i="1" dirty="0">
                  <a:solidFill>
                    <a:srgbClr val="36C746"/>
                  </a:solidFill>
                  <a:latin typeface="+mj-lt"/>
                  <a:ea typeface="+mj-ea"/>
                  <a:cs typeface="+mj-cs"/>
                </a:rPr>
                <a:t> si </a:t>
              </a:r>
              <a:r>
                <a:rPr lang="fr-FR" sz="1400" b="1" i="1" dirty="0" err="1">
                  <a:solidFill>
                    <a:srgbClr val="36C746"/>
                  </a:solidFill>
                  <a:latin typeface="+mj-lt"/>
                  <a:ea typeface="+mj-ea"/>
                  <a:cs typeface="+mj-cs"/>
                </a:rPr>
                <a:t>integratori</a:t>
              </a:r>
              <a:endParaRPr lang="en-US" sz="1400" b="1" i="1" dirty="0">
                <a:solidFill>
                  <a:srgbClr val="36C746"/>
                </a:solidFill>
                <a:latin typeface="+mj-lt"/>
                <a:ea typeface="+mj-ea"/>
                <a:cs typeface="+mj-cs"/>
              </a:endParaRPr>
            </a:p>
          </p:txBody>
        </p:sp>
      </p:grpSp>
      <p:sp>
        <p:nvSpPr>
          <p:cNvPr id="31" name="Rounded Rectangle 16"/>
          <p:cNvSpPr/>
          <p:nvPr/>
        </p:nvSpPr>
        <p:spPr>
          <a:xfrm>
            <a:off x="8238663" y="1717088"/>
            <a:ext cx="3601226" cy="1721383"/>
          </a:xfrm>
          <a:prstGeom prst="roundRect">
            <a:avLst>
              <a:gd name="adj" fmla="val 0"/>
            </a:avLst>
          </a:prstGeom>
          <a:solidFill>
            <a:schemeClr val="bg1"/>
          </a:solidFill>
          <a:ln w="12700" cap="sq">
            <a:solidFill>
              <a:schemeClr val="bg1">
                <a:lumMod val="75000"/>
              </a:schemeClr>
            </a:solidFill>
            <a:miter lim="800000"/>
          </a:ln>
          <a:effectLst>
            <a:softEdge rad="0"/>
          </a:effectLst>
        </p:spPr>
        <p:style>
          <a:lnRef idx="2">
            <a:schemeClr val="dk1"/>
          </a:lnRef>
          <a:fillRef idx="1">
            <a:schemeClr val="lt1"/>
          </a:fillRef>
          <a:effectRef idx="0">
            <a:schemeClr val="dk1"/>
          </a:effectRef>
          <a:fontRef idx="minor">
            <a:schemeClr val="dk1"/>
          </a:fontRef>
        </p:style>
        <p:txBody>
          <a:bodyPr lIns="143963" tIns="0" rIns="143963" bIns="0" rtlCol="0" anchor="ctr"/>
          <a:lstStyle/>
          <a:p>
            <a:pPr marL="228543" indent="-228543">
              <a:buClr>
                <a:srgbClr val="3DCD58"/>
              </a:buClr>
              <a:buFont typeface="Arial" charset="0"/>
              <a:buChar char="•"/>
            </a:pPr>
            <a:r>
              <a:rPr lang="fr-FR" sz="1400" dirty="0">
                <a:solidFill>
                  <a:srgbClr val="000000"/>
                </a:solidFill>
              </a:rPr>
              <a:t>Nu au </a:t>
            </a:r>
            <a:r>
              <a:rPr lang="fr-FR" sz="1400" dirty="0" err="1">
                <a:solidFill>
                  <a:srgbClr val="000000"/>
                </a:solidFill>
              </a:rPr>
              <a:t>transparenta</a:t>
            </a:r>
            <a:r>
              <a:rPr lang="fr-FR" sz="1400" dirty="0">
                <a:solidFill>
                  <a:srgbClr val="000000"/>
                </a:solidFill>
              </a:rPr>
              <a:t> </a:t>
            </a:r>
            <a:r>
              <a:rPr lang="fr-FR" sz="1400" dirty="0" err="1">
                <a:solidFill>
                  <a:srgbClr val="000000"/>
                </a:solidFill>
              </a:rPr>
              <a:t>privind</a:t>
            </a:r>
            <a:r>
              <a:rPr lang="fr-FR" sz="1400" dirty="0">
                <a:solidFill>
                  <a:srgbClr val="000000"/>
                </a:solidFill>
              </a:rPr>
              <a:t> </a:t>
            </a:r>
            <a:r>
              <a:rPr lang="fr-FR" sz="1400" dirty="0" err="1">
                <a:solidFill>
                  <a:srgbClr val="000000"/>
                </a:solidFill>
              </a:rPr>
              <a:t>performantele</a:t>
            </a:r>
            <a:r>
              <a:rPr lang="fr-FR" sz="1400" dirty="0">
                <a:solidFill>
                  <a:srgbClr val="000000"/>
                </a:solidFill>
              </a:rPr>
              <a:t> </a:t>
            </a:r>
            <a:r>
              <a:rPr lang="fr-FR" sz="1400" dirty="0" err="1">
                <a:solidFill>
                  <a:srgbClr val="000000"/>
                </a:solidFill>
              </a:rPr>
              <a:t>energetice</a:t>
            </a:r>
            <a:r>
              <a:rPr lang="fr-FR" sz="1400" dirty="0">
                <a:solidFill>
                  <a:srgbClr val="000000"/>
                </a:solidFill>
              </a:rPr>
              <a:t> de </a:t>
            </a:r>
            <a:r>
              <a:rPr lang="fr-FR" sz="1400" dirty="0" err="1">
                <a:solidFill>
                  <a:srgbClr val="000000"/>
                </a:solidFill>
              </a:rPr>
              <a:t>functionare</a:t>
            </a:r>
            <a:endParaRPr lang="fr-FR" sz="1400" dirty="0">
              <a:solidFill>
                <a:srgbClr val="000000"/>
              </a:solidFill>
            </a:endParaRPr>
          </a:p>
          <a:p>
            <a:pPr>
              <a:buClr>
                <a:srgbClr val="3DCD58"/>
              </a:buClr>
            </a:pPr>
            <a:endParaRPr lang="fr-FR" sz="1400" dirty="0">
              <a:solidFill>
                <a:srgbClr val="000000"/>
              </a:solidFill>
            </a:endParaRPr>
          </a:p>
          <a:p>
            <a:pPr marL="228543" indent="-228543">
              <a:buClr>
                <a:srgbClr val="3DCD58"/>
              </a:buClr>
              <a:buFont typeface="Arial" charset="0"/>
              <a:buChar char="•"/>
            </a:pPr>
            <a:r>
              <a:rPr lang="fr-FR" sz="1400" dirty="0">
                <a:solidFill>
                  <a:srgbClr val="000000"/>
                </a:solidFill>
              </a:rPr>
              <a:t>Pot </a:t>
            </a:r>
            <a:r>
              <a:rPr lang="fr-FR" sz="1400" dirty="0" err="1">
                <a:solidFill>
                  <a:srgbClr val="000000"/>
                </a:solidFill>
              </a:rPr>
              <a:t>plati</a:t>
            </a:r>
            <a:r>
              <a:rPr lang="fr-FR" sz="1400" dirty="0">
                <a:solidFill>
                  <a:srgbClr val="000000"/>
                </a:solidFill>
              </a:rPr>
              <a:t> </a:t>
            </a:r>
            <a:r>
              <a:rPr lang="fr-FR" sz="1400" dirty="0" err="1">
                <a:solidFill>
                  <a:srgbClr val="000000"/>
                </a:solidFill>
              </a:rPr>
              <a:t>pierderi</a:t>
            </a:r>
            <a:r>
              <a:rPr lang="fr-FR" sz="1400" dirty="0">
                <a:solidFill>
                  <a:srgbClr val="000000"/>
                </a:solidFill>
              </a:rPr>
              <a:t> </a:t>
            </a:r>
            <a:r>
              <a:rPr lang="fr-FR" sz="1400" dirty="0" err="1">
                <a:solidFill>
                  <a:srgbClr val="000000"/>
                </a:solidFill>
              </a:rPr>
              <a:t>datorate</a:t>
            </a:r>
            <a:r>
              <a:rPr lang="fr-FR" sz="1400" dirty="0">
                <a:solidFill>
                  <a:srgbClr val="000000"/>
                </a:solidFill>
              </a:rPr>
              <a:t> </a:t>
            </a:r>
            <a:r>
              <a:rPr lang="fr-FR" sz="1400" dirty="0" err="1">
                <a:solidFill>
                  <a:srgbClr val="000000"/>
                </a:solidFill>
              </a:rPr>
              <a:t>lipsei</a:t>
            </a:r>
            <a:r>
              <a:rPr lang="fr-FR" sz="1400" dirty="0">
                <a:solidFill>
                  <a:srgbClr val="000000"/>
                </a:solidFill>
              </a:rPr>
              <a:t> </a:t>
            </a:r>
            <a:r>
              <a:rPr lang="fr-FR" sz="1400" dirty="0" err="1">
                <a:solidFill>
                  <a:srgbClr val="000000"/>
                </a:solidFill>
              </a:rPr>
              <a:t>actiunilor</a:t>
            </a:r>
            <a:r>
              <a:rPr lang="fr-FR" sz="1400" dirty="0">
                <a:solidFill>
                  <a:srgbClr val="000000"/>
                </a:solidFill>
              </a:rPr>
              <a:t> </a:t>
            </a:r>
            <a:r>
              <a:rPr lang="fr-FR" sz="1400" dirty="0" err="1">
                <a:solidFill>
                  <a:srgbClr val="000000"/>
                </a:solidFill>
              </a:rPr>
              <a:t>predictive</a:t>
            </a:r>
            <a:endParaRPr lang="fr-FR" sz="1400" dirty="0">
              <a:solidFill>
                <a:srgbClr val="000000"/>
              </a:solidFill>
            </a:endParaRPr>
          </a:p>
        </p:txBody>
      </p:sp>
      <p:sp>
        <p:nvSpPr>
          <p:cNvPr id="32" name="Rounded Rectangle 17"/>
          <p:cNvSpPr/>
          <p:nvPr/>
        </p:nvSpPr>
        <p:spPr>
          <a:xfrm>
            <a:off x="8277927" y="3784309"/>
            <a:ext cx="3749690" cy="2691898"/>
          </a:xfrm>
          <a:prstGeom prst="roundRect">
            <a:avLst>
              <a:gd name="adj" fmla="val 0"/>
            </a:avLst>
          </a:prstGeom>
          <a:solidFill>
            <a:schemeClr val="bg1"/>
          </a:solidFill>
          <a:ln w="12700">
            <a:solidFill>
              <a:schemeClr val="bg1">
                <a:lumMod val="75000"/>
              </a:schemeClr>
            </a:solidFill>
          </a:ln>
          <a:effectLst/>
        </p:spPr>
        <p:style>
          <a:lnRef idx="2">
            <a:schemeClr val="dk1"/>
          </a:lnRef>
          <a:fillRef idx="1">
            <a:schemeClr val="lt1"/>
          </a:fillRef>
          <a:effectRef idx="0">
            <a:schemeClr val="dk1"/>
          </a:effectRef>
          <a:fontRef idx="minor">
            <a:schemeClr val="dk1"/>
          </a:fontRef>
        </p:style>
        <p:txBody>
          <a:bodyPr lIns="143963" tIns="0" rIns="143963" bIns="0" rtlCol="0" anchor="ctr"/>
          <a:lstStyle/>
          <a:p>
            <a:pPr marL="285750" indent="-285750">
              <a:buClr>
                <a:srgbClr val="3DCD58"/>
              </a:buClr>
              <a:buFont typeface="Arial" panose="020B0604020202020204" pitchFamily="34" charset="0"/>
              <a:buChar char="•"/>
            </a:pPr>
            <a:endParaRPr lang="fr-FR" sz="1600" dirty="0">
              <a:solidFill>
                <a:srgbClr val="000000"/>
              </a:solidFill>
            </a:endParaRPr>
          </a:p>
          <a:p>
            <a:pPr marL="285750" indent="-285750">
              <a:buClr>
                <a:srgbClr val="3DCD58"/>
              </a:buClr>
              <a:buFont typeface="Arial" panose="020B0604020202020204" pitchFamily="34" charset="0"/>
              <a:buChar char="•"/>
            </a:pPr>
            <a:r>
              <a:rPr lang="fr-FR" sz="1400" dirty="0">
                <a:solidFill>
                  <a:srgbClr val="000000"/>
                </a:solidFill>
              </a:rPr>
              <a:t>Nu </a:t>
            </a:r>
            <a:r>
              <a:rPr lang="fr-FR" sz="1400" dirty="0" err="1">
                <a:solidFill>
                  <a:srgbClr val="000000"/>
                </a:solidFill>
              </a:rPr>
              <a:t>primesc</a:t>
            </a:r>
            <a:r>
              <a:rPr lang="fr-FR" sz="1400" dirty="0">
                <a:solidFill>
                  <a:srgbClr val="000000"/>
                </a:solidFill>
              </a:rPr>
              <a:t> </a:t>
            </a:r>
            <a:r>
              <a:rPr lang="fr-FR" sz="1400" dirty="0" err="1">
                <a:solidFill>
                  <a:srgbClr val="000000"/>
                </a:solidFill>
              </a:rPr>
              <a:t>notificari</a:t>
            </a:r>
            <a:r>
              <a:rPr lang="fr-FR" sz="1400" dirty="0">
                <a:solidFill>
                  <a:srgbClr val="000000"/>
                </a:solidFill>
              </a:rPr>
              <a:t> in </a:t>
            </a:r>
            <a:r>
              <a:rPr lang="fr-FR" sz="1400" dirty="0" err="1">
                <a:solidFill>
                  <a:srgbClr val="000000"/>
                </a:solidFill>
              </a:rPr>
              <a:t>caz</a:t>
            </a:r>
            <a:r>
              <a:rPr lang="fr-FR" sz="1400" dirty="0">
                <a:solidFill>
                  <a:srgbClr val="000000"/>
                </a:solidFill>
              </a:rPr>
              <a:t> de </a:t>
            </a:r>
            <a:r>
              <a:rPr lang="fr-FR" sz="1400" dirty="0" err="1">
                <a:solidFill>
                  <a:srgbClr val="000000"/>
                </a:solidFill>
              </a:rPr>
              <a:t>defect</a:t>
            </a:r>
            <a:endParaRPr lang="fr-FR" sz="1400" dirty="0">
              <a:solidFill>
                <a:srgbClr val="000000"/>
              </a:solidFill>
            </a:endParaRPr>
          </a:p>
          <a:p>
            <a:pPr>
              <a:buClr>
                <a:srgbClr val="3DCD58"/>
              </a:buClr>
            </a:pPr>
            <a:endParaRPr lang="fr-FR" sz="1400" dirty="0">
              <a:solidFill>
                <a:srgbClr val="000000"/>
              </a:solidFill>
            </a:endParaRPr>
          </a:p>
          <a:p>
            <a:pPr marL="285750" indent="-285750">
              <a:buClr>
                <a:srgbClr val="3DCD58"/>
              </a:buClr>
              <a:buFont typeface="Arial" panose="020B0604020202020204" pitchFamily="34" charset="0"/>
              <a:buChar char="•"/>
            </a:pPr>
            <a:r>
              <a:rPr lang="fr-FR" sz="1400" dirty="0" err="1">
                <a:solidFill>
                  <a:srgbClr val="000000"/>
                </a:solidFill>
              </a:rPr>
              <a:t>Trebuie</a:t>
            </a:r>
            <a:r>
              <a:rPr lang="fr-FR" sz="1400" dirty="0">
                <a:solidFill>
                  <a:srgbClr val="000000"/>
                </a:solidFill>
              </a:rPr>
              <a:t> sa se </a:t>
            </a:r>
            <a:r>
              <a:rPr lang="fr-FR" sz="1400" dirty="0" err="1">
                <a:solidFill>
                  <a:srgbClr val="000000"/>
                </a:solidFill>
              </a:rPr>
              <a:t>deplaseze</a:t>
            </a:r>
            <a:r>
              <a:rPr lang="fr-FR" sz="1400" dirty="0">
                <a:solidFill>
                  <a:srgbClr val="000000"/>
                </a:solidFill>
              </a:rPr>
              <a:t> in site </a:t>
            </a:r>
            <a:r>
              <a:rPr lang="fr-FR" sz="1400" dirty="0" err="1">
                <a:solidFill>
                  <a:srgbClr val="000000"/>
                </a:solidFill>
              </a:rPr>
              <a:t>pentru</a:t>
            </a:r>
            <a:r>
              <a:rPr lang="fr-FR" sz="1400" dirty="0">
                <a:solidFill>
                  <a:srgbClr val="000000"/>
                </a:solidFill>
              </a:rPr>
              <a:t> </a:t>
            </a:r>
            <a:r>
              <a:rPr lang="fr-FR" sz="1400" dirty="0" err="1">
                <a:solidFill>
                  <a:srgbClr val="000000"/>
                </a:solidFill>
              </a:rPr>
              <a:t>diagnosticarea</a:t>
            </a:r>
            <a:r>
              <a:rPr lang="fr-FR" sz="1400" dirty="0">
                <a:solidFill>
                  <a:srgbClr val="000000"/>
                </a:solidFill>
              </a:rPr>
              <a:t> </a:t>
            </a:r>
            <a:r>
              <a:rPr lang="fr-FR" sz="1400" dirty="0" err="1">
                <a:solidFill>
                  <a:srgbClr val="000000"/>
                </a:solidFill>
              </a:rPr>
              <a:t>problemei</a:t>
            </a:r>
            <a:r>
              <a:rPr lang="fr-FR" sz="1400" dirty="0">
                <a:solidFill>
                  <a:srgbClr val="000000"/>
                </a:solidFill>
              </a:rPr>
              <a:t> </a:t>
            </a:r>
          </a:p>
          <a:p>
            <a:pPr>
              <a:buClr>
                <a:srgbClr val="3DCD58"/>
              </a:buClr>
            </a:pPr>
            <a:endParaRPr lang="fr-FR" sz="1400" dirty="0">
              <a:solidFill>
                <a:srgbClr val="000000"/>
              </a:solidFill>
            </a:endParaRPr>
          </a:p>
          <a:p>
            <a:pPr marL="285750" indent="-285750">
              <a:buClr>
                <a:srgbClr val="3DCD58"/>
              </a:buClr>
              <a:buFont typeface="Arial" panose="020B0604020202020204" pitchFamily="34" charset="0"/>
              <a:buChar char="•"/>
            </a:pPr>
            <a:r>
              <a:rPr lang="fr-FR" sz="1400" dirty="0">
                <a:solidFill>
                  <a:srgbClr val="000000"/>
                </a:solidFill>
              </a:rPr>
              <a:t>Nu </a:t>
            </a:r>
            <a:r>
              <a:rPr lang="fr-FR" sz="1400" dirty="0" err="1">
                <a:solidFill>
                  <a:srgbClr val="000000"/>
                </a:solidFill>
              </a:rPr>
              <a:t>gasesc</a:t>
            </a:r>
            <a:r>
              <a:rPr lang="fr-FR" sz="1400" dirty="0">
                <a:solidFill>
                  <a:srgbClr val="000000"/>
                </a:solidFill>
              </a:rPr>
              <a:t> </a:t>
            </a:r>
            <a:r>
              <a:rPr lang="fr-FR" sz="1400" dirty="0" err="1">
                <a:solidFill>
                  <a:srgbClr val="000000"/>
                </a:solidFill>
              </a:rPr>
              <a:t>cu</a:t>
            </a:r>
            <a:r>
              <a:rPr lang="fr-FR" sz="1400" dirty="0">
                <a:solidFill>
                  <a:srgbClr val="000000"/>
                </a:solidFill>
              </a:rPr>
              <a:t> </a:t>
            </a:r>
            <a:r>
              <a:rPr lang="fr-FR" sz="1400" dirty="0" err="1">
                <a:solidFill>
                  <a:srgbClr val="000000"/>
                </a:solidFill>
              </a:rPr>
              <a:t>usurinta</a:t>
            </a:r>
            <a:r>
              <a:rPr lang="fr-FR" sz="1400" dirty="0">
                <a:solidFill>
                  <a:srgbClr val="000000"/>
                </a:solidFill>
              </a:rPr>
              <a:t> un </a:t>
            </a:r>
            <a:r>
              <a:rPr lang="fr-FR" sz="1400" dirty="0" err="1">
                <a:solidFill>
                  <a:srgbClr val="000000"/>
                </a:solidFill>
              </a:rPr>
              <a:t>istoric</a:t>
            </a:r>
            <a:r>
              <a:rPr lang="fr-FR" sz="1400" dirty="0">
                <a:solidFill>
                  <a:srgbClr val="000000"/>
                </a:solidFill>
              </a:rPr>
              <a:t> al </a:t>
            </a:r>
            <a:r>
              <a:rPr lang="fr-FR" sz="1400" dirty="0" err="1">
                <a:solidFill>
                  <a:srgbClr val="000000"/>
                </a:solidFill>
              </a:rPr>
              <a:t>actiunilor</a:t>
            </a:r>
            <a:r>
              <a:rPr lang="fr-FR" sz="1400" dirty="0">
                <a:solidFill>
                  <a:srgbClr val="000000"/>
                </a:solidFill>
              </a:rPr>
              <a:t> de </a:t>
            </a:r>
            <a:r>
              <a:rPr lang="fr-FR" sz="1400" dirty="0" err="1">
                <a:solidFill>
                  <a:srgbClr val="000000"/>
                </a:solidFill>
              </a:rPr>
              <a:t>mentenanta</a:t>
            </a:r>
            <a:endParaRPr lang="fr-FR" sz="1400" dirty="0">
              <a:solidFill>
                <a:srgbClr val="000000"/>
              </a:solidFill>
            </a:endParaRPr>
          </a:p>
          <a:p>
            <a:pPr marL="285750" indent="-285750">
              <a:buClr>
                <a:srgbClr val="3DCD58"/>
              </a:buClr>
              <a:buFont typeface="Arial" panose="020B0604020202020204" pitchFamily="34" charset="0"/>
              <a:buChar char="•"/>
            </a:pPr>
            <a:endParaRPr lang="fr-FR" sz="1400" dirty="0">
              <a:solidFill>
                <a:srgbClr val="000000"/>
              </a:solidFill>
            </a:endParaRPr>
          </a:p>
          <a:p>
            <a:pPr marL="285750" indent="-285750">
              <a:buClr>
                <a:srgbClr val="3DCD58"/>
              </a:buClr>
              <a:buFont typeface="Arial" panose="020B0604020202020204" pitchFamily="34" charset="0"/>
              <a:buChar char="•"/>
            </a:pPr>
            <a:r>
              <a:rPr lang="fr-FR" sz="1400" dirty="0" err="1">
                <a:solidFill>
                  <a:srgbClr val="000000"/>
                </a:solidFill>
              </a:rPr>
              <a:t>Pierd</a:t>
            </a:r>
            <a:r>
              <a:rPr lang="fr-FR" sz="1400" dirty="0">
                <a:solidFill>
                  <a:srgbClr val="000000"/>
                </a:solidFill>
              </a:rPr>
              <a:t> </a:t>
            </a:r>
            <a:r>
              <a:rPr lang="fr-FR" sz="1400" dirty="0" err="1">
                <a:solidFill>
                  <a:srgbClr val="000000"/>
                </a:solidFill>
              </a:rPr>
              <a:t>timp</a:t>
            </a:r>
            <a:r>
              <a:rPr lang="fr-FR" sz="1400" dirty="0">
                <a:solidFill>
                  <a:srgbClr val="000000"/>
                </a:solidFill>
              </a:rPr>
              <a:t> si </a:t>
            </a:r>
            <a:r>
              <a:rPr lang="fr-FR" sz="1400" dirty="0" err="1">
                <a:solidFill>
                  <a:srgbClr val="000000"/>
                </a:solidFill>
              </a:rPr>
              <a:t>bani</a:t>
            </a:r>
            <a:endParaRPr lang="fr-FR" sz="1400" dirty="0">
              <a:solidFill>
                <a:srgbClr val="000000"/>
              </a:solidFill>
            </a:endParaRPr>
          </a:p>
        </p:txBody>
      </p:sp>
      <p:sp>
        <p:nvSpPr>
          <p:cNvPr id="34" name="Freeform 2"/>
          <p:cNvSpPr>
            <a:spLocks noEditPoints="1"/>
          </p:cNvSpPr>
          <p:nvPr/>
        </p:nvSpPr>
        <p:spPr bwMode="auto">
          <a:xfrm>
            <a:off x="9844082" y="3225209"/>
            <a:ext cx="196276" cy="253502"/>
          </a:xfrm>
          <a:custGeom>
            <a:avLst/>
            <a:gdLst/>
            <a:ahLst/>
            <a:cxnLst>
              <a:cxn ang="0">
                <a:pos x="35" y="97"/>
              </a:cxn>
              <a:cxn ang="0">
                <a:pos x="35" y="97"/>
              </a:cxn>
              <a:cxn ang="0">
                <a:pos x="35" y="97"/>
              </a:cxn>
              <a:cxn ang="0">
                <a:pos x="46" y="91"/>
              </a:cxn>
              <a:cxn ang="0">
                <a:pos x="62" y="74"/>
              </a:cxn>
              <a:cxn ang="0">
                <a:pos x="65" y="70"/>
              </a:cxn>
              <a:cxn ang="0">
                <a:pos x="63" y="59"/>
              </a:cxn>
              <a:cxn ang="0">
                <a:pos x="50" y="62"/>
              </a:cxn>
              <a:cxn ang="0">
                <a:pos x="44" y="69"/>
              </a:cxn>
              <a:cxn ang="0">
                <a:pos x="44" y="10"/>
              </a:cxn>
              <a:cxn ang="0">
                <a:pos x="36" y="0"/>
              </a:cxn>
              <a:cxn ang="0">
                <a:pos x="34" y="0"/>
              </a:cxn>
              <a:cxn ang="0">
                <a:pos x="26" y="10"/>
              </a:cxn>
              <a:cxn ang="0">
                <a:pos x="26" y="69"/>
              </a:cxn>
              <a:cxn ang="0">
                <a:pos x="20" y="62"/>
              </a:cxn>
              <a:cxn ang="0">
                <a:pos x="8" y="60"/>
              </a:cxn>
              <a:cxn ang="0">
                <a:pos x="6" y="71"/>
              </a:cxn>
              <a:cxn ang="0">
                <a:pos x="9" y="74"/>
              </a:cxn>
              <a:cxn ang="0">
                <a:pos x="24" y="91"/>
              </a:cxn>
              <a:cxn ang="0">
                <a:pos x="28" y="95"/>
              </a:cxn>
              <a:cxn ang="0">
                <a:pos x="35" y="97"/>
              </a:cxn>
              <a:cxn ang="0">
                <a:pos x="42" y="95"/>
              </a:cxn>
              <a:cxn ang="0">
                <a:pos x="46" y="91"/>
              </a:cxn>
            </a:cxnLst>
            <a:rect l="0" t="0" r="r" b="b"/>
            <a:pathLst>
              <a:path w="70" h="97">
                <a:moveTo>
                  <a:pt x="35" y="97"/>
                </a:moveTo>
                <a:cubicBezTo>
                  <a:pt x="35" y="97"/>
                  <a:pt x="35" y="97"/>
                  <a:pt x="35" y="97"/>
                </a:cubicBezTo>
                <a:cubicBezTo>
                  <a:pt x="35" y="97"/>
                  <a:pt x="35" y="97"/>
                  <a:pt x="35" y="97"/>
                </a:cubicBezTo>
                <a:moveTo>
                  <a:pt x="46" y="91"/>
                </a:moveTo>
                <a:cubicBezTo>
                  <a:pt x="62" y="74"/>
                  <a:pt x="62" y="74"/>
                  <a:pt x="62" y="74"/>
                </a:cubicBezTo>
                <a:cubicBezTo>
                  <a:pt x="65" y="70"/>
                  <a:pt x="65" y="70"/>
                  <a:pt x="65" y="70"/>
                </a:cubicBezTo>
                <a:cubicBezTo>
                  <a:pt x="65" y="70"/>
                  <a:pt x="70" y="65"/>
                  <a:pt x="63" y="59"/>
                </a:cubicBezTo>
                <a:cubicBezTo>
                  <a:pt x="58" y="56"/>
                  <a:pt x="55" y="57"/>
                  <a:pt x="50" y="62"/>
                </a:cubicBezTo>
                <a:cubicBezTo>
                  <a:pt x="49" y="64"/>
                  <a:pt x="47" y="66"/>
                  <a:pt x="44" y="69"/>
                </a:cubicBezTo>
                <a:cubicBezTo>
                  <a:pt x="44" y="10"/>
                  <a:pt x="44" y="10"/>
                  <a:pt x="44" y="10"/>
                </a:cubicBezTo>
                <a:cubicBezTo>
                  <a:pt x="44" y="3"/>
                  <a:pt x="41" y="0"/>
                  <a:pt x="36" y="0"/>
                </a:cubicBezTo>
                <a:cubicBezTo>
                  <a:pt x="34" y="0"/>
                  <a:pt x="34" y="0"/>
                  <a:pt x="34" y="0"/>
                </a:cubicBezTo>
                <a:cubicBezTo>
                  <a:pt x="29" y="0"/>
                  <a:pt x="26" y="3"/>
                  <a:pt x="26" y="10"/>
                </a:cubicBezTo>
                <a:cubicBezTo>
                  <a:pt x="26" y="69"/>
                  <a:pt x="26" y="69"/>
                  <a:pt x="26" y="69"/>
                </a:cubicBezTo>
                <a:cubicBezTo>
                  <a:pt x="24" y="66"/>
                  <a:pt x="22" y="64"/>
                  <a:pt x="20" y="62"/>
                </a:cubicBezTo>
                <a:cubicBezTo>
                  <a:pt x="16" y="58"/>
                  <a:pt x="12" y="56"/>
                  <a:pt x="8" y="60"/>
                </a:cubicBezTo>
                <a:cubicBezTo>
                  <a:pt x="0" y="65"/>
                  <a:pt x="6" y="71"/>
                  <a:pt x="6" y="71"/>
                </a:cubicBezTo>
                <a:cubicBezTo>
                  <a:pt x="9" y="74"/>
                  <a:pt x="9" y="74"/>
                  <a:pt x="9" y="74"/>
                </a:cubicBezTo>
                <a:cubicBezTo>
                  <a:pt x="24" y="91"/>
                  <a:pt x="24" y="91"/>
                  <a:pt x="24" y="91"/>
                </a:cubicBezTo>
                <a:cubicBezTo>
                  <a:pt x="25" y="93"/>
                  <a:pt x="27" y="94"/>
                  <a:pt x="28" y="95"/>
                </a:cubicBezTo>
                <a:cubicBezTo>
                  <a:pt x="30" y="97"/>
                  <a:pt x="32" y="97"/>
                  <a:pt x="35" y="97"/>
                </a:cubicBezTo>
                <a:cubicBezTo>
                  <a:pt x="38" y="97"/>
                  <a:pt x="40" y="97"/>
                  <a:pt x="42" y="95"/>
                </a:cubicBezTo>
                <a:cubicBezTo>
                  <a:pt x="43" y="94"/>
                  <a:pt x="45" y="93"/>
                  <a:pt x="46" y="91"/>
                </a:cubicBezTo>
                <a:close/>
              </a:path>
            </a:pathLst>
          </a:custGeom>
          <a:solidFill>
            <a:schemeClr val="accent6"/>
          </a:solidFill>
          <a:ln w="9525">
            <a:noFill/>
            <a:round/>
            <a:headEnd/>
            <a:tailEnd/>
          </a:ln>
        </p:spPr>
        <p:txBody>
          <a:bodyPr/>
          <a:lstStyle/>
          <a:p>
            <a:endParaRPr lang="en-US" sz="2533"/>
          </a:p>
        </p:txBody>
      </p:sp>
      <p:sp>
        <p:nvSpPr>
          <p:cNvPr id="36" name="Rectangle 27"/>
          <p:cNvSpPr/>
          <p:nvPr/>
        </p:nvSpPr>
        <p:spPr>
          <a:xfrm>
            <a:off x="8476725" y="1580973"/>
            <a:ext cx="2175800" cy="276999"/>
          </a:xfrm>
          <a:prstGeom prst="rect">
            <a:avLst/>
          </a:prstGeom>
          <a:solidFill>
            <a:schemeClr val="bg1"/>
          </a:solidFill>
        </p:spPr>
        <p:txBody>
          <a:bodyPr wrap="square" lIns="0" tIns="0" rIns="0" bIns="0" anchor="ctr" anchorCtr="0">
            <a:spAutoFit/>
          </a:bodyPr>
          <a:lstStyle/>
          <a:p>
            <a:pPr marL="95976">
              <a:spcBef>
                <a:spcPct val="0"/>
              </a:spcBef>
            </a:pPr>
            <a:r>
              <a:rPr lang="fr-FR" sz="1800" b="1" i="1" dirty="0" err="1">
                <a:solidFill>
                  <a:srgbClr val="000000"/>
                </a:solidFill>
                <a:latin typeface="+mj-lt"/>
                <a:ea typeface="+mj-ea"/>
                <a:cs typeface="+mj-cs"/>
              </a:rPr>
              <a:t>Ocupantii</a:t>
            </a:r>
            <a:r>
              <a:rPr lang="fr-FR" sz="1800" b="1" i="1" dirty="0">
                <a:solidFill>
                  <a:srgbClr val="000000"/>
                </a:solidFill>
                <a:latin typeface="+mj-lt"/>
                <a:ea typeface="+mj-ea"/>
                <a:cs typeface="+mj-cs"/>
              </a:rPr>
              <a:t> </a:t>
            </a:r>
            <a:r>
              <a:rPr lang="fr-FR" sz="1800" b="1" i="1" dirty="0" err="1">
                <a:solidFill>
                  <a:srgbClr val="000000"/>
                </a:solidFill>
                <a:latin typeface="+mj-lt"/>
                <a:ea typeface="+mj-ea"/>
                <a:cs typeface="+mj-cs"/>
              </a:rPr>
              <a:t>cladirii</a:t>
            </a:r>
            <a:endParaRPr lang="fr-FR" sz="1800" b="1" i="1" dirty="0">
              <a:solidFill>
                <a:srgbClr val="000000"/>
              </a:solidFill>
              <a:latin typeface="+mj-lt"/>
              <a:ea typeface="+mj-ea"/>
              <a:cs typeface="+mj-cs"/>
            </a:endParaRPr>
          </a:p>
        </p:txBody>
      </p:sp>
      <p:sp>
        <p:nvSpPr>
          <p:cNvPr id="37" name="Rectangle 28"/>
          <p:cNvSpPr/>
          <p:nvPr/>
        </p:nvSpPr>
        <p:spPr>
          <a:xfrm>
            <a:off x="8552037" y="3645809"/>
            <a:ext cx="3201469" cy="276999"/>
          </a:xfrm>
          <a:prstGeom prst="rect">
            <a:avLst/>
          </a:prstGeom>
          <a:solidFill>
            <a:schemeClr val="bg1"/>
          </a:solidFill>
        </p:spPr>
        <p:txBody>
          <a:bodyPr wrap="square" lIns="0" tIns="0" rIns="0" bIns="0" anchor="ctr" anchorCtr="0">
            <a:spAutoFit/>
          </a:bodyPr>
          <a:lstStyle/>
          <a:p>
            <a:pPr marL="95976">
              <a:spcBef>
                <a:spcPct val="0"/>
              </a:spcBef>
            </a:pPr>
            <a:r>
              <a:rPr lang="fr-FR" sz="1800" b="1" i="1" dirty="0" err="1">
                <a:solidFill>
                  <a:srgbClr val="000000"/>
                </a:solidFill>
                <a:latin typeface="+mj-lt"/>
                <a:ea typeface="+mj-ea"/>
                <a:cs typeface="+mj-cs"/>
              </a:rPr>
              <a:t>Firmele</a:t>
            </a:r>
            <a:r>
              <a:rPr lang="fr-FR" sz="1800" b="1" i="1" dirty="0">
                <a:solidFill>
                  <a:srgbClr val="000000"/>
                </a:solidFill>
                <a:latin typeface="+mj-lt"/>
                <a:ea typeface="+mj-ea"/>
                <a:cs typeface="+mj-cs"/>
              </a:rPr>
              <a:t> de </a:t>
            </a:r>
            <a:r>
              <a:rPr lang="fr-FR" sz="1800" b="1" i="1" dirty="0" err="1">
                <a:solidFill>
                  <a:srgbClr val="000000"/>
                </a:solidFill>
                <a:latin typeface="+mj-lt"/>
                <a:ea typeface="+mj-ea"/>
                <a:cs typeface="+mj-cs"/>
              </a:rPr>
              <a:t>mentenanta</a:t>
            </a:r>
            <a:endParaRPr lang="fr-FR" sz="1800" b="1" i="1" dirty="0">
              <a:solidFill>
                <a:srgbClr val="000000"/>
              </a:solidFill>
              <a:latin typeface="+mj-lt"/>
              <a:ea typeface="+mj-ea"/>
              <a:cs typeface="+mj-cs"/>
            </a:endParaRPr>
          </a:p>
        </p:txBody>
      </p:sp>
      <p:sp>
        <p:nvSpPr>
          <p:cNvPr id="16" name="Marcador de texto 13"/>
          <p:cNvSpPr txBox="1">
            <a:spLocks/>
          </p:cNvSpPr>
          <p:nvPr/>
        </p:nvSpPr>
        <p:spPr>
          <a:xfrm>
            <a:off x="8238663" y="1042135"/>
            <a:ext cx="3599063" cy="390042"/>
          </a:xfrm>
          <a:prstGeom prst="rect">
            <a:avLst/>
          </a:prstGeom>
          <a:solidFill>
            <a:schemeClr val="accent6"/>
          </a:solidFill>
        </p:spPr>
        <p:txBody>
          <a:bodyPr vert="horz" lIns="0" tIns="0" rIns="0" bIns="0" rtlCol="0" anchor="ctr">
            <a:noAutofit/>
          </a:bodyPr>
          <a:lstStyle>
            <a:lvl1pPr marL="358762" indent="-342888" algn="l" defTabSz="457184" rtl="0" eaLnBrk="1" latinLnBrk="0" hangingPunct="1">
              <a:spcBef>
                <a:spcPts val="500"/>
              </a:spcBef>
              <a:spcAft>
                <a:spcPts val="500"/>
              </a:spcAft>
              <a:buClr>
                <a:schemeClr val="bg2"/>
              </a:buClr>
              <a:buFontTx/>
              <a:buNone/>
              <a:defRPr sz="1600" kern="1200" baseline="0">
                <a:solidFill>
                  <a:schemeClr val="accent1"/>
                </a:solidFill>
                <a:latin typeface="Arial"/>
                <a:ea typeface="+mn-ea"/>
                <a:cs typeface="Arial"/>
              </a:defRPr>
            </a:lvl1pPr>
            <a:lvl2pPr marL="407973" indent="-228592" algn="l" defTabSz="447659" rtl="0" eaLnBrk="1" latinLnBrk="0" hangingPunct="1">
              <a:spcBef>
                <a:spcPts val="500"/>
              </a:spcBef>
              <a:spcAft>
                <a:spcPts val="500"/>
              </a:spcAft>
              <a:buClr>
                <a:srgbClr val="36C746"/>
              </a:buClr>
              <a:buFontTx/>
              <a:buNone/>
              <a:defRPr sz="1400" kern="1200">
                <a:solidFill>
                  <a:schemeClr val="accent1"/>
                </a:solidFill>
                <a:latin typeface="Arial"/>
                <a:ea typeface="+mn-ea"/>
                <a:cs typeface="Arial"/>
              </a:defRPr>
            </a:lvl2pPr>
            <a:lvl3pPr marL="587354" indent="-228592" algn="l" defTabSz="457184" rtl="0" eaLnBrk="1" latinLnBrk="0" hangingPunct="1">
              <a:spcBef>
                <a:spcPts val="500"/>
              </a:spcBef>
              <a:spcAft>
                <a:spcPts val="500"/>
              </a:spcAft>
              <a:buClr>
                <a:srgbClr val="36C746"/>
              </a:buClr>
              <a:buFontTx/>
              <a:buNone/>
              <a:defRPr sz="1300" kern="1200">
                <a:solidFill>
                  <a:schemeClr val="accent1"/>
                </a:solidFill>
                <a:latin typeface="Arial"/>
                <a:ea typeface="+mn-ea"/>
                <a:cs typeface="Arial"/>
              </a:defRPr>
            </a:lvl3pPr>
            <a:lvl4pPr marL="768323" indent="-228592" algn="l" defTabSz="457184" rtl="0" eaLnBrk="1" latinLnBrk="0" hangingPunct="1">
              <a:spcBef>
                <a:spcPts val="500"/>
              </a:spcBef>
              <a:spcAft>
                <a:spcPts val="500"/>
              </a:spcAft>
              <a:buClr>
                <a:srgbClr val="36C746"/>
              </a:buClr>
              <a:buFontTx/>
              <a:buNone/>
              <a:defRPr sz="1200" kern="1200">
                <a:solidFill>
                  <a:schemeClr val="accent1"/>
                </a:solidFill>
                <a:latin typeface="Arial"/>
                <a:ea typeface="+mn-ea"/>
                <a:cs typeface="Arial"/>
              </a:defRPr>
            </a:lvl4pPr>
            <a:lvl5pPr marL="939767" indent="-228592" algn="l" defTabSz="457184" rtl="0" eaLnBrk="1" latinLnBrk="0" hangingPunct="1">
              <a:spcBef>
                <a:spcPts val="500"/>
              </a:spcBef>
              <a:spcAft>
                <a:spcPts val="500"/>
              </a:spcAft>
              <a:buClr>
                <a:srgbClr val="36C746"/>
              </a:buClr>
              <a:buFontTx/>
              <a:buNone/>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0"/>
              </a:spcBef>
              <a:spcAft>
                <a:spcPts val="0"/>
              </a:spcAft>
            </a:pPr>
            <a:r>
              <a:rPr lang="es-ES_tradnl" sz="1866" b="1" dirty="0">
                <a:solidFill>
                  <a:srgbClr val="000000"/>
                </a:solidFill>
              </a:rPr>
              <a:t>Pe </a:t>
            </a:r>
            <a:r>
              <a:rPr lang="es-ES_tradnl" sz="1866" b="1" dirty="0" err="1">
                <a:solidFill>
                  <a:srgbClr val="000000"/>
                </a:solidFill>
              </a:rPr>
              <a:t>perioada</a:t>
            </a:r>
            <a:r>
              <a:rPr lang="es-ES_tradnl" sz="1866" b="1" dirty="0">
                <a:solidFill>
                  <a:srgbClr val="000000"/>
                </a:solidFill>
              </a:rPr>
              <a:t> </a:t>
            </a:r>
            <a:r>
              <a:rPr lang="es-ES_tradnl" sz="1866" b="1" dirty="0" err="1">
                <a:solidFill>
                  <a:srgbClr val="000000"/>
                </a:solidFill>
              </a:rPr>
              <a:t>functionarii</a:t>
            </a:r>
            <a:r>
              <a:rPr lang="es-ES_tradnl" sz="1866" b="1" dirty="0">
                <a:solidFill>
                  <a:srgbClr val="000000"/>
                </a:solidFill>
              </a:rPr>
              <a:t> </a:t>
            </a:r>
            <a:r>
              <a:rPr lang="es-ES_tradnl" sz="1866" b="1" dirty="0" err="1">
                <a:solidFill>
                  <a:srgbClr val="000000"/>
                </a:solidFill>
              </a:rPr>
              <a:t>cladirii</a:t>
            </a:r>
            <a:endParaRPr lang="es-ES_tradnl" sz="1866" b="1" dirty="0">
              <a:solidFill>
                <a:srgbClr val="000000"/>
              </a:solidFill>
            </a:endParaRPr>
          </a:p>
        </p:txBody>
      </p:sp>
      <p:sp>
        <p:nvSpPr>
          <p:cNvPr id="33" name="Rectangle 78"/>
          <p:cNvSpPr>
            <a:spLocks noChangeArrowheads="1"/>
          </p:cNvSpPr>
          <p:nvPr/>
        </p:nvSpPr>
        <p:spPr bwMode="auto">
          <a:xfrm>
            <a:off x="236554" y="-49453"/>
            <a:ext cx="11819662" cy="1022580"/>
          </a:xfrm>
          <a:prstGeom prst="rect">
            <a:avLst/>
          </a:prstGeom>
          <a:noFill/>
          <a:ln w="9525">
            <a:noFill/>
            <a:miter lim="800000"/>
            <a:headEnd/>
            <a:tailEnd/>
          </a:ln>
        </p:spPr>
        <p:txBody>
          <a:bodyPr lIns="0" tIns="14396" rIns="0" bIns="14396" anchor="t"/>
          <a:lstStyle/>
          <a:p>
            <a:r>
              <a:rPr lang="en-US" sz="3000" b="1" dirty="0">
                <a:solidFill>
                  <a:srgbClr val="000000"/>
                </a:solidFill>
              </a:rPr>
              <a:t>…</a:t>
            </a:r>
            <a:r>
              <a:rPr lang="en-US" sz="3000" b="1" dirty="0" err="1">
                <a:solidFill>
                  <a:srgbClr val="000000"/>
                </a:solidFill>
              </a:rPr>
              <a:t>sunt</a:t>
            </a:r>
            <a:r>
              <a:rPr lang="en-US" sz="3000" b="1" dirty="0">
                <a:solidFill>
                  <a:srgbClr val="000000"/>
                </a:solidFill>
              </a:rPr>
              <a:t> </a:t>
            </a:r>
            <a:r>
              <a:rPr lang="en-US" sz="3000" b="1" dirty="0" err="1">
                <a:solidFill>
                  <a:srgbClr val="000000"/>
                </a:solidFill>
              </a:rPr>
              <a:t>satisfacute</a:t>
            </a:r>
            <a:r>
              <a:rPr lang="en-US" sz="3000" b="1" dirty="0">
                <a:solidFill>
                  <a:srgbClr val="000000"/>
                </a:solidFill>
              </a:rPr>
              <a:t> de </a:t>
            </a:r>
            <a:r>
              <a:rPr lang="en-US" sz="3000" b="1" dirty="0" err="1">
                <a:solidFill>
                  <a:srgbClr val="000000"/>
                </a:solidFill>
              </a:rPr>
              <a:t>solutiile</a:t>
            </a:r>
            <a:r>
              <a:rPr lang="en-US" sz="3000" b="1" dirty="0">
                <a:solidFill>
                  <a:srgbClr val="000000"/>
                </a:solidFill>
              </a:rPr>
              <a:t> </a:t>
            </a:r>
            <a:r>
              <a:rPr lang="en-US" sz="3000" b="1" dirty="0" err="1">
                <a:solidFill>
                  <a:srgbClr val="000000"/>
                </a:solidFill>
              </a:rPr>
              <a:t>traditionale</a:t>
            </a:r>
            <a:r>
              <a:rPr lang="en-US" sz="3000" b="1" dirty="0">
                <a:solidFill>
                  <a:srgbClr val="000000"/>
                </a:solidFill>
              </a:rPr>
              <a:t> de Proiectare,    </a:t>
            </a:r>
          </a:p>
          <a:p>
            <a:r>
              <a:rPr lang="en-US" sz="3000" b="1" dirty="0">
                <a:solidFill>
                  <a:srgbClr val="000000"/>
                </a:solidFill>
              </a:rPr>
              <a:t>    </a:t>
            </a:r>
            <a:r>
              <a:rPr lang="en-US" sz="3000" b="1" dirty="0" err="1">
                <a:solidFill>
                  <a:srgbClr val="000000"/>
                </a:solidFill>
              </a:rPr>
              <a:t>Executie</a:t>
            </a:r>
            <a:r>
              <a:rPr lang="en-US" sz="3000" b="1" dirty="0">
                <a:solidFill>
                  <a:srgbClr val="000000"/>
                </a:solidFill>
              </a:rPr>
              <a:t> </a:t>
            </a:r>
            <a:r>
              <a:rPr lang="en-US" sz="3000" b="1" dirty="0" err="1">
                <a:solidFill>
                  <a:srgbClr val="000000"/>
                </a:solidFill>
              </a:rPr>
              <a:t>si</a:t>
            </a:r>
            <a:r>
              <a:rPr lang="en-US" sz="3000" b="1" dirty="0">
                <a:solidFill>
                  <a:srgbClr val="000000"/>
                </a:solidFill>
              </a:rPr>
              <a:t> </a:t>
            </a:r>
            <a:r>
              <a:rPr lang="en-US" sz="3000" b="1" dirty="0" err="1">
                <a:solidFill>
                  <a:srgbClr val="000000"/>
                </a:solidFill>
              </a:rPr>
              <a:t>Operare</a:t>
            </a:r>
            <a:r>
              <a:rPr lang="en-US" sz="3000" b="1" dirty="0">
                <a:solidFill>
                  <a:srgbClr val="000000"/>
                </a:solidFill>
              </a:rPr>
              <a:t>……</a:t>
            </a:r>
          </a:p>
        </p:txBody>
      </p:sp>
    </p:spTree>
    <p:extLst>
      <p:ext uri="{BB962C8B-B14F-4D97-AF65-F5344CB8AC3E}">
        <p14:creationId xmlns:p14="http://schemas.microsoft.com/office/powerpoint/2010/main" val="14569783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p:cNvPicPr>
            <a:picLocks noChangeAspect="1"/>
          </p:cNvPicPr>
          <p:nvPr/>
        </p:nvPicPr>
        <p:blipFill>
          <a:blip r:embed="rId3" cstate="print"/>
          <a:stretch>
            <a:fillRect/>
          </a:stretch>
        </p:blipFill>
        <p:spPr>
          <a:xfrm>
            <a:off x="1098902" y="-22320"/>
            <a:ext cx="8323307" cy="6611492"/>
          </a:xfrm>
          <a:prstGeom prst="rect">
            <a:avLst/>
          </a:prstGeom>
        </p:spPr>
      </p:pic>
      <p:sp>
        <p:nvSpPr>
          <p:cNvPr id="20" name="ZoneTexte 19"/>
          <p:cNvSpPr txBox="1"/>
          <p:nvPr/>
        </p:nvSpPr>
        <p:spPr>
          <a:xfrm rot="19786142">
            <a:off x="6719329" y="5087908"/>
            <a:ext cx="2166056" cy="369332"/>
          </a:xfrm>
          <a:prstGeom prst="rect">
            <a:avLst/>
          </a:prstGeom>
          <a:noFill/>
        </p:spPr>
        <p:txBody>
          <a:bodyPr wrap="square" rtlCol="0">
            <a:spAutoFit/>
          </a:bodyPr>
          <a:lstStyle/>
          <a:p>
            <a:pPr defTabSz="914171"/>
            <a:r>
              <a:rPr lang="fr-FR" sz="1800" b="1" dirty="0">
                <a:solidFill>
                  <a:srgbClr val="626469"/>
                </a:solidFill>
                <a:latin typeface="Arial"/>
              </a:rPr>
              <a:t>ASSET LOGISTIC</a:t>
            </a:r>
          </a:p>
        </p:txBody>
      </p:sp>
      <p:cxnSp>
        <p:nvCxnSpPr>
          <p:cNvPr id="22" name="Elbow Connector 33"/>
          <p:cNvCxnSpPr>
            <a:cxnSpLocks noChangeShapeType="1"/>
          </p:cNvCxnSpPr>
          <p:nvPr/>
        </p:nvCxnSpPr>
        <p:spPr bwMode="auto">
          <a:xfrm rot="10800000" flipV="1">
            <a:off x="7992042" y="1885834"/>
            <a:ext cx="822796" cy="1433127"/>
          </a:xfrm>
          <a:prstGeom prst="bentConnector2">
            <a:avLst/>
          </a:prstGeom>
          <a:noFill/>
          <a:ln w="38100" algn="ctr">
            <a:solidFill>
              <a:srgbClr val="FF0000"/>
            </a:solidFill>
            <a:round/>
            <a:headEnd type="none" w="med" len="med"/>
            <a:tailEnd type="oval" w="med" len="med"/>
          </a:ln>
        </p:spPr>
      </p:cxnSp>
      <p:sp>
        <p:nvSpPr>
          <p:cNvPr id="25" name="Rectangle à coins arrondis 24"/>
          <p:cNvSpPr/>
          <p:nvPr/>
        </p:nvSpPr>
        <p:spPr>
          <a:xfrm>
            <a:off x="8814837" y="1110948"/>
            <a:ext cx="2807319" cy="1270057"/>
          </a:xfrm>
          <a:prstGeom prst="round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71"/>
            <a:r>
              <a:rPr lang="fr-FR" sz="1400" b="1" dirty="0">
                <a:solidFill>
                  <a:srgbClr val="FF0000"/>
                </a:solidFill>
                <a:latin typeface="Arial"/>
              </a:rPr>
              <a:t>Factura de </a:t>
            </a:r>
            <a:r>
              <a:rPr lang="fr-FR" sz="1400" b="1" dirty="0" err="1">
                <a:solidFill>
                  <a:srgbClr val="FF0000"/>
                </a:solidFill>
                <a:latin typeface="Arial"/>
              </a:rPr>
              <a:t>electricitate</a:t>
            </a:r>
            <a:r>
              <a:rPr lang="fr-FR" sz="1400" b="1" dirty="0">
                <a:solidFill>
                  <a:srgbClr val="FF0000"/>
                </a:solidFill>
                <a:latin typeface="Arial"/>
              </a:rPr>
              <a:t> </a:t>
            </a:r>
            <a:r>
              <a:rPr lang="fr-FR" sz="1400" b="1" dirty="0" err="1">
                <a:solidFill>
                  <a:srgbClr val="FF0000"/>
                </a:solidFill>
                <a:latin typeface="Arial"/>
              </a:rPr>
              <a:t>creste</a:t>
            </a:r>
            <a:r>
              <a:rPr lang="fr-FR" sz="1400" b="1" dirty="0">
                <a:solidFill>
                  <a:srgbClr val="FF0000"/>
                </a:solidFill>
                <a:latin typeface="Arial"/>
              </a:rPr>
              <a:t> de la </a:t>
            </a:r>
            <a:r>
              <a:rPr lang="fr-FR" sz="1400" b="1" dirty="0" err="1">
                <a:solidFill>
                  <a:srgbClr val="FF0000"/>
                </a:solidFill>
                <a:latin typeface="Arial"/>
              </a:rPr>
              <a:t>luna</a:t>
            </a:r>
            <a:r>
              <a:rPr lang="fr-FR" sz="1400" b="1" dirty="0">
                <a:solidFill>
                  <a:srgbClr val="FF0000"/>
                </a:solidFill>
                <a:latin typeface="Arial"/>
              </a:rPr>
              <a:t> la </a:t>
            </a:r>
            <a:r>
              <a:rPr lang="fr-FR" sz="1400" b="1" dirty="0" err="1">
                <a:solidFill>
                  <a:srgbClr val="FF0000"/>
                </a:solidFill>
                <a:latin typeface="Arial"/>
              </a:rPr>
              <a:t>luna</a:t>
            </a:r>
            <a:r>
              <a:rPr lang="fr-FR" sz="1400" b="1" dirty="0">
                <a:solidFill>
                  <a:srgbClr val="FF0000"/>
                </a:solidFill>
                <a:latin typeface="Arial"/>
              </a:rPr>
              <a:t>! Cum pot </a:t>
            </a:r>
            <a:r>
              <a:rPr lang="fr-FR" sz="1400" b="1" dirty="0" err="1">
                <a:solidFill>
                  <a:srgbClr val="FF0000"/>
                </a:solidFill>
                <a:latin typeface="Arial"/>
              </a:rPr>
              <a:t>reduce</a:t>
            </a:r>
            <a:r>
              <a:rPr lang="fr-FR" sz="1400" b="1" dirty="0">
                <a:solidFill>
                  <a:srgbClr val="FF0000"/>
                </a:solidFill>
                <a:latin typeface="Arial"/>
              </a:rPr>
              <a:t> </a:t>
            </a:r>
            <a:r>
              <a:rPr lang="fr-FR" sz="1400" b="1" dirty="0" err="1">
                <a:solidFill>
                  <a:srgbClr val="FF0000"/>
                </a:solidFill>
                <a:latin typeface="Arial"/>
              </a:rPr>
              <a:t>consumurile</a:t>
            </a:r>
            <a:r>
              <a:rPr lang="fr-FR" sz="1400" b="1" dirty="0">
                <a:solidFill>
                  <a:srgbClr val="FF0000"/>
                </a:solidFill>
                <a:latin typeface="Arial"/>
              </a:rPr>
              <a:t> si </a:t>
            </a:r>
            <a:r>
              <a:rPr lang="fr-FR" sz="1400" b="1" dirty="0" err="1">
                <a:solidFill>
                  <a:srgbClr val="FF0000"/>
                </a:solidFill>
                <a:latin typeface="Arial"/>
              </a:rPr>
              <a:t>economisii</a:t>
            </a:r>
            <a:r>
              <a:rPr lang="fr-FR" sz="1400" b="1" dirty="0">
                <a:solidFill>
                  <a:srgbClr val="FF0000"/>
                </a:solidFill>
                <a:latin typeface="Arial"/>
              </a:rPr>
              <a:t> </a:t>
            </a:r>
            <a:r>
              <a:rPr lang="fr-FR" sz="1400" b="1" dirty="0" err="1">
                <a:solidFill>
                  <a:srgbClr val="FF0000"/>
                </a:solidFill>
                <a:latin typeface="Arial"/>
              </a:rPr>
              <a:t>bani</a:t>
            </a:r>
            <a:r>
              <a:rPr lang="fr-FR" sz="1400" b="1" dirty="0">
                <a:solidFill>
                  <a:srgbClr val="FF0000"/>
                </a:solidFill>
                <a:latin typeface="Arial"/>
              </a:rPr>
              <a:t>? </a:t>
            </a:r>
          </a:p>
        </p:txBody>
      </p:sp>
      <p:sp>
        <p:nvSpPr>
          <p:cNvPr id="26" name="Rectangle à coins arrondis 25"/>
          <p:cNvSpPr/>
          <p:nvPr/>
        </p:nvSpPr>
        <p:spPr>
          <a:xfrm>
            <a:off x="5701469" y="366099"/>
            <a:ext cx="2920239" cy="1031431"/>
          </a:xfrm>
          <a:prstGeom prst="roundRect">
            <a:avLst/>
          </a:prstGeom>
          <a:noFill/>
          <a:ln w="381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71"/>
            <a:r>
              <a:rPr lang="fr-FR" sz="1400" b="1" dirty="0" err="1">
                <a:solidFill>
                  <a:srgbClr val="00B0F0"/>
                </a:solidFill>
                <a:latin typeface="Arial"/>
              </a:rPr>
              <a:t>Unitatea</a:t>
            </a:r>
            <a:r>
              <a:rPr lang="fr-FR" sz="1400" b="1" dirty="0">
                <a:solidFill>
                  <a:srgbClr val="00B0F0"/>
                </a:solidFill>
                <a:latin typeface="Arial"/>
              </a:rPr>
              <a:t> de HVAC a </a:t>
            </a:r>
            <a:r>
              <a:rPr lang="fr-FR" sz="1400" b="1" dirty="0" err="1">
                <a:solidFill>
                  <a:srgbClr val="00B0F0"/>
                </a:solidFill>
                <a:latin typeface="Arial"/>
              </a:rPr>
              <a:t>cazut</a:t>
            </a:r>
            <a:r>
              <a:rPr lang="fr-FR" sz="1400" b="1" dirty="0">
                <a:solidFill>
                  <a:srgbClr val="00B0F0"/>
                </a:solidFill>
                <a:latin typeface="Arial"/>
              </a:rPr>
              <a:t> </a:t>
            </a:r>
            <a:r>
              <a:rPr lang="fr-FR" sz="1400" b="1" dirty="0" err="1">
                <a:solidFill>
                  <a:srgbClr val="00B0F0"/>
                </a:solidFill>
                <a:latin typeface="Arial"/>
              </a:rPr>
              <a:t>astazi</a:t>
            </a:r>
            <a:r>
              <a:rPr lang="fr-FR" sz="1400" b="1" dirty="0">
                <a:solidFill>
                  <a:srgbClr val="00B0F0"/>
                </a:solidFill>
                <a:latin typeface="Arial"/>
              </a:rPr>
              <a:t>. Cum pot sa </a:t>
            </a:r>
            <a:r>
              <a:rPr lang="fr-FR" sz="1400" b="1" dirty="0" err="1">
                <a:solidFill>
                  <a:srgbClr val="00B0F0"/>
                </a:solidFill>
                <a:latin typeface="Arial"/>
              </a:rPr>
              <a:t>stiu</a:t>
            </a:r>
            <a:r>
              <a:rPr lang="fr-FR" sz="1400" b="1" dirty="0">
                <a:solidFill>
                  <a:srgbClr val="00B0F0"/>
                </a:solidFill>
                <a:latin typeface="Arial"/>
              </a:rPr>
              <a:t> </a:t>
            </a:r>
            <a:r>
              <a:rPr lang="fr-FR" sz="1400" b="1" dirty="0" err="1">
                <a:solidFill>
                  <a:srgbClr val="00B0F0"/>
                </a:solidFill>
                <a:latin typeface="Arial"/>
              </a:rPr>
              <a:t>acest</a:t>
            </a:r>
            <a:r>
              <a:rPr lang="fr-FR" sz="1400" b="1" dirty="0">
                <a:solidFill>
                  <a:srgbClr val="00B0F0"/>
                </a:solidFill>
                <a:latin typeface="Arial"/>
              </a:rPr>
              <a:t> </a:t>
            </a:r>
            <a:r>
              <a:rPr lang="fr-FR" sz="1400" b="1" dirty="0" err="1">
                <a:solidFill>
                  <a:srgbClr val="00B0F0"/>
                </a:solidFill>
                <a:latin typeface="Arial"/>
              </a:rPr>
              <a:t>lucru</a:t>
            </a:r>
            <a:r>
              <a:rPr lang="fr-FR" sz="1400" b="1" dirty="0">
                <a:solidFill>
                  <a:srgbClr val="00B0F0"/>
                </a:solidFill>
                <a:latin typeface="Arial"/>
              </a:rPr>
              <a:t> </a:t>
            </a:r>
            <a:r>
              <a:rPr lang="fr-FR" sz="1400" b="1" dirty="0" err="1">
                <a:solidFill>
                  <a:srgbClr val="00B0F0"/>
                </a:solidFill>
                <a:latin typeface="Arial"/>
              </a:rPr>
              <a:t>daca</a:t>
            </a:r>
            <a:r>
              <a:rPr lang="fr-FR" sz="1400" b="1" dirty="0">
                <a:solidFill>
                  <a:srgbClr val="00B0F0"/>
                </a:solidFill>
                <a:latin typeface="Arial"/>
              </a:rPr>
              <a:t> </a:t>
            </a:r>
            <a:r>
              <a:rPr lang="fr-FR" sz="1400" b="1" dirty="0" err="1">
                <a:solidFill>
                  <a:srgbClr val="00B0F0"/>
                </a:solidFill>
                <a:latin typeface="Arial"/>
              </a:rPr>
              <a:t>sunt</a:t>
            </a:r>
            <a:r>
              <a:rPr lang="fr-FR" sz="1400" b="1" dirty="0">
                <a:solidFill>
                  <a:srgbClr val="00B0F0"/>
                </a:solidFill>
                <a:latin typeface="Arial"/>
              </a:rPr>
              <a:t> in </a:t>
            </a:r>
            <a:r>
              <a:rPr lang="fr-FR" sz="1400" b="1" dirty="0" err="1">
                <a:solidFill>
                  <a:srgbClr val="00B0F0"/>
                </a:solidFill>
                <a:latin typeface="Arial"/>
              </a:rPr>
              <a:t>afara</a:t>
            </a:r>
            <a:r>
              <a:rPr lang="fr-FR" sz="1400" b="1" dirty="0">
                <a:solidFill>
                  <a:srgbClr val="00B0F0"/>
                </a:solidFill>
                <a:latin typeface="Arial"/>
              </a:rPr>
              <a:t> </a:t>
            </a:r>
            <a:r>
              <a:rPr lang="fr-FR" sz="1400" b="1" dirty="0" err="1">
                <a:solidFill>
                  <a:srgbClr val="00B0F0"/>
                </a:solidFill>
                <a:latin typeface="Arial"/>
              </a:rPr>
              <a:t>cladirii</a:t>
            </a:r>
            <a:r>
              <a:rPr lang="fr-FR" sz="1400" b="1" dirty="0">
                <a:solidFill>
                  <a:srgbClr val="00B0F0"/>
                </a:solidFill>
                <a:latin typeface="Arial"/>
              </a:rPr>
              <a:t>? </a:t>
            </a:r>
          </a:p>
        </p:txBody>
      </p:sp>
      <p:cxnSp>
        <p:nvCxnSpPr>
          <p:cNvPr id="27" name="Elbow Connector 33"/>
          <p:cNvCxnSpPr>
            <a:cxnSpLocks noChangeShapeType="1"/>
            <a:stCxn id="26" idx="1"/>
          </p:cNvCxnSpPr>
          <p:nvPr/>
        </p:nvCxnSpPr>
        <p:spPr bwMode="auto">
          <a:xfrm rot="10800000" flipV="1">
            <a:off x="5127733" y="881813"/>
            <a:ext cx="573737" cy="1025354"/>
          </a:xfrm>
          <a:prstGeom prst="bentConnector2">
            <a:avLst/>
          </a:prstGeom>
          <a:noFill/>
          <a:ln w="38100" algn="ctr">
            <a:solidFill>
              <a:schemeClr val="accent6"/>
            </a:solidFill>
            <a:round/>
            <a:headEnd type="none" w="med" len="med"/>
            <a:tailEnd type="oval" w="med" len="med"/>
          </a:ln>
        </p:spPr>
      </p:cxnSp>
      <p:sp>
        <p:nvSpPr>
          <p:cNvPr id="30" name="Rectangle à coins arrondis 29"/>
          <p:cNvSpPr/>
          <p:nvPr/>
        </p:nvSpPr>
        <p:spPr>
          <a:xfrm>
            <a:off x="230127" y="1110948"/>
            <a:ext cx="2263640" cy="1019841"/>
          </a:xfrm>
          <a:prstGeom prst="roundRect">
            <a:avLst/>
          </a:prstGeom>
          <a:noFill/>
          <a:ln w="38100">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71">
              <a:defRPr/>
            </a:pPr>
            <a:r>
              <a:rPr lang="fr-FR" sz="1400" b="1" dirty="0">
                <a:solidFill>
                  <a:srgbClr val="FFC000"/>
                </a:solidFill>
                <a:latin typeface="Arial"/>
              </a:rPr>
              <a:t>Cum </a:t>
            </a:r>
            <a:r>
              <a:rPr lang="fr-FR" sz="1400" b="1" dirty="0" err="1">
                <a:solidFill>
                  <a:srgbClr val="FFC000"/>
                </a:solidFill>
                <a:latin typeface="Arial"/>
              </a:rPr>
              <a:t>putem</a:t>
            </a:r>
            <a:r>
              <a:rPr lang="fr-FR" sz="1400" b="1" dirty="0">
                <a:solidFill>
                  <a:srgbClr val="FFC000"/>
                </a:solidFill>
                <a:latin typeface="Arial"/>
              </a:rPr>
              <a:t> </a:t>
            </a:r>
            <a:r>
              <a:rPr lang="fr-FR" sz="1400" b="1" dirty="0" err="1">
                <a:solidFill>
                  <a:srgbClr val="FFC000"/>
                </a:solidFill>
                <a:latin typeface="Arial"/>
              </a:rPr>
              <a:t>monitoriza</a:t>
            </a:r>
            <a:r>
              <a:rPr lang="fr-FR" sz="1400" b="1" dirty="0">
                <a:solidFill>
                  <a:srgbClr val="FFC000"/>
                </a:solidFill>
                <a:latin typeface="Arial"/>
              </a:rPr>
              <a:t> </a:t>
            </a:r>
            <a:r>
              <a:rPr lang="fr-FR" sz="1400" b="1" dirty="0" err="1">
                <a:solidFill>
                  <a:srgbClr val="FFC000"/>
                </a:solidFill>
                <a:latin typeface="Arial"/>
              </a:rPr>
              <a:t>tablourile</a:t>
            </a:r>
            <a:r>
              <a:rPr lang="fr-FR" sz="1400" b="1" dirty="0">
                <a:solidFill>
                  <a:srgbClr val="FFC000"/>
                </a:solidFill>
                <a:latin typeface="Arial"/>
              </a:rPr>
              <a:t> </a:t>
            </a:r>
            <a:r>
              <a:rPr lang="fr-FR" sz="1400" b="1" dirty="0" err="1">
                <a:solidFill>
                  <a:srgbClr val="FFC000"/>
                </a:solidFill>
                <a:latin typeface="Arial"/>
              </a:rPr>
              <a:t>electrice</a:t>
            </a:r>
            <a:r>
              <a:rPr lang="fr-FR" sz="1400" b="1" dirty="0">
                <a:solidFill>
                  <a:srgbClr val="FFC000"/>
                </a:solidFill>
                <a:latin typeface="Arial"/>
              </a:rPr>
              <a:t> la </a:t>
            </a:r>
            <a:r>
              <a:rPr lang="fr-FR" sz="1400" b="1" dirty="0" err="1">
                <a:solidFill>
                  <a:srgbClr val="FFC000"/>
                </a:solidFill>
                <a:latin typeface="Arial"/>
              </a:rPr>
              <a:t>fiecare</a:t>
            </a:r>
            <a:r>
              <a:rPr lang="fr-FR" sz="1400" b="1" dirty="0">
                <a:solidFill>
                  <a:srgbClr val="FFC000"/>
                </a:solidFill>
                <a:latin typeface="Arial"/>
              </a:rPr>
              <a:t> </a:t>
            </a:r>
            <a:r>
              <a:rPr lang="fr-FR" sz="1400" b="1" dirty="0" err="1">
                <a:solidFill>
                  <a:srgbClr val="FFC000"/>
                </a:solidFill>
                <a:latin typeface="Arial"/>
              </a:rPr>
              <a:t>nivel</a:t>
            </a:r>
            <a:r>
              <a:rPr lang="fr-FR" sz="1400" b="1" dirty="0">
                <a:solidFill>
                  <a:srgbClr val="FFC000"/>
                </a:solidFill>
                <a:latin typeface="Arial"/>
              </a:rPr>
              <a:t> de </a:t>
            </a:r>
            <a:r>
              <a:rPr lang="fr-FR" sz="1400" b="1" dirty="0" err="1">
                <a:solidFill>
                  <a:srgbClr val="FFC000"/>
                </a:solidFill>
                <a:latin typeface="Arial"/>
              </a:rPr>
              <a:t>distributie</a:t>
            </a:r>
            <a:endParaRPr lang="fr-FR" sz="1400" b="1" dirty="0">
              <a:solidFill>
                <a:srgbClr val="FFC000"/>
              </a:solidFill>
              <a:latin typeface="Arial"/>
            </a:endParaRPr>
          </a:p>
        </p:txBody>
      </p:sp>
      <p:cxnSp>
        <p:nvCxnSpPr>
          <p:cNvPr id="31" name="Elbow Connector 33"/>
          <p:cNvCxnSpPr>
            <a:cxnSpLocks noChangeShapeType="1"/>
            <a:stCxn id="30" idx="2"/>
          </p:cNvCxnSpPr>
          <p:nvPr/>
        </p:nvCxnSpPr>
        <p:spPr bwMode="auto">
          <a:xfrm rot="16200000" flipH="1">
            <a:off x="1836230" y="1656508"/>
            <a:ext cx="1298210" cy="2246773"/>
          </a:xfrm>
          <a:prstGeom prst="bentConnector2">
            <a:avLst/>
          </a:prstGeom>
          <a:noFill/>
          <a:ln w="38100" algn="ctr">
            <a:solidFill>
              <a:srgbClr val="FFC000"/>
            </a:solidFill>
            <a:round/>
            <a:headEnd type="none" w="med" len="med"/>
            <a:tailEnd type="oval" w="med" len="med"/>
          </a:ln>
        </p:spPr>
      </p:cxnSp>
      <p:sp>
        <p:nvSpPr>
          <p:cNvPr id="46" name="Ellipse 45"/>
          <p:cNvSpPr/>
          <p:nvPr/>
        </p:nvSpPr>
        <p:spPr>
          <a:xfrm>
            <a:off x="5414602" y="3952913"/>
            <a:ext cx="459218" cy="467965"/>
          </a:xfrm>
          <a:prstGeom prst="ellipse">
            <a:avLst/>
          </a:prstGeom>
          <a:noFill/>
          <a:ln w="28575">
            <a:solidFill>
              <a:srgbClr val="42B4E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71"/>
            <a:endParaRPr lang="fr-FR" sz="1800">
              <a:solidFill>
                <a:prstClr val="white"/>
              </a:solidFill>
              <a:latin typeface="Arial"/>
            </a:endParaRPr>
          </a:p>
        </p:txBody>
      </p:sp>
      <p:sp>
        <p:nvSpPr>
          <p:cNvPr id="47" name="Rectangle à coins arrondis 46"/>
          <p:cNvSpPr/>
          <p:nvPr/>
        </p:nvSpPr>
        <p:spPr>
          <a:xfrm>
            <a:off x="348316" y="4594889"/>
            <a:ext cx="2645443" cy="1298695"/>
          </a:xfrm>
          <a:prstGeom prst="roundRect">
            <a:avLst/>
          </a:prstGeom>
          <a:ln w="38100"/>
        </p:spPr>
        <p:style>
          <a:lnRef idx="2">
            <a:schemeClr val="accent4"/>
          </a:lnRef>
          <a:fillRef idx="1">
            <a:schemeClr val="lt1"/>
          </a:fillRef>
          <a:effectRef idx="0">
            <a:schemeClr val="accent4"/>
          </a:effectRef>
          <a:fontRef idx="minor">
            <a:schemeClr val="dk1"/>
          </a:fontRef>
        </p:style>
        <p:txBody>
          <a:bodyPr rtlCol="0" anchor="ctr"/>
          <a:lstStyle/>
          <a:p>
            <a:pPr algn="ctr" defTabSz="914171"/>
            <a:r>
              <a:rPr lang="fr-FR" sz="1400" b="1" dirty="0" err="1">
                <a:solidFill>
                  <a:srgbClr val="E47F00"/>
                </a:solidFill>
                <a:latin typeface="Arial"/>
              </a:rPr>
              <a:t>Notificari</a:t>
            </a:r>
            <a:r>
              <a:rPr lang="fr-FR" sz="1400" b="1" dirty="0">
                <a:solidFill>
                  <a:srgbClr val="E47F00"/>
                </a:solidFill>
                <a:latin typeface="Arial"/>
              </a:rPr>
              <a:t> </a:t>
            </a:r>
            <a:r>
              <a:rPr lang="fr-FR" sz="1400" b="1" dirty="0" err="1">
                <a:solidFill>
                  <a:srgbClr val="E47F00"/>
                </a:solidFill>
                <a:latin typeface="Arial"/>
              </a:rPr>
              <a:t>privind</a:t>
            </a:r>
            <a:r>
              <a:rPr lang="fr-FR" sz="1400" b="1" dirty="0">
                <a:solidFill>
                  <a:srgbClr val="E47F00"/>
                </a:solidFill>
                <a:latin typeface="Arial"/>
              </a:rPr>
              <a:t> </a:t>
            </a:r>
            <a:r>
              <a:rPr lang="fr-FR" sz="1400" b="1" dirty="0" err="1">
                <a:solidFill>
                  <a:srgbClr val="E47F00"/>
                </a:solidFill>
                <a:latin typeface="Arial"/>
              </a:rPr>
              <a:t>eventuale</a:t>
            </a:r>
            <a:r>
              <a:rPr lang="fr-FR" sz="1400" b="1" dirty="0">
                <a:solidFill>
                  <a:srgbClr val="E47F00"/>
                </a:solidFill>
                <a:latin typeface="Arial"/>
              </a:rPr>
              <a:t> </a:t>
            </a:r>
            <a:r>
              <a:rPr lang="fr-FR" sz="1400" b="1" dirty="0" err="1">
                <a:solidFill>
                  <a:srgbClr val="E47F00"/>
                </a:solidFill>
                <a:latin typeface="Arial"/>
              </a:rPr>
              <a:t>defecte</a:t>
            </a:r>
            <a:r>
              <a:rPr lang="fr-FR" sz="1400" b="1" dirty="0">
                <a:solidFill>
                  <a:srgbClr val="E47F00"/>
                </a:solidFill>
                <a:latin typeface="Arial"/>
              </a:rPr>
              <a:t> + </a:t>
            </a:r>
            <a:r>
              <a:rPr lang="fr-FR" sz="1400" b="1" dirty="0" err="1">
                <a:solidFill>
                  <a:srgbClr val="E47F00"/>
                </a:solidFill>
                <a:latin typeface="Arial"/>
              </a:rPr>
              <a:t>remedierea</a:t>
            </a:r>
            <a:r>
              <a:rPr lang="fr-FR" sz="1400" b="1" dirty="0">
                <a:solidFill>
                  <a:srgbClr val="E47F00"/>
                </a:solidFill>
                <a:latin typeface="Arial"/>
              </a:rPr>
              <a:t> </a:t>
            </a:r>
            <a:r>
              <a:rPr lang="fr-FR" sz="1400" b="1" dirty="0" err="1">
                <a:solidFill>
                  <a:srgbClr val="E47F00"/>
                </a:solidFill>
                <a:latin typeface="Arial"/>
              </a:rPr>
              <a:t>lor</a:t>
            </a:r>
            <a:r>
              <a:rPr lang="fr-FR" sz="1400" b="1" dirty="0">
                <a:solidFill>
                  <a:srgbClr val="E47F00"/>
                </a:solidFill>
                <a:latin typeface="Arial"/>
              </a:rPr>
              <a:t> in </a:t>
            </a:r>
            <a:r>
              <a:rPr lang="fr-FR" sz="1400" b="1" dirty="0" err="1">
                <a:solidFill>
                  <a:srgbClr val="E47F00"/>
                </a:solidFill>
                <a:latin typeface="Arial"/>
              </a:rPr>
              <a:t>siguranta</a:t>
            </a:r>
            <a:endParaRPr lang="fr-FR" sz="1400" b="1" dirty="0">
              <a:solidFill>
                <a:srgbClr val="E47F00"/>
              </a:solidFill>
              <a:latin typeface="Arial"/>
            </a:endParaRPr>
          </a:p>
        </p:txBody>
      </p:sp>
      <p:cxnSp>
        <p:nvCxnSpPr>
          <p:cNvPr id="48" name="Elbow Connector 33"/>
          <p:cNvCxnSpPr>
            <a:cxnSpLocks noChangeShapeType="1"/>
            <a:stCxn id="47" idx="3"/>
          </p:cNvCxnSpPr>
          <p:nvPr/>
        </p:nvCxnSpPr>
        <p:spPr bwMode="auto">
          <a:xfrm flipV="1">
            <a:off x="2993758" y="4172904"/>
            <a:ext cx="2650451" cy="1071333"/>
          </a:xfrm>
          <a:prstGeom prst="bentConnector3">
            <a:avLst>
              <a:gd name="adj1" fmla="val 50000"/>
            </a:avLst>
          </a:prstGeom>
          <a:noFill/>
          <a:ln w="38100" algn="ctr">
            <a:solidFill>
              <a:schemeClr val="accent4"/>
            </a:solidFill>
            <a:round/>
            <a:headEnd type="none" w="med" len="med"/>
            <a:tailEnd type="oval" w="med" len="med"/>
          </a:ln>
        </p:spPr>
      </p:cxnSp>
      <p:sp>
        <p:nvSpPr>
          <p:cNvPr id="60" name="Rectangle à coins arrondis 59"/>
          <p:cNvSpPr/>
          <p:nvPr/>
        </p:nvSpPr>
        <p:spPr>
          <a:xfrm>
            <a:off x="9386306" y="4567733"/>
            <a:ext cx="2513523" cy="973293"/>
          </a:xfrm>
          <a:prstGeom prst="roundRect">
            <a:avLst/>
          </a:prstGeom>
          <a:noFill/>
          <a:ln w="38100">
            <a:solidFill>
              <a:srgbClr val="3FAE4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71"/>
            <a:r>
              <a:rPr lang="fr-FR" sz="1400" b="1" dirty="0">
                <a:solidFill>
                  <a:srgbClr val="3FAE49"/>
                </a:solidFill>
                <a:latin typeface="Arial"/>
              </a:rPr>
              <a:t>Pot sa </a:t>
            </a:r>
            <a:r>
              <a:rPr lang="fr-FR" sz="1400" b="1" dirty="0" err="1">
                <a:solidFill>
                  <a:srgbClr val="3FAE49"/>
                </a:solidFill>
                <a:latin typeface="Arial"/>
              </a:rPr>
              <a:t>stiu</a:t>
            </a:r>
            <a:r>
              <a:rPr lang="fr-FR" sz="1400" b="1" dirty="0">
                <a:solidFill>
                  <a:srgbClr val="3FAE49"/>
                </a:solidFill>
                <a:latin typeface="Arial"/>
              </a:rPr>
              <a:t> </a:t>
            </a:r>
            <a:r>
              <a:rPr lang="fr-FR" sz="1400" b="1" dirty="0" err="1">
                <a:solidFill>
                  <a:srgbClr val="3FAE49"/>
                </a:solidFill>
                <a:latin typeface="Arial"/>
              </a:rPr>
              <a:t>daca</a:t>
            </a:r>
            <a:r>
              <a:rPr lang="fr-FR" sz="1400" b="1" dirty="0">
                <a:solidFill>
                  <a:srgbClr val="3FAE49"/>
                </a:solidFill>
                <a:latin typeface="Arial"/>
              </a:rPr>
              <a:t> </a:t>
            </a:r>
            <a:r>
              <a:rPr lang="fr-FR" sz="1400" b="1" dirty="0" err="1">
                <a:solidFill>
                  <a:srgbClr val="3FAE49"/>
                </a:solidFill>
                <a:latin typeface="Arial"/>
              </a:rPr>
              <a:t>tabloul</a:t>
            </a:r>
            <a:r>
              <a:rPr lang="fr-FR" sz="1400" b="1" dirty="0">
                <a:solidFill>
                  <a:srgbClr val="3FAE49"/>
                </a:solidFill>
                <a:latin typeface="Arial"/>
              </a:rPr>
              <a:t> </a:t>
            </a:r>
            <a:r>
              <a:rPr lang="fr-FR" sz="1400" b="1" dirty="0" err="1">
                <a:solidFill>
                  <a:srgbClr val="3FAE49"/>
                </a:solidFill>
                <a:latin typeface="Arial"/>
              </a:rPr>
              <a:t>meu</a:t>
            </a:r>
            <a:r>
              <a:rPr lang="fr-FR" sz="1400" b="1" dirty="0">
                <a:solidFill>
                  <a:srgbClr val="3FAE49"/>
                </a:solidFill>
                <a:latin typeface="Arial"/>
              </a:rPr>
              <a:t> are o </a:t>
            </a:r>
            <a:r>
              <a:rPr lang="fr-FR" sz="1400" b="1" dirty="0" err="1">
                <a:solidFill>
                  <a:srgbClr val="3FAE49"/>
                </a:solidFill>
                <a:latin typeface="Arial"/>
              </a:rPr>
              <a:t>arhitectura</a:t>
            </a:r>
            <a:r>
              <a:rPr lang="fr-FR" sz="1400" b="1" dirty="0">
                <a:solidFill>
                  <a:srgbClr val="3FAE49"/>
                </a:solidFill>
                <a:latin typeface="Arial"/>
              </a:rPr>
              <a:t> </a:t>
            </a:r>
            <a:r>
              <a:rPr lang="fr-FR" sz="1400" b="1" dirty="0" err="1">
                <a:solidFill>
                  <a:srgbClr val="3FAE49"/>
                </a:solidFill>
                <a:latin typeface="Arial"/>
              </a:rPr>
              <a:t>testata</a:t>
            </a:r>
            <a:r>
              <a:rPr lang="fr-FR" sz="1400" b="1" dirty="0">
                <a:solidFill>
                  <a:srgbClr val="3FAE49"/>
                </a:solidFill>
                <a:latin typeface="Arial"/>
              </a:rPr>
              <a:t> si </a:t>
            </a:r>
            <a:r>
              <a:rPr lang="fr-FR" sz="1400" b="1" dirty="0" err="1">
                <a:solidFill>
                  <a:srgbClr val="3FAE49"/>
                </a:solidFill>
                <a:latin typeface="Arial"/>
              </a:rPr>
              <a:t>validata</a:t>
            </a:r>
            <a:r>
              <a:rPr lang="fr-FR" sz="1400" b="1" dirty="0">
                <a:solidFill>
                  <a:srgbClr val="3FAE49"/>
                </a:solidFill>
                <a:latin typeface="Arial"/>
              </a:rPr>
              <a:t>? </a:t>
            </a:r>
          </a:p>
        </p:txBody>
      </p:sp>
      <p:cxnSp>
        <p:nvCxnSpPr>
          <p:cNvPr id="16" name="Elbow Connector 33"/>
          <p:cNvCxnSpPr>
            <a:cxnSpLocks noChangeShapeType="1"/>
            <a:stCxn id="60" idx="0"/>
          </p:cNvCxnSpPr>
          <p:nvPr/>
        </p:nvCxnSpPr>
        <p:spPr bwMode="auto">
          <a:xfrm rot="16200000" flipV="1">
            <a:off x="9201448" y="3126115"/>
            <a:ext cx="795974" cy="2087266"/>
          </a:xfrm>
          <a:prstGeom prst="bentConnector2">
            <a:avLst/>
          </a:prstGeom>
          <a:noFill/>
          <a:ln w="38100" algn="ctr">
            <a:solidFill>
              <a:srgbClr val="3FAE49"/>
            </a:solidFill>
            <a:round/>
            <a:headEnd type="none" w="med" len="med"/>
            <a:tailEnd type="oval" w="med" len="med"/>
          </a:ln>
        </p:spPr>
      </p:cxnSp>
    </p:spTree>
    <p:extLst>
      <p:ext uri="{BB962C8B-B14F-4D97-AF65-F5344CB8AC3E}">
        <p14:creationId xmlns:p14="http://schemas.microsoft.com/office/powerpoint/2010/main" val="28083272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5"/>
          <p:cNvGrpSpPr/>
          <p:nvPr/>
        </p:nvGrpSpPr>
        <p:grpSpPr>
          <a:xfrm>
            <a:off x="9063161" y="142460"/>
            <a:ext cx="2865607" cy="2406779"/>
            <a:chOff x="1759528" y="1561257"/>
            <a:chExt cx="3948545" cy="3316320"/>
          </a:xfrm>
        </p:grpSpPr>
        <p:pic>
          <p:nvPicPr>
            <p:cNvPr id="15" name="Picture 9" descr="C:\Users\SESA37740\Desktop\Main_SXWScreen.jpg"/>
            <p:cNvPicPr>
              <a:picLocks noChangeAspect="1" noChangeArrowheads="1"/>
            </p:cNvPicPr>
            <p:nvPr/>
          </p:nvPicPr>
          <p:blipFill>
            <a:blip r:embed="rId3" cstate="email"/>
            <a:srcRect/>
            <a:stretch>
              <a:fillRect/>
            </a:stretch>
          </p:blipFill>
          <p:spPr bwMode="auto">
            <a:xfrm>
              <a:off x="1759528" y="1561257"/>
              <a:ext cx="3948545" cy="3316320"/>
            </a:xfrm>
            <a:prstGeom prst="rect">
              <a:avLst/>
            </a:prstGeom>
            <a:noFill/>
            <a:ln w="9525">
              <a:noFill/>
              <a:miter lim="800000"/>
              <a:headEnd/>
              <a:tailEnd/>
            </a:ln>
          </p:spPr>
        </p:pic>
        <p:pic>
          <p:nvPicPr>
            <p:cNvPr id="14" name="Picture 2"/>
            <p:cNvPicPr>
              <a:picLocks noChangeAspect="1" noChangeArrowheads="1"/>
            </p:cNvPicPr>
            <p:nvPr/>
          </p:nvPicPr>
          <p:blipFill>
            <a:blip r:embed="rId4" cstate="print"/>
            <a:stretch>
              <a:fillRect/>
            </a:stretch>
          </p:blipFill>
          <p:spPr bwMode="auto">
            <a:xfrm>
              <a:off x="1844434" y="1669971"/>
              <a:ext cx="3766653" cy="2272275"/>
            </a:xfrm>
            <a:prstGeom prst="rect">
              <a:avLst/>
            </a:prstGeom>
            <a:noFill/>
            <a:ln>
              <a:noFill/>
            </a:ln>
          </p:spPr>
        </p:pic>
      </p:grpSp>
      <p:sp>
        <p:nvSpPr>
          <p:cNvPr id="9" name="Content Placeholder 8"/>
          <p:cNvSpPr>
            <a:spLocks noGrp="1"/>
          </p:cNvSpPr>
          <p:nvPr>
            <p:ph idx="1"/>
          </p:nvPr>
        </p:nvSpPr>
        <p:spPr>
          <a:xfrm>
            <a:off x="608016" y="1509722"/>
            <a:ext cx="5494283" cy="4649553"/>
          </a:xfrm>
          <a:solidFill>
            <a:schemeClr val="tx2"/>
          </a:solidFill>
        </p:spPr>
        <p:txBody>
          <a:bodyPr/>
          <a:lstStyle/>
          <a:p>
            <a:pPr>
              <a:buNone/>
              <a:defRPr/>
            </a:pPr>
            <a:r>
              <a:rPr lang="en-US" sz="3200" b="1" dirty="0"/>
              <a:t> </a:t>
            </a:r>
            <a:r>
              <a:rPr lang="ro-RO" sz="3200" b="1" dirty="0">
                <a:solidFill>
                  <a:srgbClr val="000000"/>
                </a:solidFill>
              </a:rPr>
              <a:t>Conștientizarea </a:t>
            </a:r>
            <a:r>
              <a:rPr lang="ro-RO" sz="2400" dirty="0">
                <a:solidFill>
                  <a:srgbClr val="000000"/>
                </a:solidFill>
              </a:rPr>
              <a:t>utilizatorului</a:t>
            </a:r>
            <a:endParaRPr lang="en-US" sz="2400" b="1" dirty="0">
              <a:solidFill>
                <a:srgbClr val="000000"/>
              </a:solidFill>
            </a:endParaRPr>
          </a:p>
          <a:p>
            <a:pPr>
              <a:buNone/>
              <a:defRPr/>
            </a:pPr>
            <a:endParaRPr lang="en-US" sz="2400" dirty="0"/>
          </a:p>
          <a:p>
            <a:pPr lvl="0">
              <a:buNone/>
              <a:defRPr/>
            </a:pPr>
            <a:r>
              <a:rPr lang="en-US" sz="3200" b="1" dirty="0"/>
              <a:t> </a:t>
            </a:r>
            <a:r>
              <a:rPr lang="ro-RO" sz="3200" b="1" dirty="0">
                <a:solidFill>
                  <a:srgbClr val="000000"/>
                </a:solidFill>
              </a:rPr>
              <a:t>Înțeleg</a:t>
            </a:r>
            <a:r>
              <a:rPr lang="en-US" sz="3200" b="1" dirty="0">
                <a:solidFill>
                  <a:srgbClr val="000000"/>
                </a:solidFill>
              </a:rPr>
              <a:t>ere:</a:t>
            </a:r>
            <a:r>
              <a:rPr lang="ro-RO" sz="3200" b="1" dirty="0">
                <a:solidFill>
                  <a:srgbClr val="000000"/>
                </a:solidFill>
              </a:rPr>
              <a:t> </a:t>
            </a:r>
            <a:r>
              <a:rPr lang="ro-RO" sz="2400" dirty="0">
                <a:solidFill>
                  <a:srgbClr val="000000"/>
                </a:solidFill>
              </a:rPr>
              <a:t>unde sunt</a:t>
            </a:r>
            <a:r>
              <a:rPr lang="en-US" sz="2400" dirty="0">
                <a:solidFill>
                  <a:srgbClr val="000000"/>
                </a:solidFill>
              </a:rPr>
              <a:t> ?</a:t>
            </a:r>
          </a:p>
          <a:p>
            <a:pPr marL="682569" lvl="1" indent="-225406">
              <a:buClr>
                <a:srgbClr val="009530"/>
              </a:buClr>
              <a:buNone/>
              <a:defRPr/>
            </a:pPr>
            <a:endParaRPr lang="en-US" sz="2400" dirty="0">
              <a:solidFill>
                <a:srgbClr val="009530"/>
              </a:solidFill>
            </a:endParaRPr>
          </a:p>
          <a:p>
            <a:pPr lvl="0">
              <a:buNone/>
              <a:defRPr/>
            </a:pPr>
            <a:r>
              <a:rPr lang="en-US" sz="3200" b="1" dirty="0"/>
              <a:t> </a:t>
            </a:r>
            <a:r>
              <a:rPr lang="en-US" sz="3200" b="1" dirty="0" err="1">
                <a:solidFill>
                  <a:srgbClr val="000000"/>
                </a:solidFill>
              </a:rPr>
              <a:t>Reac</a:t>
            </a:r>
            <a:r>
              <a:rPr lang="ro-RO" sz="3200" b="1" dirty="0">
                <a:solidFill>
                  <a:srgbClr val="000000"/>
                </a:solidFill>
              </a:rPr>
              <a:t>ți</a:t>
            </a:r>
            <a:r>
              <a:rPr lang="en-US" sz="3200" b="1" dirty="0">
                <a:solidFill>
                  <a:srgbClr val="000000"/>
                </a:solidFill>
              </a:rPr>
              <a:t>e</a:t>
            </a:r>
            <a:r>
              <a:rPr lang="en-US" sz="3200" dirty="0">
                <a:solidFill>
                  <a:srgbClr val="000000"/>
                </a:solidFill>
              </a:rPr>
              <a:t> </a:t>
            </a:r>
            <a:r>
              <a:rPr lang="ro-RO" sz="2400" dirty="0">
                <a:solidFill>
                  <a:srgbClr val="000000"/>
                </a:solidFill>
              </a:rPr>
              <a:t>înainte de</a:t>
            </a:r>
          </a:p>
          <a:p>
            <a:pPr lvl="0">
              <a:buNone/>
              <a:defRPr/>
            </a:pPr>
            <a:r>
              <a:rPr lang="en-US" sz="2400" dirty="0">
                <a:solidFill>
                  <a:srgbClr val="000000"/>
                </a:solidFill>
              </a:rPr>
              <a:t>a</a:t>
            </a:r>
            <a:r>
              <a:rPr lang="ro-RO" sz="2400" dirty="0">
                <a:solidFill>
                  <a:srgbClr val="000000"/>
                </a:solidFill>
              </a:rPr>
              <a:t>pariția problemei</a:t>
            </a:r>
            <a:endParaRPr lang="en-US" sz="2400" dirty="0">
              <a:solidFill>
                <a:srgbClr val="000000"/>
              </a:solidFill>
            </a:endParaRPr>
          </a:p>
          <a:p>
            <a:pPr>
              <a:buNone/>
              <a:defRPr/>
            </a:pPr>
            <a:endParaRPr lang="en-US" sz="2400" dirty="0"/>
          </a:p>
          <a:p>
            <a:pPr>
              <a:buNone/>
              <a:defRPr/>
            </a:pPr>
            <a:r>
              <a:rPr lang="en-US" sz="3200" b="1" dirty="0">
                <a:solidFill>
                  <a:srgbClr val="000000"/>
                </a:solidFill>
              </a:rPr>
              <a:t> </a:t>
            </a:r>
            <a:r>
              <a:rPr lang="en-US" sz="3200" b="1" dirty="0" err="1">
                <a:solidFill>
                  <a:srgbClr val="000000"/>
                </a:solidFill>
              </a:rPr>
              <a:t>Anticiparea</a:t>
            </a:r>
            <a:r>
              <a:rPr lang="en-US" sz="3200" dirty="0">
                <a:solidFill>
                  <a:srgbClr val="000000"/>
                </a:solidFill>
              </a:rPr>
              <a:t> </a:t>
            </a:r>
            <a:r>
              <a:rPr lang="ro-RO" sz="2400" dirty="0">
                <a:solidFill>
                  <a:srgbClr val="000000"/>
                </a:solidFill>
              </a:rPr>
              <a:t>lacunel</a:t>
            </a:r>
            <a:r>
              <a:rPr lang="en-US" sz="2400" dirty="0">
                <a:solidFill>
                  <a:srgbClr val="000000"/>
                </a:solidFill>
              </a:rPr>
              <a:t>or</a:t>
            </a:r>
            <a:r>
              <a:rPr lang="ro-RO" sz="2400" dirty="0">
                <a:solidFill>
                  <a:srgbClr val="000000"/>
                </a:solidFill>
              </a:rPr>
              <a:t> de funcționare</a:t>
            </a:r>
            <a:endParaRPr lang="en-US" sz="2400" dirty="0">
              <a:solidFill>
                <a:srgbClr val="000000"/>
              </a:solidFill>
            </a:endParaRPr>
          </a:p>
          <a:p>
            <a:pPr lvl="0">
              <a:buNone/>
              <a:defRPr/>
            </a:pPr>
            <a:endParaRPr lang="en-US" sz="2400" dirty="0"/>
          </a:p>
          <a:p>
            <a:pPr lvl="0">
              <a:buNone/>
              <a:defRPr/>
            </a:pPr>
            <a:endParaRPr lang="en-US" sz="2400" dirty="0"/>
          </a:p>
          <a:p>
            <a:pPr>
              <a:buNone/>
            </a:pPr>
            <a:endParaRPr lang="fr-FR" sz="2400" dirty="0"/>
          </a:p>
        </p:txBody>
      </p:sp>
      <p:sp>
        <p:nvSpPr>
          <p:cNvPr id="8" name="Title 7"/>
          <p:cNvSpPr>
            <a:spLocks noGrp="1"/>
          </p:cNvSpPr>
          <p:nvPr>
            <p:ph type="title"/>
          </p:nvPr>
        </p:nvSpPr>
        <p:spPr>
          <a:xfrm>
            <a:off x="0" y="-20604"/>
            <a:ext cx="10139634" cy="1096963"/>
          </a:xfrm>
          <a:solidFill>
            <a:schemeClr val="tx2"/>
          </a:solidFill>
        </p:spPr>
        <p:txBody>
          <a:bodyPr/>
          <a:lstStyle/>
          <a:p>
            <a:pPr lvl="0"/>
            <a:r>
              <a:rPr lang="en-US" sz="3200" dirty="0">
                <a:solidFill>
                  <a:srgbClr val="000000"/>
                </a:solidFill>
              </a:rPr>
              <a:t> </a:t>
            </a:r>
            <a:r>
              <a:rPr lang="en-US" dirty="0">
                <a:solidFill>
                  <a:srgbClr val="000000"/>
                </a:solidFill>
              </a:rPr>
              <a:t> “Ce nu </a:t>
            </a:r>
            <a:r>
              <a:rPr lang="en-US" dirty="0" err="1">
                <a:solidFill>
                  <a:srgbClr val="000000"/>
                </a:solidFill>
              </a:rPr>
              <a:t>masuram</a:t>
            </a:r>
            <a:r>
              <a:rPr lang="en-US" dirty="0">
                <a:solidFill>
                  <a:srgbClr val="000000"/>
                </a:solidFill>
              </a:rPr>
              <a:t> nu </a:t>
            </a:r>
            <a:r>
              <a:rPr lang="en-US" dirty="0" err="1">
                <a:solidFill>
                  <a:srgbClr val="000000"/>
                </a:solidFill>
              </a:rPr>
              <a:t>putem</a:t>
            </a:r>
            <a:r>
              <a:rPr lang="en-US" dirty="0">
                <a:solidFill>
                  <a:srgbClr val="000000"/>
                </a:solidFill>
              </a:rPr>
              <a:t> </a:t>
            </a:r>
            <a:r>
              <a:rPr lang="en-US" dirty="0" err="1">
                <a:solidFill>
                  <a:srgbClr val="000000"/>
                </a:solidFill>
              </a:rPr>
              <a:t>optimiza</a:t>
            </a:r>
            <a:r>
              <a:rPr lang="en-US" dirty="0">
                <a:solidFill>
                  <a:srgbClr val="000000"/>
                </a:solidFill>
              </a:rPr>
              <a:t>”</a:t>
            </a:r>
            <a:br>
              <a:rPr lang="en-US" dirty="0">
                <a:solidFill>
                  <a:srgbClr val="000000"/>
                </a:solidFill>
              </a:rPr>
            </a:br>
            <a:r>
              <a:rPr lang="en-US" dirty="0">
                <a:solidFill>
                  <a:srgbClr val="000000"/>
                </a:solidFill>
              </a:rPr>
              <a:t>    </a:t>
            </a:r>
            <a:r>
              <a:rPr lang="en-US" dirty="0" err="1">
                <a:solidFill>
                  <a:srgbClr val="000000"/>
                </a:solidFill>
              </a:rPr>
              <a:t>Propunerea</a:t>
            </a:r>
            <a:r>
              <a:rPr lang="en-US" dirty="0">
                <a:solidFill>
                  <a:srgbClr val="000000"/>
                </a:solidFill>
              </a:rPr>
              <a:t> </a:t>
            </a:r>
            <a:r>
              <a:rPr lang="en-US" dirty="0" err="1">
                <a:solidFill>
                  <a:srgbClr val="000000"/>
                </a:solidFill>
              </a:rPr>
              <a:t>noastra</a:t>
            </a:r>
            <a:r>
              <a:rPr lang="en-US" dirty="0">
                <a:solidFill>
                  <a:srgbClr val="000000"/>
                </a:solidFill>
              </a:rPr>
              <a:t> - </a:t>
            </a:r>
            <a:r>
              <a:rPr lang="en-US" dirty="0" err="1">
                <a:solidFill>
                  <a:srgbClr val="000000"/>
                </a:solidFill>
              </a:rPr>
              <a:t>solutii</a:t>
            </a:r>
            <a:r>
              <a:rPr lang="en-US" dirty="0">
                <a:solidFill>
                  <a:srgbClr val="000000"/>
                </a:solidFill>
              </a:rPr>
              <a:t> care </a:t>
            </a:r>
            <a:r>
              <a:rPr lang="en-US" dirty="0" err="1">
                <a:solidFill>
                  <a:srgbClr val="000000"/>
                </a:solidFill>
              </a:rPr>
              <a:t>conduc</a:t>
            </a:r>
            <a:r>
              <a:rPr lang="en-US" dirty="0">
                <a:solidFill>
                  <a:srgbClr val="000000"/>
                </a:solidFill>
              </a:rPr>
              <a:t> la:</a:t>
            </a:r>
            <a:endParaRPr lang="fr-FR" dirty="0">
              <a:solidFill>
                <a:srgbClr val="000000"/>
              </a:solidFill>
            </a:endParaRPr>
          </a:p>
        </p:txBody>
      </p:sp>
      <p:pic>
        <p:nvPicPr>
          <p:cNvPr id="10" name="Picture 3" descr="RSP_WebApp_Design_Screens_28"/>
          <p:cNvPicPr>
            <a:picLocks noChangeAspect="1" noChangeArrowheads="1"/>
          </p:cNvPicPr>
          <p:nvPr/>
        </p:nvPicPr>
        <p:blipFill>
          <a:blip r:embed="rId5" cstate="print"/>
          <a:stretch>
            <a:fillRect/>
          </a:stretch>
        </p:blipFill>
        <p:spPr bwMode="auto">
          <a:xfrm>
            <a:off x="8035638" y="3360315"/>
            <a:ext cx="4083914" cy="3062936"/>
          </a:xfrm>
          <a:prstGeom prst="rect">
            <a:avLst/>
          </a:prstGeom>
          <a:ln/>
        </p:spPr>
        <p:style>
          <a:lnRef idx="3">
            <a:schemeClr val="lt1"/>
          </a:lnRef>
          <a:fillRef idx="1">
            <a:schemeClr val="dk1"/>
          </a:fillRef>
          <a:effectRef idx="1">
            <a:schemeClr val="dk1"/>
          </a:effectRef>
          <a:fontRef idx="minor">
            <a:schemeClr val="lt1"/>
          </a:fontRef>
        </p:style>
      </p:pic>
      <p:pic>
        <p:nvPicPr>
          <p:cNvPr id="11" name="Picture 1"/>
          <p:cNvPicPr>
            <a:picLocks noChangeAspect="1" noChangeArrowheads="1"/>
          </p:cNvPicPr>
          <p:nvPr/>
        </p:nvPicPr>
        <p:blipFill>
          <a:blip r:embed="rId6" cstate="email"/>
          <a:srcRect/>
          <a:stretch>
            <a:fillRect/>
          </a:stretch>
        </p:blipFill>
        <p:spPr bwMode="auto">
          <a:xfrm>
            <a:off x="7024388" y="1397219"/>
            <a:ext cx="4824367" cy="2914939"/>
          </a:xfrm>
          <a:prstGeom prst="rect">
            <a:avLst/>
          </a:prstGeom>
          <a:ln>
            <a:headEnd/>
            <a:tailEnd/>
          </a:ln>
        </p:spPr>
        <p:style>
          <a:lnRef idx="3">
            <a:schemeClr val="lt1"/>
          </a:lnRef>
          <a:fillRef idx="1">
            <a:schemeClr val="dk1"/>
          </a:fillRef>
          <a:effectRef idx="1">
            <a:schemeClr val="dk1"/>
          </a:effectRef>
          <a:fontRef idx="minor">
            <a:schemeClr val="lt1"/>
          </a:fontRef>
        </p:style>
      </p:pic>
      <p:pic>
        <p:nvPicPr>
          <p:cNvPr id="13" name="Picture 2"/>
          <p:cNvPicPr>
            <a:picLocks noChangeAspect="1" noChangeArrowheads="1"/>
          </p:cNvPicPr>
          <p:nvPr/>
        </p:nvPicPr>
        <p:blipFill>
          <a:blip r:embed="rId7" cstate="email">
            <a:extLst>
              <a:ext uri="{28A0092B-C50C-407E-A947-70E740481C1C}">
                <a14:useLocalDpi xmlns:a14="http://schemas.microsoft.com/office/drawing/2010/main" val="0"/>
              </a:ext>
            </a:extLst>
          </a:blip>
          <a:srcRect r="11883"/>
          <a:stretch>
            <a:fillRect/>
          </a:stretch>
        </p:blipFill>
        <p:spPr bwMode="auto">
          <a:xfrm>
            <a:off x="6373096" y="3360323"/>
            <a:ext cx="3463636" cy="2125221"/>
          </a:xfrm>
          <a:prstGeom prst="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style>
          <a:lnRef idx="3">
            <a:schemeClr val="lt1"/>
          </a:lnRef>
          <a:fillRef idx="1">
            <a:schemeClr val="dk1"/>
          </a:fillRef>
          <a:effectRef idx="1">
            <a:schemeClr val="dk1"/>
          </a:effectRef>
          <a:fontRef idx="minor">
            <a:schemeClr val="lt1"/>
          </a:fontRef>
        </p:style>
      </p:pic>
      <p:sp>
        <p:nvSpPr>
          <p:cNvPr id="12" name="Freeform 5"/>
          <p:cNvSpPr>
            <a:spLocks/>
          </p:cNvSpPr>
          <p:nvPr/>
        </p:nvSpPr>
        <p:spPr bwMode="auto">
          <a:xfrm>
            <a:off x="360726" y="1723963"/>
            <a:ext cx="245661" cy="265231"/>
          </a:xfrm>
          <a:custGeom>
            <a:avLst/>
            <a:gdLst/>
            <a:ahLst/>
            <a:cxnLst>
              <a:cxn ang="0">
                <a:pos x="276" y="140"/>
              </a:cxn>
              <a:cxn ang="0">
                <a:pos x="256" y="123"/>
              </a:cxn>
              <a:cxn ang="0">
                <a:pos x="91" y="33"/>
              </a:cxn>
              <a:cxn ang="0">
                <a:pos x="67" y="20"/>
              </a:cxn>
              <a:cxn ang="0">
                <a:pos x="15" y="35"/>
              </a:cxn>
              <a:cxn ang="0">
                <a:pos x="32" y="90"/>
              </a:cxn>
              <a:cxn ang="0">
                <a:pos x="62" y="107"/>
              </a:cxn>
              <a:cxn ang="0">
                <a:pos x="188" y="170"/>
              </a:cxn>
              <a:cxn ang="0">
                <a:pos x="189" y="171"/>
              </a:cxn>
              <a:cxn ang="0">
                <a:pos x="187" y="172"/>
              </a:cxn>
              <a:cxn ang="0">
                <a:pos x="62" y="235"/>
              </a:cxn>
              <a:cxn ang="0">
                <a:pos x="31" y="252"/>
              </a:cxn>
              <a:cxn ang="0">
                <a:pos x="14" y="307"/>
              </a:cxn>
              <a:cxn ang="0">
                <a:pos x="67" y="322"/>
              </a:cxn>
              <a:cxn ang="0">
                <a:pos x="90" y="309"/>
              </a:cxn>
              <a:cxn ang="0">
                <a:pos x="256" y="219"/>
              </a:cxn>
              <a:cxn ang="0">
                <a:pos x="276" y="202"/>
              </a:cxn>
              <a:cxn ang="0">
                <a:pos x="276" y="201"/>
              </a:cxn>
              <a:cxn ang="0">
                <a:pos x="285" y="171"/>
              </a:cxn>
              <a:cxn ang="0">
                <a:pos x="276" y="140"/>
              </a:cxn>
            </a:cxnLst>
            <a:rect l="0" t="0" r="r" b="b"/>
            <a:pathLst>
              <a:path w="285" h="342">
                <a:moveTo>
                  <a:pt x="276" y="140"/>
                </a:moveTo>
                <a:cubicBezTo>
                  <a:pt x="271" y="133"/>
                  <a:pt x="264" y="127"/>
                  <a:pt x="256" y="123"/>
                </a:cubicBezTo>
                <a:cubicBezTo>
                  <a:pt x="91" y="33"/>
                  <a:pt x="91" y="33"/>
                  <a:pt x="91" y="33"/>
                </a:cubicBezTo>
                <a:cubicBezTo>
                  <a:pt x="67" y="20"/>
                  <a:pt x="67" y="20"/>
                  <a:pt x="67" y="20"/>
                </a:cubicBezTo>
                <a:cubicBezTo>
                  <a:pt x="67" y="20"/>
                  <a:pt x="34" y="0"/>
                  <a:pt x="15" y="35"/>
                </a:cubicBezTo>
                <a:cubicBezTo>
                  <a:pt x="1" y="60"/>
                  <a:pt x="9" y="77"/>
                  <a:pt x="32" y="90"/>
                </a:cubicBezTo>
                <a:cubicBezTo>
                  <a:pt x="58" y="104"/>
                  <a:pt x="62" y="107"/>
                  <a:pt x="62" y="107"/>
                </a:cubicBezTo>
                <a:cubicBezTo>
                  <a:pt x="188" y="170"/>
                  <a:pt x="188" y="170"/>
                  <a:pt x="188" y="170"/>
                </a:cubicBezTo>
                <a:cubicBezTo>
                  <a:pt x="189" y="171"/>
                  <a:pt x="189" y="171"/>
                  <a:pt x="189" y="171"/>
                </a:cubicBezTo>
                <a:cubicBezTo>
                  <a:pt x="187" y="172"/>
                  <a:pt x="187" y="172"/>
                  <a:pt x="187" y="172"/>
                </a:cubicBezTo>
                <a:cubicBezTo>
                  <a:pt x="62" y="235"/>
                  <a:pt x="62" y="235"/>
                  <a:pt x="62" y="235"/>
                </a:cubicBezTo>
                <a:cubicBezTo>
                  <a:pt x="62" y="235"/>
                  <a:pt x="57" y="238"/>
                  <a:pt x="31" y="252"/>
                </a:cubicBezTo>
                <a:cubicBezTo>
                  <a:pt x="8" y="265"/>
                  <a:pt x="0" y="282"/>
                  <a:pt x="14" y="307"/>
                </a:cubicBezTo>
                <a:cubicBezTo>
                  <a:pt x="33" y="342"/>
                  <a:pt x="67" y="322"/>
                  <a:pt x="67" y="322"/>
                </a:cubicBezTo>
                <a:cubicBezTo>
                  <a:pt x="90" y="309"/>
                  <a:pt x="90" y="309"/>
                  <a:pt x="90" y="309"/>
                </a:cubicBezTo>
                <a:cubicBezTo>
                  <a:pt x="256" y="219"/>
                  <a:pt x="256" y="219"/>
                  <a:pt x="256" y="219"/>
                </a:cubicBezTo>
                <a:cubicBezTo>
                  <a:pt x="264" y="215"/>
                  <a:pt x="270" y="210"/>
                  <a:pt x="276" y="202"/>
                </a:cubicBezTo>
                <a:cubicBezTo>
                  <a:pt x="276" y="201"/>
                  <a:pt x="276" y="201"/>
                  <a:pt x="276" y="201"/>
                </a:cubicBezTo>
                <a:cubicBezTo>
                  <a:pt x="282" y="194"/>
                  <a:pt x="285" y="184"/>
                  <a:pt x="285" y="171"/>
                </a:cubicBezTo>
                <a:cubicBezTo>
                  <a:pt x="285" y="158"/>
                  <a:pt x="282" y="147"/>
                  <a:pt x="276" y="14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sz="1600" dirty="0">
              <a:solidFill>
                <a:srgbClr val="000000"/>
              </a:solidFill>
            </a:endParaRPr>
          </a:p>
        </p:txBody>
      </p:sp>
      <p:sp>
        <p:nvSpPr>
          <p:cNvPr id="18" name="Freeform 5"/>
          <p:cNvSpPr>
            <a:spLocks/>
          </p:cNvSpPr>
          <p:nvPr/>
        </p:nvSpPr>
        <p:spPr bwMode="auto">
          <a:xfrm>
            <a:off x="360726" y="2709102"/>
            <a:ext cx="245661" cy="265231"/>
          </a:xfrm>
          <a:custGeom>
            <a:avLst/>
            <a:gdLst/>
            <a:ahLst/>
            <a:cxnLst>
              <a:cxn ang="0">
                <a:pos x="276" y="140"/>
              </a:cxn>
              <a:cxn ang="0">
                <a:pos x="256" y="123"/>
              </a:cxn>
              <a:cxn ang="0">
                <a:pos x="91" y="33"/>
              </a:cxn>
              <a:cxn ang="0">
                <a:pos x="67" y="20"/>
              </a:cxn>
              <a:cxn ang="0">
                <a:pos x="15" y="35"/>
              </a:cxn>
              <a:cxn ang="0">
                <a:pos x="32" y="90"/>
              </a:cxn>
              <a:cxn ang="0">
                <a:pos x="62" y="107"/>
              </a:cxn>
              <a:cxn ang="0">
                <a:pos x="188" y="170"/>
              </a:cxn>
              <a:cxn ang="0">
                <a:pos x="189" y="171"/>
              </a:cxn>
              <a:cxn ang="0">
                <a:pos x="187" y="172"/>
              </a:cxn>
              <a:cxn ang="0">
                <a:pos x="62" y="235"/>
              </a:cxn>
              <a:cxn ang="0">
                <a:pos x="31" y="252"/>
              </a:cxn>
              <a:cxn ang="0">
                <a:pos x="14" y="307"/>
              </a:cxn>
              <a:cxn ang="0">
                <a:pos x="67" y="322"/>
              </a:cxn>
              <a:cxn ang="0">
                <a:pos x="90" y="309"/>
              </a:cxn>
              <a:cxn ang="0">
                <a:pos x="256" y="219"/>
              </a:cxn>
              <a:cxn ang="0">
                <a:pos x="276" y="202"/>
              </a:cxn>
              <a:cxn ang="0">
                <a:pos x="276" y="201"/>
              </a:cxn>
              <a:cxn ang="0">
                <a:pos x="285" y="171"/>
              </a:cxn>
              <a:cxn ang="0">
                <a:pos x="276" y="140"/>
              </a:cxn>
            </a:cxnLst>
            <a:rect l="0" t="0" r="r" b="b"/>
            <a:pathLst>
              <a:path w="285" h="342">
                <a:moveTo>
                  <a:pt x="276" y="140"/>
                </a:moveTo>
                <a:cubicBezTo>
                  <a:pt x="271" y="133"/>
                  <a:pt x="264" y="127"/>
                  <a:pt x="256" y="123"/>
                </a:cubicBezTo>
                <a:cubicBezTo>
                  <a:pt x="91" y="33"/>
                  <a:pt x="91" y="33"/>
                  <a:pt x="91" y="33"/>
                </a:cubicBezTo>
                <a:cubicBezTo>
                  <a:pt x="67" y="20"/>
                  <a:pt x="67" y="20"/>
                  <a:pt x="67" y="20"/>
                </a:cubicBezTo>
                <a:cubicBezTo>
                  <a:pt x="67" y="20"/>
                  <a:pt x="34" y="0"/>
                  <a:pt x="15" y="35"/>
                </a:cubicBezTo>
                <a:cubicBezTo>
                  <a:pt x="1" y="60"/>
                  <a:pt x="9" y="77"/>
                  <a:pt x="32" y="90"/>
                </a:cubicBezTo>
                <a:cubicBezTo>
                  <a:pt x="58" y="104"/>
                  <a:pt x="62" y="107"/>
                  <a:pt x="62" y="107"/>
                </a:cubicBezTo>
                <a:cubicBezTo>
                  <a:pt x="188" y="170"/>
                  <a:pt x="188" y="170"/>
                  <a:pt x="188" y="170"/>
                </a:cubicBezTo>
                <a:cubicBezTo>
                  <a:pt x="189" y="171"/>
                  <a:pt x="189" y="171"/>
                  <a:pt x="189" y="171"/>
                </a:cubicBezTo>
                <a:cubicBezTo>
                  <a:pt x="187" y="172"/>
                  <a:pt x="187" y="172"/>
                  <a:pt x="187" y="172"/>
                </a:cubicBezTo>
                <a:cubicBezTo>
                  <a:pt x="62" y="235"/>
                  <a:pt x="62" y="235"/>
                  <a:pt x="62" y="235"/>
                </a:cubicBezTo>
                <a:cubicBezTo>
                  <a:pt x="62" y="235"/>
                  <a:pt x="57" y="238"/>
                  <a:pt x="31" y="252"/>
                </a:cubicBezTo>
                <a:cubicBezTo>
                  <a:pt x="8" y="265"/>
                  <a:pt x="0" y="282"/>
                  <a:pt x="14" y="307"/>
                </a:cubicBezTo>
                <a:cubicBezTo>
                  <a:pt x="33" y="342"/>
                  <a:pt x="67" y="322"/>
                  <a:pt x="67" y="322"/>
                </a:cubicBezTo>
                <a:cubicBezTo>
                  <a:pt x="90" y="309"/>
                  <a:pt x="90" y="309"/>
                  <a:pt x="90" y="309"/>
                </a:cubicBezTo>
                <a:cubicBezTo>
                  <a:pt x="256" y="219"/>
                  <a:pt x="256" y="219"/>
                  <a:pt x="256" y="219"/>
                </a:cubicBezTo>
                <a:cubicBezTo>
                  <a:pt x="264" y="215"/>
                  <a:pt x="270" y="210"/>
                  <a:pt x="276" y="202"/>
                </a:cubicBezTo>
                <a:cubicBezTo>
                  <a:pt x="276" y="201"/>
                  <a:pt x="276" y="201"/>
                  <a:pt x="276" y="201"/>
                </a:cubicBezTo>
                <a:cubicBezTo>
                  <a:pt x="282" y="194"/>
                  <a:pt x="285" y="184"/>
                  <a:pt x="285" y="171"/>
                </a:cubicBezTo>
                <a:cubicBezTo>
                  <a:pt x="285" y="158"/>
                  <a:pt x="282" y="147"/>
                  <a:pt x="276" y="14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sz="1600" dirty="0">
              <a:solidFill>
                <a:srgbClr val="000000"/>
              </a:solidFill>
            </a:endParaRPr>
          </a:p>
        </p:txBody>
      </p:sp>
      <p:sp>
        <p:nvSpPr>
          <p:cNvPr id="19" name="Freeform 5"/>
          <p:cNvSpPr>
            <a:spLocks/>
          </p:cNvSpPr>
          <p:nvPr/>
        </p:nvSpPr>
        <p:spPr bwMode="auto">
          <a:xfrm>
            <a:off x="360726" y="3749659"/>
            <a:ext cx="245661" cy="265231"/>
          </a:xfrm>
          <a:custGeom>
            <a:avLst/>
            <a:gdLst/>
            <a:ahLst/>
            <a:cxnLst>
              <a:cxn ang="0">
                <a:pos x="276" y="140"/>
              </a:cxn>
              <a:cxn ang="0">
                <a:pos x="256" y="123"/>
              </a:cxn>
              <a:cxn ang="0">
                <a:pos x="91" y="33"/>
              </a:cxn>
              <a:cxn ang="0">
                <a:pos x="67" y="20"/>
              </a:cxn>
              <a:cxn ang="0">
                <a:pos x="15" y="35"/>
              </a:cxn>
              <a:cxn ang="0">
                <a:pos x="32" y="90"/>
              </a:cxn>
              <a:cxn ang="0">
                <a:pos x="62" y="107"/>
              </a:cxn>
              <a:cxn ang="0">
                <a:pos x="188" y="170"/>
              </a:cxn>
              <a:cxn ang="0">
                <a:pos x="189" y="171"/>
              </a:cxn>
              <a:cxn ang="0">
                <a:pos x="187" y="172"/>
              </a:cxn>
              <a:cxn ang="0">
                <a:pos x="62" y="235"/>
              </a:cxn>
              <a:cxn ang="0">
                <a:pos x="31" y="252"/>
              </a:cxn>
              <a:cxn ang="0">
                <a:pos x="14" y="307"/>
              </a:cxn>
              <a:cxn ang="0">
                <a:pos x="67" y="322"/>
              </a:cxn>
              <a:cxn ang="0">
                <a:pos x="90" y="309"/>
              </a:cxn>
              <a:cxn ang="0">
                <a:pos x="256" y="219"/>
              </a:cxn>
              <a:cxn ang="0">
                <a:pos x="276" y="202"/>
              </a:cxn>
              <a:cxn ang="0">
                <a:pos x="276" y="201"/>
              </a:cxn>
              <a:cxn ang="0">
                <a:pos x="285" y="171"/>
              </a:cxn>
              <a:cxn ang="0">
                <a:pos x="276" y="140"/>
              </a:cxn>
            </a:cxnLst>
            <a:rect l="0" t="0" r="r" b="b"/>
            <a:pathLst>
              <a:path w="285" h="342">
                <a:moveTo>
                  <a:pt x="276" y="140"/>
                </a:moveTo>
                <a:cubicBezTo>
                  <a:pt x="271" y="133"/>
                  <a:pt x="264" y="127"/>
                  <a:pt x="256" y="123"/>
                </a:cubicBezTo>
                <a:cubicBezTo>
                  <a:pt x="91" y="33"/>
                  <a:pt x="91" y="33"/>
                  <a:pt x="91" y="33"/>
                </a:cubicBezTo>
                <a:cubicBezTo>
                  <a:pt x="67" y="20"/>
                  <a:pt x="67" y="20"/>
                  <a:pt x="67" y="20"/>
                </a:cubicBezTo>
                <a:cubicBezTo>
                  <a:pt x="67" y="20"/>
                  <a:pt x="34" y="0"/>
                  <a:pt x="15" y="35"/>
                </a:cubicBezTo>
                <a:cubicBezTo>
                  <a:pt x="1" y="60"/>
                  <a:pt x="9" y="77"/>
                  <a:pt x="32" y="90"/>
                </a:cubicBezTo>
                <a:cubicBezTo>
                  <a:pt x="58" y="104"/>
                  <a:pt x="62" y="107"/>
                  <a:pt x="62" y="107"/>
                </a:cubicBezTo>
                <a:cubicBezTo>
                  <a:pt x="188" y="170"/>
                  <a:pt x="188" y="170"/>
                  <a:pt x="188" y="170"/>
                </a:cubicBezTo>
                <a:cubicBezTo>
                  <a:pt x="189" y="171"/>
                  <a:pt x="189" y="171"/>
                  <a:pt x="189" y="171"/>
                </a:cubicBezTo>
                <a:cubicBezTo>
                  <a:pt x="187" y="172"/>
                  <a:pt x="187" y="172"/>
                  <a:pt x="187" y="172"/>
                </a:cubicBezTo>
                <a:cubicBezTo>
                  <a:pt x="62" y="235"/>
                  <a:pt x="62" y="235"/>
                  <a:pt x="62" y="235"/>
                </a:cubicBezTo>
                <a:cubicBezTo>
                  <a:pt x="62" y="235"/>
                  <a:pt x="57" y="238"/>
                  <a:pt x="31" y="252"/>
                </a:cubicBezTo>
                <a:cubicBezTo>
                  <a:pt x="8" y="265"/>
                  <a:pt x="0" y="282"/>
                  <a:pt x="14" y="307"/>
                </a:cubicBezTo>
                <a:cubicBezTo>
                  <a:pt x="33" y="342"/>
                  <a:pt x="67" y="322"/>
                  <a:pt x="67" y="322"/>
                </a:cubicBezTo>
                <a:cubicBezTo>
                  <a:pt x="90" y="309"/>
                  <a:pt x="90" y="309"/>
                  <a:pt x="90" y="309"/>
                </a:cubicBezTo>
                <a:cubicBezTo>
                  <a:pt x="256" y="219"/>
                  <a:pt x="256" y="219"/>
                  <a:pt x="256" y="219"/>
                </a:cubicBezTo>
                <a:cubicBezTo>
                  <a:pt x="264" y="215"/>
                  <a:pt x="270" y="210"/>
                  <a:pt x="276" y="202"/>
                </a:cubicBezTo>
                <a:cubicBezTo>
                  <a:pt x="276" y="201"/>
                  <a:pt x="276" y="201"/>
                  <a:pt x="276" y="201"/>
                </a:cubicBezTo>
                <a:cubicBezTo>
                  <a:pt x="282" y="194"/>
                  <a:pt x="285" y="184"/>
                  <a:pt x="285" y="171"/>
                </a:cubicBezTo>
                <a:cubicBezTo>
                  <a:pt x="285" y="158"/>
                  <a:pt x="282" y="147"/>
                  <a:pt x="276" y="14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sz="1600" dirty="0"/>
          </a:p>
        </p:txBody>
      </p:sp>
      <p:sp>
        <p:nvSpPr>
          <p:cNvPr id="20" name="Freeform 5"/>
          <p:cNvSpPr>
            <a:spLocks/>
          </p:cNvSpPr>
          <p:nvPr/>
        </p:nvSpPr>
        <p:spPr bwMode="auto">
          <a:xfrm>
            <a:off x="360726" y="5219722"/>
            <a:ext cx="245661" cy="265231"/>
          </a:xfrm>
          <a:custGeom>
            <a:avLst/>
            <a:gdLst/>
            <a:ahLst/>
            <a:cxnLst>
              <a:cxn ang="0">
                <a:pos x="276" y="140"/>
              </a:cxn>
              <a:cxn ang="0">
                <a:pos x="256" y="123"/>
              </a:cxn>
              <a:cxn ang="0">
                <a:pos x="91" y="33"/>
              </a:cxn>
              <a:cxn ang="0">
                <a:pos x="67" y="20"/>
              </a:cxn>
              <a:cxn ang="0">
                <a:pos x="15" y="35"/>
              </a:cxn>
              <a:cxn ang="0">
                <a:pos x="32" y="90"/>
              </a:cxn>
              <a:cxn ang="0">
                <a:pos x="62" y="107"/>
              </a:cxn>
              <a:cxn ang="0">
                <a:pos x="188" y="170"/>
              </a:cxn>
              <a:cxn ang="0">
                <a:pos x="189" y="171"/>
              </a:cxn>
              <a:cxn ang="0">
                <a:pos x="187" y="172"/>
              </a:cxn>
              <a:cxn ang="0">
                <a:pos x="62" y="235"/>
              </a:cxn>
              <a:cxn ang="0">
                <a:pos x="31" y="252"/>
              </a:cxn>
              <a:cxn ang="0">
                <a:pos x="14" y="307"/>
              </a:cxn>
              <a:cxn ang="0">
                <a:pos x="67" y="322"/>
              </a:cxn>
              <a:cxn ang="0">
                <a:pos x="90" y="309"/>
              </a:cxn>
              <a:cxn ang="0">
                <a:pos x="256" y="219"/>
              </a:cxn>
              <a:cxn ang="0">
                <a:pos x="276" y="202"/>
              </a:cxn>
              <a:cxn ang="0">
                <a:pos x="276" y="201"/>
              </a:cxn>
              <a:cxn ang="0">
                <a:pos x="285" y="171"/>
              </a:cxn>
              <a:cxn ang="0">
                <a:pos x="276" y="140"/>
              </a:cxn>
            </a:cxnLst>
            <a:rect l="0" t="0" r="r" b="b"/>
            <a:pathLst>
              <a:path w="285" h="342">
                <a:moveTo>
                  <a:pt x="276" y="140"/>
                </a:moveTo>
                <a:cubicBezTo>
                  <a:pt x="271" y="133"/>
                  <a:pt x="264" y="127"/>
                  <a:pt x="256" y="123"/>
                </a:cubicBezTo>
                <a:cubicBezTo>
                  <a:pt x="91" y="33"/>
                  <a:pt x="91" y="33"/>
                  <a:pt x="91" y="33"/>
                </a:cubicBezTo>
                <a:cubicBezTo>
                  <a:pt x="67" y="20"/>
                  <a:pt x="67" y="20"/>
                  <a:pt x="67" y="20"/>
                </a:cubicBezTo>
                <a:cubicBezTo>
                  <a:pt x="67" y="20"/>
                  <a:pt x="34" y="0"/>
                  <a:pt x="15" y="35"/>
                </a:cubicBezTo>
                <a:cubicBezTo>
                  <a:pt x="1" y="60"/>
                  <a:pt x="9" y="77"/>
                  <a:pt x="32" y="90"/>
                </a:cubicBezTo>
                <a:cubicBezTo>
                  <a:pt x="58" y="104"/>
                  <a:pt x="62" y="107"/>
                  <a:pt x="62" y="107"/>
                </a:cubicBezTo>
                <a:cubicBezTo>
                  <a:pt x="188" y="170"/>
                  <a:pt x="188" y="170"/>
                  <a:pt x="188" y="170"/>
                </a:cubicBezTo>
                <a:cubicBezTo>
                  <a:pt x="189" y="171"/>
                  <a:pt x="189" y="171"/>
                  <a:pt x="189" y="171"/>
                </a:cubicBezTo>
                <a:cubicBezTo>
                  <a:pt x="187" y="172"/>
                  <a:pt x="187" y="172"/>
                  <a:pt x="187" y="172"/>
                </a:cubicBezTo>
                <a:cubicBezTo>
                  <a:pt x="62" y="235"/>
                  <a:pt x="62" y="235"/>
                  <a:pt x="62" y="235"/>
                </a:cubicBezTo>
                <a:cubicBezTo>
                  <a:pt x="62" y="235"/>
                  <a:pt x="57" y="238"/>
                  <a:pt x="31" y="252"/>
                </a:cubicBezTo>
                <a:cubicBezTo>
                  <a:pt x="8" y="265"/>
                  <a:pt x="0" y="282"/>
                  <a:pt x="14" y="307"/>
                </a:cubicBezTo>
                <a:cubicBezTo>
                  <a:pt x="33" y="342"/>
                  <a:pt x="67" y="322"/>
                  <a:pt x="67" y="322"/>
                </a:cubicBezTo>
                <a:cubicBezTo>
                  <a:pt x="90" y="309"/>
                  <a:pt x="90" y="309"/>
                  <a:pt x="90" y="309"/>
                </a:cubicBezTo>
                <a:cubicBezTo>
                  <a:pt x="256" y="219"/>
                  <a:pt x="256" y="219"/>
                  <a:pt x="256" y="219"/>
                </a:cubicBezTo>
                <a:cubicBezTo>
                  <a:pt x="264" y="215"/>
                  <a:pt x="270" y="210"/>
                  <a:pt x="276" y="202"/>
                </a:cubicBezTo>
                <a:cubicBezTo>
                  <a:pt x="276" y="201"/>
                  <a:pt x="276" y="201"/>
                  <a:pt x="276" y="201"/>
                </a:cubicBezTo>
                <a:cubicBezTo>
                  <a:pt x="282" y="194"/>
                  <a:pt x="285" y="184"/>
                  <a:pt x="285" y="171"/>
                </a:cubicBezTo>
                <a:cubicBezTo>
                  <a:pt x="285" y="158"/>
                  <a:pt x="282" y="147"/>
                  <a:pt x="276" y="140"/>
                </a:cubicBezTo>
                <a:close/>
              </a:path>
            </a:pathLst>
          </a:custGeom>
          <a:solidFill>
            <a:srgbClr val="009530"/>
          </a:solidFill>
          <a:ln w="9525">
            <a:noFill/>
            <a:round/>
            <a:headEnd/>
            <a:tailEnd/>
          </a:ln>
        </p:spPr>
        <p:txBody>
          <a:bodyPr vert="horz" wrap="square" lIns="91432" tIns="45717" rIns="91432" bIns="45717"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25473032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6" name="Picture 5" descr="C:\Users\sesa196077\Desktop\20160323\connected_products-06.png"/>
          <p:cNvPicPr>
            <a:picLocks noChangeAspect="1" noChangeArrowheads="1"/>
          </p:cNvPicPr>
          <p:nvPr/>
        </p:nvPicPr>
        <p:blipFill>
          <a:blip r:embed="rId3" cstate="print"/>
          <a:srcRect t="89713"/>
          <a:stretch>
            <a:fillRect/>
          </a:stretch>
        </p:blipFill>
        <p:spPr bwMode="auto">
          <a:xfrm>
            <a:off x="421" y="6152466"/>
            <a:ext cx="12186851" cy="705342"/>
          </a:xfrm>
          <a:prstGeom prst="rect">
            <a:avLst/>
          </a:prstGeom>
          <a:noFill/>
        </p:spPr>
      </p:pic>
      <p:grpSp>
        <p:nvGrpSpPr>
          <p:cNvPr id="13" name="Group 12"/>
          <p:cNvGrpSpPr/>
          <p:nvPr/>
        </p:nvGrpSpPr>
        <p:grpSpPr>
          <a:xfrm>
            <a:off x="1588" y="166450"/>
            <a:ext cx="12185650" cy="1068914"/>
            <a:chOff x="1" y="165600"/>
            <a:chExt cx="12188824" cy="1069192"/>
          </a:xfrm>
        </p:grpSpPr>
        <p:sp>
          <p:nvSpPr>
            <p:cNvPr id="14" name="Rectangle 13"/>
            <p:cNvSpPr/>
            <p:nvPr/>
          </p:nvSpPr>
          <p:spPr>
            <a:xfrm>
              <a:off x="1" y="165600"/>
              <a:ext cx="12188824" cy="681800"/>
            </a:xfrm>
            <a:prstGeom prst="rect">
              <a:avLst/>
            </a:prstGeom>
            <a:solidFill>
              <a:srgbClr val="3CCD58">
                <a:alpha val="70000"/>
              </a:srgbClr>
            </a:solidFill>
            <a:ln>
              <a:noFill/>
            </a:ln>
            <a:effectLst/>
          </p:spPr>
          <p:style>
            <a:lnRef idx="1">
              <a:schemeClr val="accent1"/>
            </a:lnRef>
            <a:fillRef idx="3">
              <a:schemeClr val="accent1"/>
            </a:fillRef>
            <a:effectRef idx="2">
              <a:schemeClr val="accent1"/>
            </a:effectRef>
            <a:fontRef idx="minor">
              <a:schemeClr val="lt1"/>
            </a:fontRef>
          </p:style>
          <p:txBody>
            <a:bodyPr lIns="55426" tIns="27713" rIns="55426" bIns="27713" spcCol="0" rtlCol="0" anchor="ctr"/>
            <a:lstStyle/>
            <a:p>
              <a:pPr algn="ctr" defTabSz="608051">
                <a:defRPr/>
              </a:pPr>
              <a:endParaRPr lang="en-US" sz="2399" kern="0">
                <a:solidFill>
                  <a:prstClr val="white"/>
                </a:solidFill>
                <a:latin typeface="Arial Rounded MT Std" charset="0"/>
                <a:ea typeface="Arial Rounded MT Std" charset="0"/>
                <a:cs typeface="Arial Rounded MT Std" charset="0"/>
              </a:endParaRPr>
            </a:p>
          </p:txBody>
        </p:sp>
        <p:sp>
          <p:nvSpPr>
            <p:cNvPr id="15" name="Rectangle 14"/>
            <p:cNvSpPr/>
            <p:nvPr/>
          </p:nvSpPr>
          <p:spPr>
            <a:xfrm>
              <a:off x="1" y="255600"/>
              <a:ext cx="12188824" cy="979192"/>
            </a:xfrm>
            <a:prstGeom prst="rect">
              <a:avLst/>
            </a:prstGeom>
            <a:solidFill>
              <a:srgbClr val="3CCD58"/>
            </a:solidFill>
            <a:ln>
              <a:noFill/>
            </a:ln>
            <a:effectLst/>
          </p:spPr>
          <p:style>
            <a:lnRef idx="1">
              <a:schemeClr val="accent1"/>
            </a:lnRef>
            <a:fillRef idx="3">
              <a:schemeClr val="accent1"/>
            </a:fillRef>
            <a:effectRef idx="2">
              <a:schemeClr val="accent1"/>
            </a:effectRef>
            <a:fontRef idx="minor">
              <a:schemeClr val="lt1"/>
            </a:fontRef>
          </p:style>
          <p:txBody>
            <a:bodyPr lIns="55426" tIns="27713" rIns="55426" bIns="27713" spcCol="0" rtlCol="0" anchor="ctr"/>
            <a:lstStyle/>
            <a:p>
              <a:pPr algn="ctr" defTabSz="608051">
                <a:defRPr/>
              </a:pPr>
              <a:endParaRPr lang="en-US" sz="2399" kern="0">
                <a:solidFill>
                  <a:prstClr val="white"/>
                </a:solidFill>
                <a:latin typeface="Arial Rounded MT Std" charset="0"/>
                <a:ea typeface="Arial Rounded MT Std" charset="0"/>
                <a:cs typeface="Arial Rounded MT Std" charset="0"/>
              </a:endParaRPr>
            </a:p>
          </p:txBody>
        </p:sp>
      </p:grpSp>
      <p:sp>
        <p:nvSpPr>
          <p:cNvPr id="17" name="object 16"/>
          <p:cNvSpPr txBox="1">
            <a:spLocks/>
          </p:cNvSpPr>
          <p:nvPr/>
        </p:nvSpPr>
        <p:spPr>
          <a:xfrm>
            <a:off x="553797" y="378555"/>
            <a:ext cx="11513285" cy="738664"/>
          </a:xfrm>
          <a:prstGeom prst="rect">
            <a:avLst/>
          </a:prstGeom>
        </p:spPr>
        <p:txBody>
          <a:bodyPr vert="horz" wrap="square" lIns="0" tIns="0" rIns="0" bIns="0" rtlCol="0">
            <a:spAutoFit/>
          </a:bodyPr>
          <a:lstStyle>
            <a:lvl1pPr>
              <a:defRPr sz="5050" b="1" i="0">
                <a:solidFill>
                  <a:srgbClr val="3CC957"/>
                </a:solidFill>
                <a:latin typeface="Arial"/>
                <a:ea typeface="+mj-ea"/>
                <a:cs typeface="Arial"/>
              </a:defRPr>
            </a:lvl1pPr>
          </a:lstStyle>
          <a:p>
            <a:pPr defTabSz="608051">
              <a:defRPr/>
            </a:pPr>
            <a:r>
              <a:rPr lang="en-US" sz="2399" kern="0" dirty="0">
                <a:solidFill>
                  <a:srgbClr val="000000"/>
                </a:solidFill>
                <a:latin typeface="Arial Rounded MT Std"/>
                <a:cs typeface="Arial Rounded MT Std"/>
              </a:rPr>
              <a:t> </a:t>
            </a:r>
            <a:r>
              <a:rPr lang="en-US" sz="2800" kern="0" dirty="0" err="1">
                <a:solidFill>
                  <a:srgbClr val="000000"/>
                </a:solidFill>
                <a:latin typeface="Arial Rounded MT Std"/>
                <a:cs typeface="Arial Rounded MT Std"/>
              </a:rPr>
              <a:t>Propunem</a:t>
            </a:r>
            <a:r>
              <a:rPr lang="en-US" sz="2800" kern="0" dirty="0">
                <a:solidFill>
                  <a:srgbClr val="000000"/>
                </a:solidFill>
                <a:latin typeface="Arial Rounded MT Std"/>
                <a:cs typeface="Arial Rounded MT Std"/>
              </a:rPr>
              <a:t> </a:t>
            </a:r>
            <a:r>
              <a:rPr lang="en-US" sz="2800" i="1" kern="0" dirty="0" err="1">
                <a:solidFill>
                  <a:schemeClr val="tx1"/>
                </a:solidFill>
                <a:latin typeface="Arial Rounded MT Std"/>
                <a:cs typeface="Arial Rounded MT Std"/>
              </a:rPr>
              <a:t>EcoStruxure</a:t>
            </a:r>
            <a:r>
              <a:rPr lang="en-US" sz="2800" i="1" kern="0" dirty="0">
                <a:solidFill>
                  <a:schemeClr val="tx1"/>
                </a:solidFill>
                <a:latin typeface="Arial Rounded MT Std"/>
                <a:cs typeface="Arial Rounded MT Std"/>
              </a:rPr>
              <a:t> Power </a:t>
            </a:r>
            <a:r>
              <a:rPr lang="en-US" sz="2800" kern="0" dirty="0">
                <a:solidFill>
                  <a:srgbClr val="000000"/>
                </a:solidFill>
                <a:latin typeface="Arial Rounded MT Std"/>
                <a:cs typeface="Arial Rounded MT Std"/>
              </a:rPr>
              <a:t>: </a:t>
            </a:r>
            <a:r>
              <a:rPr lang="en-US" sz="2800" kern="0" dirty="0" err="1">
                <a:solidFill>
                  <a:srgbClr val="000000"/>
                </a:solidFill>
                <a:latin typeface="Arial Rounded MT Std"/>
                <a:cs typeface="Arial Rounded MT Std"/>
              </a:rPr>
              <a:t>Solutie</a:t>
            </a:r>
            <a:r>
              <a:rPr lang="en-US" sz="2800" kern="0" dirty="0">
                <a:solidFill>
                  <a:srgbClr val="000000"/>
                </a:solidFill>
                <a:latin typeface="Arial Rounded MT Std"/>
                <a:cs typeface="Arial Rounded MT Std"/>
              </a:rPr>
              <a:t> de </a:t>
            </a:r>
            <a:r>
              <a:rPr lang="en-US" sz="2800" kern="0" dirty="0" err="1">
                <a:solidFill>
                  <a:srgbClr val="000000"/>
                </a:solidFill>
                <a:latin typeface="Arial Rounded MT Std"/>
                <a:cs typeface="Arial Rounded MT Std"/>
              </a:rPr>
              <a:t>Excelenta</a:t>
            </a:r>
            <a:r>
              <a:rPr lang="en-US" sz="2800" kern="0" dirty="0">
                <a:solidFill>
                  <a:srgbClr val="000000"/>
                </a:solidFill>
                <a:latin typeface="Arial Rounded MT Std"/>
                <a:cs typeface="Arial Rounded MT Std"/>
              </a:rPr>
              <a:t> </a:t>
            </a:r>
            <a:r>
              <a:rPr lang="en-US" sz="2800" kern="0" dirty="0" err="1">
                <a:solidFill>
                  <a:srgbClr val="000000"/>
                </a:solidFill>
                <a:latin typeface="Arial Rounded MT Std"/>
                <a:cs typeface="Arial Rounded MT Std"/>
              </a:rPr>
              <a:t>Operationala</a:t>
            </a:r>
            <a:endParaRPr lang="en-US" sz="2800" kern="0" dirty="0">
              <a:solidFill>
                <a:srgbClr val="000000"/>
              </a:solidFill>
              <a:latin typeface="Arial Rounded MT Std"/>
              <a:cs typeface="Arial Rounded MT Std"/>
            </a:endParaRPr>
          </a:p>
          <a:p>
            <a:pPr defTabSz="608051">
              <a:defRPr/>
            </a:pPr>
            <a:r>
              <a:rPr lang="en-US" sz="2000" b="0" kern="0" dirty="0">
                <a:solidFill>
                  <a:srgbClr val="000000"/>
                </a:solidFill>
                <a:latin typeface="Arial Rounded MT Std"/>
                <a:cs typeface="Arial Rounded MT Std"/>
              </a:rPr>
              <a:t>  De la DATE </a:t>
            </a:r>
            <a:r>
              <a:rPr lang="en-US" sz="2000" b="0" kern="0" dirty="0" err="1">
                <a:solidFill>
                  <a:srgbClr val="000000"/>
                </a:solidFill>
                <a:latin typeface="Arial Rounded MT Std"/>
                <a:cs typeface="Arial Rounded MT Std"/>
              </a:rPr>
              <a:t>catre</a:t>
            </a:r>
            <a:r>
              <a:rPr lang="en-US" sz="2000" b="0" kern="0" dirty="0">
                <a:solidFill>
                  <a:srgbClr val="000000"/>
                </a:solidFill>
                <a:latin typeface="Arial Rounded MT Std"/>
                <a:cs typeface="Arial Rounded MT Std"/>
              </a:rPr>
              <a:t> DECIZII INTELIGENTE</a:t>
            </a:r>
          </a:p>
        </p:txBody>
      </p:sp>
      <p:sp>
        <p:nvSpPr>
          <p:cNvPr id="35" name="object 7"/>
          <p:cNvSpPr/>
          <p:nvPr/>
        </p:nvSpPr>
        <p:spPr>
          <a:xfrm>
            <a:off x="1502961" y="5079539"/>
            <a:ext cx="9182904" cy="899766"/>
          </a:xfrm>
          <a:custGeom>
            <a:avLst/>
            <a:gdLst/>
            <a:ahLst/>
            <a:cxnLst/>
            <a:rect l="l" t="t" r="r" b="b"/>
            <a:pathLst>
              <a:path w="20104100" h="2818129">
                <a:moveTo>
                  <a:pt x="0" y="2817987"/>
                </a:moveTo>
                <a:lnTo>
                  <a:pt x="20104099" y="2817987"/>
                </a:lnTo>
                <a:lnTo>
                  <a:pt x="20104099" y="0"/>
                </a:lnTo>
                <a:lnTo>
                  <a:pt x="0" y="0"/>
                </a:lnTo>
                <a:lnTo>
                  <a:pt x="0" y="2817987"/>
                </a:lnTo>
                <a:close/>
              </a:path>
            </a:pathLst>
          </a:custGeom>
          <a:solidFill>
            <a:srgbClr val="3DCD58">
              <a:alpha val="98039"/>
            </a:srgbClr>
          </a:solidFill>
          <a:ln>
            <a:noFill/>
          </a:ln>
        </p:spPr>
        <p:txBody>
          <a:bodyPr wrap="square" lIns="0" tIns="0" rIns="0" bIns="0" rtlCol="0"/>
          <a:lstStyle/>
          <a:p>
            <a:pPr defTabSz="608051">
              <a:defRPr/>
            </a:pPr>
            <a:endParaRPr sz="2399" kern="0">
              <a:solidFill>
                <a:prstClr val="white"/>
              </a:solidFill>
              <a:latin typeface="Calibri"/>
            </a:endParaRPr>
          </a:p>
        </p:txBody>
      </p:sp>
      <p:grpSp>
        <p:nvGrpSpPr>
          <p:cNvPr id="55" name="Group 54"/>
          <p:cNvGrpSpPr/>
          <p:nvPr/>
        </p:nvGrpSpPr>
        <p:grpSpPr>
          <a:xfrm>
            <a:off x="1502962" y="2210120"/>
            <a:ext cx="1979484" cy="1979484"/>
            <a:chOff x="1397000" y="2146300"/>
            <a:chExt cx="1980000" cy="1980000"/>
          </a:xfrm>
        </p:grpSpPr>
        <p:sp>
          <p:nvSpPr>
            <p:cNvPr id="39" name="Rounded Rectangle 38"/>
            <p:cNvSpPr/>
            <p:nvPr/>
          </p:nvSpPr>
          <p:spPr>
            <a:xfrm>
              <a:off x="1397000" y="2146300"/>
              <a:ext cx="1980000" cy="1980000"/>
            </a:xfrm>
            <a:prstGeom prst="roundRect">
              <a:avLst>
                <a:gd name="adj" fmla="val 4565"/>
              </a:avLst>
            </a:prstGeom>
            <a:solidFill>
              <a:srgbClr val="3CCD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8051">
                <a:defRPr/>
              </a:pPr>
              <a:endParaRPr lang="en-US" sz="2399" kern="0">
                <a:solidFill>
                  <a:prstClr val="white"/>
                </a:solidFill>
                <a:latin typeface="Calibri"/>
              </a:endParaRPr>
            </a:p>
          </p:txBody>
        </p:sp>
        <p:sp>
          <p:nvSpPr>
            <p:cNvPr id="38" name="object 119"/>
            <p:cNvSpPr txBox="1"/>
            <p:nvPr/>
          </p:nvSpPr>
          <p:spPr>
            <a:xfrm>
              <a:off x="1575373" y="2430892"/>
              <a:ext cx="1655541" cy="208060"/>
            </a:xfrm>
            <a:prstGeom prst="rect">
              <a:avLst/>
            </a:prstGeom>
          </p:spPr>
          <p:txBody>
            <a:bodyPr vert="horz" wrap="square" lIns="0" tIns="0" rIns="0" bIns="0" rtlCol="0">
              <a:spAutoFit/>
            </a:bodyPr>
            <a:lstStyle/>
            <a:p>
              <a:pPr marL="124068" marR="3078" indent="-116772" algn="ctr" defTabSz="608051">
                <a:lnSpc>
                  <a:spcPct val="77600"/>
                </a:lnSpc>
                <a:defRPr/>
              </a:pPr>
              <a:r>
                <a:rPr lang="en-US" sz="1733" b="1" kern="0" dirty="0">
                  <a:solidFill>
                    <a:srgbClr val="000000"/>
                  </a:solidFill>
                  <a:latin typeface="Arial Rounded MT Std" pitchFamily="34" charset="0"/>
                  <a:cs typeface="Arial"/>
                </a:rPr>
                <a:t>CONECTEAZA</a:t>
              </a:r>
              <a:endParaRPr sz="1733" b="1" kern="0" dirty="0">
                <a:solidFill>
                  <a:srgbClr val="000000"/>
                </a:solidFill>
                <a:latin typeface="Arial Rounded MT Std" pitchFamily="34" charset="0"/>
                <a:cs typeface="Arial"/>
              </a:endParaRPr>
            </a:p>
          </p:txBody>
        </p:sp>
        <p:sp>
          <p:nvSpPr>
            <p:cNvPr id="22" name="Freeform 6"/>
            <p:cNvSpPr>
              <a:spLocks/>
            </p:cNvSpPr>
            <p:nvPr/>
          </p:nvSpPr>
          <p:spPr bwMode="auto">
            <a:xfrm>
              <a:off x="2105631" y="2926051"/>
              <a:ext cx="468997" cy="510734"/>
            </a:xfrm>
            <a:custGeom>
              <a:avLst/>
              <a:gdLst/>
              <a:ahLst/>
              <a:cxnLst>
                <a:cxn ang="0">
                  <a:pos x="306" y="419"/>
                </a:cxn>
                <a:cxn ang="0">
                  <a:pos x="363" y="378"/>
                </a:cxn>
                <a:cxn ang="0">
                  <a:pos x="314" y="231"/>
                </a:cxn>
                <a:cxn ang="0">
                  <a:pos x="294" y="233"/>
                </a:cxn>
                <a:cxn ang="0">
                  <a:pos x="273" y="235"/>
                </a:cxn>
                <a:cxn ang="0">
                  <a:pos x="261" y="241"/>
                </a:cxn>
                <a:cxn ang="0">
                  <a:pos x="242" y="245"/>
                </a:cxn>
                <a:cxn ang="0">
                  <a:pos x="227" y="250"/>
                </a:cxn>
                <a:cxn ang="0">
                  <a:pos x="202" y="254"/>
                </a:cxn>
                <a:cxn ang="0">
                  <a:pos x="168" y="199"/>
                </a:cxn>
                <a:cxn ang="0">
                  <a:pos x="216" y="320"/>
                </a:cxn>
                <a:cxn ang="0">
                  <a:pos x="199" y="338"/>
                </a:cxn>
                <a:cxn ang="0">
                  <a:pos x="154" y="331"/>
                </a:cxn>
                <a:cxn ang="0">
                  <a:pos x="158" y="337"/>
                </a:cxn>
                <a:cxn ang="0">
                  <a:pos x="148" y="362"/>
                </a:cxn>
                <a:cxn ang="0">
                  <a:pos x="178" y="3"/>
                </a:cxn>
                <a:cxn ang="0">
                  <a:pos x="368" y="176"/>
                </a:cxn>
                <a:cxn ang="0">
                  <a:pos x="353" y="190"/>
                </a:cxn>
                <a:cxn ang="0">
                  <a:pos x="273" y="173"/>
                </a:cxn>
                <a:cxn ang="0">
                  <a:pos x="161" y="102"/>
                </a:cxn>
                <a:cxn ang="0">
                  <a:pos x="134" y="252"/>
                </a:cxn>
                <a:cxn ang="0">
                  <a:pos x="118" y="273"/>
                </a:cxn>
                <a:cxn ang="0">
                  <a:pos x="153" y="77"/>
                </a:cxn>
                <a:cxn ang="0">
                  <a:pos x="298" y="159"/>
                </a:cxn>
                <a:cxn ang="0">
                  <a:pos x="291" y="70"/>
                </a:cxn>
                <a:cxn ang="0">
                  <a:pos x="31" y="191"/>
                </a:cxn>
                <a:cxn ang="0">
                  <a:pos x="131" y="318"/>
                </a:cxn>
                <a:cxn ang="0">
                  <a:pos x="180" y="304"/>
                </a:cxn>
                <a:cxn ang="0">
                  <a:pos x="136" y="204"/>
                </a:cxn>
                <a:cxn ang="0">
                  <a:pos x="193" y="177"/>
                </a:cxn>
                <a:cxn ang="0">
                  <a:pos x="215" y="219"/>
                </a:cxn>
                <a:cxn ang="0">
                  <a:pos x="246" y="217"/>
                </a:cxn>
                <a:cxn ang="0">
                  <a:pos x="281" y="208"/>
                </a:cxn>
                <a:cxn ang="0">
                  <a:pos x="333" y="213"/>
                </a:cxn>
                <a:cxn ang="0">
                  <a:pos x="391" y="385"/>
                </a:cxn>
                <a:cxn ang="0">
                  <a:pos x="324" y="425"/>
                </a:cxn>
              </a:cxnLst>
              <a:rect l="0" t="0" r="r" b="b"/>
              <a:pathLst>
                <a:path w="392" h="427">
                  <a:moveTo>
                    <a:pt x="318" y="427"/>
                  </a:moveTo>
                  <a:cubicBezTo>
                    <a:pt x="313" y="427"/>
                    <a:pt x="308" y="424"/>
                    <a:pt x="306" y="419"/>
                  </a:cubicBezTo>
                  <a:cubicBezTo>
                    <a:pt x="303" y="412"/>
                    <a:pt x="306" y="404"/>
                    <a:pt x="313" y="401"/>
                  </a:cubicBezTo>
                  <a:cubicBezTo>
                    <a:pt x="363" y="378"/>
                    <a:pt x="363" y="378"/>
                    <a:pt x="363" y="378"/>
                  </a:cubicBezTo>
                  <a:cubicBezTo>
                    <a:pt x="351" y="267"/>
                    <a:pt x="339" y="255"/>
                    <a:pt x="323" y="239"/>
                  </a:cubicBezTo>
                  <a:cubicBezTo>
                    <a:pt x="320" y="237"/>
                    <a:pt x="317" y="234"/>
                    <a:pt x="314" y="231"/>
                  </a:cubicBezTo>
                  <a:cubicBezTo>
                    <a:pt x="311" y="228"/>
                    <a:pt x="308" y="225"/>
                    <a:pt x="304" y="225"/>
                  </a:cubicBezTo>
                  <a:cubicBezTo>
                    <a:pt x="300" y="225"/>
                    <a:pt x="296" y="230"/>
                    <a:pt x="294" y="233"/>
                  </a:cubicBezTo>
                  <a:cubicBezTo>
                    <a:pt x="292" y="236"/>
                    <a:pt x="288" y="238"/>
                    <a:pt x="284" y="239"/>
                  </a:cubicBezTo>
                  <a:cubicBezTo>
                    <a:pt x="280" y="239"/>
                    <a:pt x="276" y="238"/>
                    <a:pt x="273" y="235"/>
                  </a:cubicBezTo>
                  <a:cubicBezTo>
                    <a:pt x="272" y="233"/>
                    <a:pt x="270" y="232"/>
                    <a:pt x="270" y="232"/>
                  </a:cubicBezTo>
                  <a:cubicBezTo>
                    <a:pt x="267" y="233"/>
                    <a:pt x="263" y="238"/>
                    <a:pt x="261" y="241"/>
                  </a:cubicBezTo>
                  <a:cubicBezTo>
                    <a:pt x="259" y="244"/>
                    <a:pt x="256" y="246"/>
                    <a:pt x="252" y="247"/>
                  </a:cubicBezTo>
                  <a:cubicBezTo>
                    <a:pt x="248" y="248"/>
                    <a:pt x="245" y="247"/>
                    <a:pt x="242" y="245"/>
                  </a:cubicBezTo>
                  <a:cubicBezTo>
                    <a:pt x="234" y="240"/>
                    <a:pt x="231" y="240"/>
                    <a:pt x="231" y="240"/>
                  </a:cubicBezTo>
                  <a:cubicBezTo>
                    <a:pt x="229" y="241"/>
                    <a:pt x="228" y="247"/>
                    <a:pt x="227" y="250"/>
                  </a:cubicBezTo>
                  <a:cubicBezTo>
                    <a:pt x="227" y="256"/>
                    <a:pt x="222" y="261"/>
                    <a:pt x="216" y="262"/>
                  </a:cubicBezTo>
                  <a:cubicBezTo>
                    <a:pt x="210" y="263"/>
                    <a:pt x="204" y="260"/>
                    <a:pt x="202" y="254"/>
                  </a:cubicBezTo>
                  <a:cubicBezTo>
                    <a:pt x="177" y="199"/>
                    <a:pt x="177" y="199"/>
                    <a:pt x="177" y="199"/>
                  </a:cubicBezTo>
                  <a:cubicBezTo>
                    <a:pt x="174" y="198"/>
                    <a:pt x="171" y="198"/>
                    <a:pt x="168" y="199"/>
                  </a:cubicBezTo>
                  <a:cubicBezTo>
                    <a:pt x="166" y="200"/>
                    <a:pt x="164" y="203"/>
                    <a:pt x="163" y="205"/>
                  </a:cubicBezTo>
                  <a:cubicBezTo>
                    <a:pt x="216" y="320"/>
                    <a:pt x="216" y="320"/>
                    <a:pt x="216" y="320"/>
                  </a:cubicBezTo>
                  <a:cubicBezTo>
                    <a:pt x="219" y="325"/>
                    <a:pt x="218" y="331"/>
                    <a:pt x="214" y="335"/>
                  </a:cubicBezTo>
                  <a:cubicBezTo>
                    <a:pt x="210" y="339"/>
                    <a:pt x="204" y="340"/>
                    <a:pt x="199" y="338"/>
                  </a:cubicBezTo>
                  <a:cubicBezTo>
                    <a:pt x="199" y="338"/>
                    <a:pt x="191" y="335"/>
                    <a:pt x="167" y="329"/>
                  </a:cubicBezTo>
                  <a:cubicBezTo>
                    <a:pt x="160" y="327"/>
                    <a:pt x="155" y="329"/>
                    <a:pt x="154" y="331"/>
                  </a:cubicBezTo>
                  <a:cubicBezTo>
                    <a:pt x="153" y="333"/>
                    <a:pt x="153" y="334"/>
                    <a:pt x="154" y="335"/>
                  </a:cubicBezTo>
                  <a:cubicBezTo>
                    <a:pt x="158" y="337"/>
                    <a:pt x="158" y="337"/>
                    <a:pt x="158" y="337"/>
                  </a:cubicBezTo>
                  <a:cubicBezTo>
                    <a:pt x="163" y="341"/>
                    <a:pt x="165" y="347"/>
                    <a:pt x="163" y="353"/>
                  </a:cubicBezTo>
                  <a:cubicBezTo>
                    <a:pt x="161" y="359"/>
                    <a:pt x="154" y="363"/>
                    <a:pt x="148" y="362"/>
                  </a:cubicBezTo>
                  <a:cubicBezTo>
                    <a:pt x="67" y="344"/>
                    <a:pt x="8" y="274"/>
                    <a:pt x="5" y="192"/>
                  </a:cubicBezTo>
                  <a:cubicBezTo>
                    <a:pt x="0" y="92"/>
                    <a:pt x="78" y="7"/>
                    <a:pt x="178" y="3"/>
                  </a:cubicBezTo>
                  <a:cubicBezTo>
                    <a:pt x="227" y="0"/>
                    <a:pt x="273" y="17"/>
                    <a:pt x="309" y="50"/>
                  </a:cubicBezTo>
                  <a:cubicBezTo>
                    <a:pt x="345" y="83"/>
                    <a:pt x="366" y="128"/>
                    <a:pt x="368" y="176"/>
                  </a:cubicBezTo>
                  <a:cubicBezTo>
                    <a:pt x="368" y="180"/>
                    <a:pt x="366" y="183"/>
                    <a:pt x="364" y="186"/>
                  </a:cubicBezTo>
                  <a:cubicBezTo>
                    <a:pt x="361" y="189"/>
                    <a:pt x="357" y="190"/>
                    <a:pt x="353" y="190"/>
                  </a:cubicBezTo>
                  <a:cubicBezTo>
                    <a:pt x="285" y="185"/>
                    <a:pt x="285" y="185"/>
                    <a:pt x="285" y="185"/>
                  </a:cubicBezTo>
                  <a:cubicBezTo>
                    <a:pt x="279" y="184"/>
                    <a:pt x="274" y="179"/>
                    <a:pt x="273" y="173"/>
                  </a:cubicBezTo>
                  <a:cubicBezTo>
                    <a:pt x="270" y="145"/>
                    <a:pt x="252" y="120"/>
                    <a:pt x="227" y="107"/>
                  </a:cubicBezTo>
                  <a:cubicBezTo>
                    <a:pt x="206" y="97"/>
                    <a:pt x="183" y="95"/>
                    <a:pt x="161" y="102"/>
                  </a:cubicBezTo>
                  <a:cubicBezTo>
                    <a:pt x="139" y="109"/>
                    <a:pt x="121" y="124"/>
                    <a:pt x="111" y="145"/>
                  </a:cubicBezTo>
                  <a:cubicBezTo>
                    <a:pt x="92" y="181"/>
                    <a:pt x="102" y="226"/>
                    <a:pt x="134" y="252"/>
                  </a:cubicBezTo>
                  <a:cubicBezTo>
                    <a:pt x="140" y="256"/>
                    <a:pt x="141" y="265"/>
                    <a:pt x="137" y="270"/>
                  </a:cubicBezTo>
                  <a:cubicBezTo>
                    <a:pt x="132" y="276"/>
                    <a:pt x="124" y="277"/>
                    <a:pt x="118" y="273"/>
                  </a:cubicBezTo>
                  <a:cubicBezTo>
                    <a:pt x="76" y="239"/>
                    <a:pt x="63" y="181"/>
                    <a:pt x="87" y="133"/>
                  </a:cubicBezTo>
                  <a:cubicBezTo>
                    <a:pt x="101" y="106"/>
                    <a:pt x="124" y="86"/>
                    <a:pt x="153" y="77"/>
                  </a:cubicBezTo>
                  <a:cubicBezTo>
                    <a:pt x="182" y="67"/>
                    <a:pt x="212" y="70"/>
                    <a:pt x="239" y="83"/>
                  </a:cubicBezTo>
                  <a:cubicBezTo>
                    <a:pt x="269" y="99"/>
                    <a:pt x="290" y="126"/>
                    <a:pt x="298" y="159"/>
                  </a:cubicBezTo>
                  <a:cubicBezTo>
                    <a:pt x="340" y="162"/>
                    <a:pt x="340" y="162"/>
                    <a:pt x="340" y="162"/>
                  </a:cubicBezTo>
                  <a:cubicBezTo>
                    <a:pt x="335" y="127"/>
                    <a:pt x="318" y="94"/>
                    <a:pt x="291" y="70"/>
                  </a:cubicBezTo>
                  <a:cubicBezTo>
                    <a:pt x="260" y="42"/>
                    <a:pt x="221" y="27"/>
                    <a:pt x="179" y="29"/>
                  </a:cubicBezTo>
                  <a:cubicBezTo>
                    <a:pt x="94" y="33"/>
                    <a:pt x="28" y="105"/>
                    <a:pt x="31" y="191"/>
                  </a:cubicBezTo>
                  <a:cubicBezTo>
                    <a:pt x="34" y="252"/>
                    <a:pt x="72" y="305"/>
                    <a:pt x="127" y="327"/>
                  </a:cubicBezTo>
                  <a:cubicBezTo>
                    <a:pt x="128" y="324"/>
                    <a:pt x="129" y="321"/>
                    <a:pt x="131" y="318"/>
                  </a:cubicBezTo>
                  <a:cubicBezTo>
                    <a:pt x="139" y="304"/>
                    <a:pt x="155" y="298"/>
                    <a:pt x="174" y="303"/>
                  </a:cubicBezTo>
                  <a:cubicBezTo>
                    <a:pt x="176" y="303"/>
                    <a:pt x="178" y="304"/>
                    <a:pt x="180" y="304"/>
                  </a:cubicBezTo>
                  <a:cubicBezTo>
                    <a:pt x="137" y="212"/>
                    <a:pt x="137" y="212"/>
                    <a:pt x="137" y="212"/>
                  </a:cubicBezTo>
                  <a:cubicBezTo>
                    <a:pt x="136" y="210"/>
                    <a:pt x="136" y="207"/>
                    <a:pt x="136" y="204"/>
                  </a:cubicBezTo>
                  <a:cubicBezTo>
                    <a:pt x="136" y="202"/>
                    <a:pt x="140" y="183"/>
                    <a:pt x="156" y="175"/>
                  </a:cubicBezTo>
                  <a:cubicBezTo>
                    <a:pt x="163" y="172"/>
                    <a:pt x="176" y="169"/>
                    <a:pt x="193" y="177"/>
                  </a:cubicBezTo>
                  <a:cubicBezTo>
                    <a:pt x="195" y="179"/>
                    <a:pt x="198" y="181"/>
                    <a:pt x="199" y="184"/>
                  </a:cubicBezTo>
                  <a:cubicBezTo>
                    <a:pt x="215" y="219"/>
                    <a:pt x="215" y="219"/>
                    <a:pt x="215" y="219"/>
                  </a:cubicBezTo>
                  <a:cubicBezTo>
                    <a:pt x="216" y="218"/>
                    <a:pt x="218" y="217"/>
                    <a:pt x="219" y="216"/>
                  </a:cubicBezTo>
                  <a:cubicBezTo>
                    <a:pt x="227" y="213"/>
                    <a:pt x="236" y="213"/>
                    <a:pt x="246" y="217"/>
                  </a:cubicBezTo>
                  <a:cubicBezTo>
                    <a:pt x="251" y="212"/>
                    <a:pt x="258" y="207"/>
                    <a:pt x="267" y="206"/>
                  </a:cubicBezTo>
                  <a:cubicBezTo>
                    <a:pt x="270" y="205"/>
                    <a:pt x="275" y="206"/>
                    <a:pt x="281" y="208"/>
                  </a:cubicBezTo>
                  <a:cubicBezTo>
                    <a:pt x="286" y="203"/>
                    <a:pt x="293" y="199"/>
                    <a:pt x="302" y="198"/>
                  </a:cubicBezTo>
                  <a:cubicBezTo>
                    <a:pt x="310" y="198"/>
                    <a:pt x="322" y="200"/>
                    <a:pt x="333" y="213"/>
                  </a:cubicBezTo>
                  <a:cubicBezTo>
                    <a:pt x="336" y="215"/>
                    <a:pt x="339" y="218"/>
                    <a:pt x="341" y="220"/>
                  </a:cubicBezTo>
                  <a:cubicBezTo>
                    <a:pt x="362" y="240"/>
                    <a:pt x="378" y="256"/>
                    <a:pt x="391" y="385"/>
                  </a:cubicBezTo>
                  <a:cubicBezTo>
                    <a:pt x="392" y="390"/>
                    <a:pt x="388" y="396"/>
                    <a:pt x="383" y="398"/>
                  </a:cubicBezTo>
                  <a:cubicBezTo>
                    <a:pt x="324" y="425"/>
                    <a:pt x="324" y="425"/>
                    <a:pt x="324" y="425"/>
                  </a:cubicBezTo>
                  <a:cubicBezTo>
                    <a:pt x="322" y="426"/>
                    <a:pt x="320" y="427"/>
                    <a:pt x="318" y="427"/>
                  </a:cubicBezTo>
                  <a:close/>
                </a:path>
              </a:pathLst>
            </a:custGeom>
            <a:solidFill>
              <a:schemeClr val="bg1"/>
            </a:solidFill>
            <a:ln w="9525">
              <a:noFill/>
              <a:round/>
              <a:headEnd/>
              <a:tailEnd/>
            </a:ln>
          </p:spPr>
          <p:txBody>
            <a:bodyPr vert="horz" wrap="square" lIns="68569" tIns="34286" rIns="68569" bIns="34286" numCol="1" anchor="t" anchorCtr="0" compatLnSpc="1">
              <a:prstTxWarp prst="textNoShape">
                <a:avLst/>
              </a:prstTxWarp>
            </a:bodyPr>
            <a:lstStyle/>
            <a:p>
              <a:pPr defTabSz="685423">
                <a:defRPr/>
              </a:pPr>
              <a:endParaRPr lang="en-US" sz="1466" kern="0">
                <a:solidFill>
                  <a:srgbClr val="87D200"/>
                </a:solidFill>
                <a:latin typeface="Calibri"/>
              </a:endParaRPr>
            </a:p>
          </p:txBody>
        </p:sp>
      </p:grpSp>
      <p:grpSp>
        <p:nvGrpSpPr>
          <p:cNvPr id="56" name="Group 55"/>
          <p:cNvGrpSpPr/>
          <p:nvPr/>
        </p:nvGrpSpPr>
        <p:grpSpPr>
          <a:xfrm>
            <a:off x="3904101" y="2210120"/>
            <a:ext cx="1979484" cy="1979484"/>
            <a:chOff x="4089400" y="2146300"/>
            <a:chExt cx="1980000" cy="1980000"/>
          </a:xfrm>
        </p:grpSpPr>
        <p:sp>
          <p:nvSpPr>
            <p:cNvPr id="40" name="Rounded Rectangle 39"/>
            <p:cNvSpPr/>
            <p:nvPr/>
          </p:nvSpPr>
          <p:spPr>
            <a:xfrm>
              <a:off x="4089400" y="2146300"/>
              <a:ext cx="1980000" cy="1980000"/>
            </a:xfrm>
            <a:prstGeom prst="roundRect">
              <a:avLst>
                <a:gd name="adj" fmla="val 4565"/>
              </a:avLst>
            </a:prstGeom>
            <a:solidFill>
              <a:srgbClr val="3CCD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8051">
                <a:defRPr/>
              </a:pPr>
              <a:endParaRPr lang="en-US" sz="2399" kern="0">
                <a:solidFill>
                  <a:prstClr val="white"/>
                </a:solidFill>
                <a:latin typeface="Calibri"/>
              </a:endParaRPr>
            </a:p>
          </p:txBody>
        </p:sp>
        <p:sp>
          <p:nvSpPr>
            <p:cNvPr id="41" name="object 119"/>
            <p:cNvSpPr txBox="1"/>
            <p:nvPr/>
          </p:nvSpPr>
          <p:spPr>
            <a:xfrm>
              <a:off x="4180225" y="2441385"/>
              <a:ext cx="1733029" cy="416119"/>
            </a:xfrm>
            <a:prstGeom prst="rect">
              <a:avLst/>
            </a:prstGeom>
          </p:spPr>
          <p:txBody>
            <a:bodyPr vert="horz" wrap="square" lIns="0" tIns="0" rIns="0" bIns="0" rtlCol="0">
              <a:spAutoFit/>
            </a:bodyPr>
            <a:lstStyle/>
            <a:p>
              <a:pPr marL="124068" marR="3078" indent="-116772" algn="ctr" defTabSz="608051">
                <a:lnSpc>
                  <a:spcPct val="77600"/>
                </a:lnSpc>
                <a:defRPr/>
              </a:pPr>
              <a:r>
                <a:rPr lang="en-US" sz="1733" b="1" kern="0" dirty="0">
                  <a:solidFill>
                    <a:srgbClr val="000000"/>
                  </a:solidFill>
                  <a:latin typeface="Arial Rounded MT Std" pitchFamily="34" charset="0"/>
                  <a:cs typeface="Arial"/>
                </a:rPr>
                <a:t>COLECTEAZA DATE</a:t>
              </a:r>
              <a:endParaRPr sz="1733" b="1" kern="0" dirty="0">
                <a:solidFill>
                  <a:srgbClr val="000000"/>
                </a:solidFill>
                <a:latin typeface="Arial Rounded MT Std" pitchFamily="34" charset="0"/>
                <a:cs typeface="Arial"/>
              </a:endParaRPr>
            </a:p>
          </p:txBody>
        </p:sp>
        <p:sp>
          <p:nvSpPr>
            <p:cNvPr id="23" name="Freeform 449"/>
            <p:cNvSpPr>
              <a:spLocks/>
            </p:cNvSpPr>
            <p:nvPr/>
          </p:nvSpPr>
          <p:spPr bwMode="auto">
            <a:xfrm>
              <a:off x="4932479" y="2993136"/>
              <a:ext cx="293842" cy="556428"/>
            </a:xfrm>
            <a:custGeom>
              <a:avLst/>
              <a:gdLst/>
              <a:ahLst/>
              <a:cxnLst>
                <a:cxn ang="0">
                  <a:pos x="129" y="2"/>
                </a:cxn>
                <a:cxn ang="0">
                  <a:pos x="16" y="54"/>
                </a:cxn>
                <a:cxn ang="0">
                  <a:pos x="16" y="77"/>
                </a:cxn>
                <a:cxn ang="0">
                  <a:pos x="128" y="127"/>
                </a:cxn>
                <a:cxn ang="0">
                  <a:pos x="176" y="119"/>
                </a:cxn>
                <a:cxn ang="0">
                  <a:pos x="118" y="143"/>
                </a:cxn>
                <a:cxn ang="0">
                  <a:pos x="115" y="145"/>
                </a:cxn>
                <a:cxn ang="0">
                  <a:pos x="114" y="146"/>
                </a:cxn>
                <a:cxn ang="0">
                  <a:pos x="113" y="147"/>
                </a:cxn>
                <a:cxn ang="0">
                  <a:pos x="112" y="148"/>
                </a:cxn>
                <a:cxn ang="0">
                  <a:pos x="112" y="148"/>
                </a:cxn>
                <a:cxn ang="0">
                  <a:pos x="111" y="149"/>
                </a:cxn>
                <a:cxn ang="0">
                  <a:pos x="111" y="150"/>
                </a:cxn>
                <a:cxn ang="0">
                  <a:pos x="110" y="155"/>
                </a:cxn>
                <a:cxn ang="0">
                  <a:pos x="110" y="196"/>
                </a:cxn>
                <a:cxn ang="0">
                  <a:pos x="128" y="208"/>
                </a:cxn>
                <a:cxn ang="0">
                  <a:pos x="177" y="200"/>
                </a:cxn>
                <a:cxn ang="0">
                  <a:pos x="110" y="236"/>
                </a:cxn>
                <a:cxn ang="0">
                  <a:pos x="116" y="288"/>
                </a:cxn>
                <a:cxn ang="0">
                  <a:pos x="177" y="270"/>
                </a:cxn>
                <a:cxn ang="0">
                  <a:pos x="119" y="305"/>
                </a:cxn>
                <a:cxn ang="0">
                  <a:pos x="110" y="358"/>
                </a:cxn>
                <a:cxn ang="0">
                  <a:pos x="128" y="370"/>
                </a:cxn>
                <a:cxn ang="0">
                  <a:pos x="177" y="362"/>
                </a:cxn>
                <a:cxn ang="0">
                  <a:pos x="111" y="404"/>
                </a:cxn>
                <a:cxn ang="0">
                  <a:pos x="128" y="411"/>
                </a:cxn>
                <a:cxn ang="0">
                  <a:pos x="203" y="371"/>
                </a:cxn>
                <a:cxn ang="0">
                  <a:pos x="197" y="320"/>
                </a:cxn>
                <a:cxn ang="0">
                  <a:pos x="136" y="338"/>
                </a:cxn>
                <a:cxn ang="0">
                  <a:pos x="195" y="302"/>
                </a:cxn>
                <a:cxn ang="0">
                  <a:pos x="203" y="250"/>
                </a:cxn>
                <a:cxn ang="0">
                  <a:pos x="185" y="237"/>
                </a:cxn>
                <a:cxn ang="0">
                  <a:pos x="136" y="245"/>
                </a:cxn>
                <a:cxn ang="0">
                  <a:pos x="203" y="209"/>
                </a:cxn>
                <a:cxn ang="0">
                  <a:pos x="197" y="158"/>
                </a:cxn>
                <a:cxn ang="0">
                  <a:pos x="136" y="176"/>
                </a:cxn>
                <a:cxn ang="0">
                  <a:pos x="195" y="140"/>
                </a:cxn>
                <a:cxn ang="0">
                  <a:pos x="203" y="88"/>
                </a:cxn>
                <a:cxn ang="0">
                  <a:pos x="185" y="75"/>
                </a:cxn>
                <a:cxn ang="0">
                  <a:pos x="52" y="65"/>
                </a:cxn>
                <a:cxn ang="0">
                  <a:pos x="212" y="74"/>
                </a:cxn>
                <a:cxn ang="0">
                  <a:pos x="123" y="424"/>
                </a:cxn>
                <a:cxn ang="0">
                  <a:pos x="27" y="129"/>
                </a:cxn>
                <a:cxn ang="0">
                  <a:pos x="0" y="129"/>
                </a:cxn>
                <a:cxn ang="0">
                  <a:pos x="7" y="398"/>
                </a:cxn>
                <a:cxn ang="0">
                  <a:pos x="123" y="452"/>
                </a:cxn>
                <a:cxn ang="0">
                  <a:pos x="231" y="406"/>
                </a:cxn>
                <a:cxn ang="0">
                  <a:pos x="239" y="65"/>
                </a:cxn>
              </a:cxnLst>
              <a:rect l="0" t="0" r="r" b="b"/>
              <a:pathLst>
                <a:path w="239" h="452">
                  <a:moveTo>
                    <a:pt x="231" y="54"/>
                  </a:moveTo>
                  <a:cubicBezTo>
                    <a:pt x="129" y="2"/>
                    <a:pt x="129" y="2"/>
                    <a:pt x="129" y="2"/>
                  </a:cubicBezTo>
                  <a:cubicBezTo>
                    <a:pt x="125" y="0"/>
                    <a:pt x="120" y="1"/>
                    <a:pt x="117" y="2"/>
                  </a:cubicBezTo>
                  <a:cubicBezTo>
                    <a:pt x="16" y="54"/>
                    <a:pt x="16" y="54"/>
                    <a:pt x="16" y="54"/>
                  </a:cubicBezTo>
                  <a:cubicBezTo>
                    <a:pt x="12" y="56"/>
                    <a:pt x="9" y="61"/>
                    <a:pt x="9" y="66"/>
                  </a:cubicBezTo>
                  <a:cubicBezTo>
                    <a:pt x="9" y="71"/>
                    <a:pt x="12" y="75"/>
                    <a:pt x="16" y="77"/>
                  </a:cubicBezTo>
                  <a:cubicBezTo>
                    <a:pt x="117" y="127"/>
                    <a:pt x="117" y="127"/>
                    <a:pt x="117" y="127"/>
                  </a:cubicBezTo>
                  <a:cubicBezTo>
                    <a:pt x="120" y="128"/>
                    <a:pt x="124" y="128"/>
                    <a:pt x="128" y="127"/>
                  </a:cubicBezTo>
                  <a:cubicBezTo>
                    <a:pt x="176" y="108"/>
                    <a:pt x="176" y="108"/>
                    <a:pt x="176" y="108"/>
                  </a:cubicBezTo>
                  <a:cubicBezTo>
                    <a:pt x="176" y="119"/>
                    <a:pt x="176" y="119"/>
                    <a:pt x="176" y="119"/>
                  </a:cubicBezTo>
                  <a:cubicBezTo>
                    <a:pt x="118" y="143"/>
                    <a:pt x="118" y="143"/>
                    <a:pt x="118" y="143"/>
                  </a:cubicBezTo>
                  <a:cubicBezTo>
                    <a:pt x="118" y="143"/>
                    <a:pt x="118" y="143"/>
                    <a:pt x="118" y="143"/>
                  </a:cubicBezTo>
                  <a:cubicBezTo>
                    <a:pt x="117" y="143"/>
                    <a:pt x="116" y="144"/>
                    <a:pt x="115" y="144"/>
                  </a:cubicBezTo>
                  <a:cubicBezTo>
                    <a:pt x="115" y="145"/>
                    <a:pt x="115" y="145"/>
                    <a:pt x="115" y="145"/>
                  </a:cubicBezTo>
                  <a:cubicBezTo>
                    <a:pt x="115" y="145"/>
                    <a:pt x="114" y="145"/>
                    <a:pt x="114" y="145"/>
                  </a:cubicBezTo>
                  <a:cubicBezTo>
                    <a:pt x="114" y="145"/>
                    <a:pt x="114" y="146"/>
                    <a:pt x="114" y="146"/>
                  </a:cubicBezTo>
                  <a:cubicBezTo>
                    <a:pt x="114" y="146"/>
                    <a:pt x="114" y="146"/>
                    <a:pt x="113" y="146"/>
                  </a:cubicBezTo>
                  <a:cubicBezTo>
                    <a:pt x="113" y="146"/>
                    <a:pt x="113" y="146"/>
                    <a:pt x="113" y="147"/>
                  </a:cubicBezTo>
                  <a:cubicBezTo>
                    <a:pt x="113" y="147"/>
                    <a:pt x="113" y="147"/>
                    <a:pt x="113" y="147"/>
                  </a:cubicBezTo>
                  <a:cubicBezTo>
                    <a:pt x="112" y="147"/>
                    <a:pt x="112" y="147"/>
                    <a:pt x="112" y="148"/>
                  </a:cubicBezTo>
                  <a:cubicBezTo>
                    <a:pt x="112" y="148"/>
                    <a:pt x="112" y="148"/>
                    <a:pt x="112" y="148"/>
                  </a:cubicBezTo>
                  <a:cubicBezTo>
                    <a:pt x="112" y="148"/>
                    <a:pt x="112" y="148"/>
                    <a:pt x="112" y="148"/>
                  </a:cubicBezTo>
                  <a:cubicBezTo>
                    <a:pt x="111" y="149"/>
                    <a:pt x="111" y="149"/>
                    <a:pt x="111" y="149"/>
                  </a:cubicBezTo>
                  <a:cubicBezTo>
                    <a:pt x="111" y="149"/>
                    <a:pt x="111" y="149"/>
                    <a:pt x="111" y="149"/>
                  </a:cubicBezTo>
                  <a:cubicBezTo>
                    <a:pt x="111" y="150"/>
                    <a:pt x="111" y="150"/>
                    <a:pt x="111" y="150"/>
                  </a:cubicBezTo>
                  <a:cubicBezTo>
                    <a:pt x="111" y="150"/>
                    <a:pt x="111" y="150"/>
                    <a:pt x="111" y="150"/>
                  </a:cubicBezTo>
                  <a:cubicBezTo>
                    <a:pt x="110" y="151"/>
                    <a:pt x="110" y="152"/>
                    <a:pt x="110" y="153"/>
                  </a:cubicBezTo>
                  <a:cubicBezTo>
                    <a:pt x="110" y="154"/>
                    <a:pt x="110" y="155"/>
                    <a:pt x="110" y="155"/>
                  </a:cubicBezTo>
                  <a:cubicBezTo>
                    <a:pt x="110" y="155"/>
                    <a:pt x="110" y="155"/>
                    <a:pt x="110" y="155"/>
                  </a:cubicBezTo>
                  <a:cubicBezTo>
                    <a:pt x="110" y="196"/>
                    <a:pt x="110" y="196"/>
                    <a:pt x="110" y="196"/>
                  </a:cubicBezTo>
                  <a:cubicBezTo>
                    <a:pt x="110" y="200"/>
                    <a:pt x="112" y="204"/>
                    <a:pt x="116" y="207"/>
                  </a:cubicBezTo>
                  <a:cubicBezTo>
                    <a:pt x="119" y="209"/>
                    <a:pt x="124" y="210"/>
                    <a:pt x="128" y="208"/>
                  </a:cubicBezTo>
                  <a:cubicBezTo>
                    <a:pt x="177" y="189"/>
                    <a:pt x="177" y="189"/>
                    <a:pt x="177" y="189"/>
                  </a:cubicBezTo>
                  <a:cubicBezTo>
                    <a:pt x="177" y="200"/>
                    <a:pt x="177" y="200"/>
                    <a:pt x="177" y="200"/>
                  </a:cubicBezTo>
                  <a:cubicBezTo>
                    <a:pt x="119" y="224"/>
                    <a:pt x="119" y="224"/>
                    <a:pt x="119" y="224"/>
                  </a:cubicBezTo>
                  <a:cubicBezTo>
                    <a:pt x="114" y="225"/>
                    <a:pt x="110" y="230"/>
                    <a:pt x="110" y="236"/>
                  </a:cubicBezTo>
                  <a:cubicBezTo>
                    <a:pt x="110" y="277"/>
                    <a:pt x="110" y="277"/>
                    <a:pt x="110" y="277"/>
                  </a:cubicBezTo>
                  <a:cubicBezTo>
                    <a:pt x="110" y="281"/>
                    <a:pt x="112" y="285"/>
                    <a:pt x="116" y="288"/>
                  </a:cubicBezTo>
                  <a:cubicBezTo>
                    <a:pt x="119" y="290"/>
                    <a:pt x="124" y="291"/>
                    <a:pt x="128" y="289"/>
                  </a:cubicBezTo>
                  <a:cubicBezTo>
                    <a:pt x="177" y="270"/>
                    <a:pt x="177" y="270"/>
                    <a:pt x="177" y="270"/>
                  </a:cubicBezTo>
                  <a:cubicBezTo>
                    <a:pt x="177" y="281"/>
                    <a:pt x="177" y="281"/>
                    <a:pt x="177" y="281"/>
                  </a:cubicBezTo>
                  <a:cubicBezTo>
                    <a:pt x="119" y="305"/>
                    <a:pt x="119" y="305"/>
                    <a:pt x="119" y="305"/>
                  </a:cubicBezTo>
                  <a:cubicBezTo>
                    <a:pt x="114" y="306"/>
                    <a:pt x="110" y="311"/>
                    <a:pt x="110" y="317"/>
                  </a:cubicBezTo>
                  <a:cubicBezTo>
                    <a:pt x="110" y="358"/>
                    <a:pt x="110" y="358"/>
                    <a:pt x="110" y="358"/>
                  </a:cubicBezTo>
                  <a:cubicBezTo>
                    <a:pt x="110" y="362"/>
                    <a:pt x="112" y="366"/>
                    <a:pt x="116" y="369"/>
                  </a:cubicBezTo>
                  <a:cubicBezTo>
                    <a:pt x="119" y="371"/>
                    <a:pt x="124" y="372"/>
                    <a:pt x="128" y="370"/>
                  </a:cubicBezTo>
                  <a:cubicBezTo>
                    <a:pt x="177" y="351"/>
                    <a:pt x="177" y="351"/>
                    <a:pt x="177" y="351"/>
                  </a:cubicBezTo>
                  <a:cubicBezTo>
                    <a:pt x="177" y="362"/>
                    <a:pt x="177" y="362"/>
                    <a:pt x="177" y="362"/>
                  </a:cubicBezTo>
                  <a:cubicBezTo>
                    <a:pt x="118" y="386"/>
                    <a:pt x="118" y="386"/>
                    <a:pt x="118" y="386"/>
                  </a:cubicBezTo>
                  <a:cubicBezTo>
                    <a:pt x="111" y="389"/>
                    <a:pt x="108" y="397"/>
                    <a:pt x="111" y="404"/>
                  </a:cubicBezTo>
                  <a:cubicBezTo>
                    <a:pt x="113" y="409"/>
                    <a:pt x="118" y="412"/>
                    <a:pt x="123" y="412"/>
                  </a:cubicBezTo>
                  <a:cubicBezTo>
                    <a:pt x="125" y="412"/>
                    <a:pt x="127" y="411"/>
                    <a:pt x="128" y="411"/>
                  </a:cubicBezTo>
                  <a:cubicBezTo>
                    <a:pt x="195" y="383"/>
                    <a:pt x="195" y="383"/>
                    <a:pt x="195" y="383"/>
                  </a:cubicBezTo>
                  <a:cubicBezTo>
                    <a:pt x="200" y="381"/>
                    <a:pt x="203" y="376"/>
                    <a:pt x="203" y="371"/>
                  </a:cubicBezTo>
                  <a:cubicBezTo>
                    <a:pt x="203" y="331"/>
                    <a:pt x="203" y="331"/>
                    <a:pt x="203" y="331"/>
                  </a:cubicBezTo>
                  <a:cubicBezTo>
                    <a:pt x="203" y="326"/>
                    <a:pt x="201" y="322"/>
                    <a:pt x="197" y="320"/>
                  </a:cubicBezTo>
                  <a:cubicBezTo>
                    <a:pt x="194" y="317"/>
                    <a:pt x="189" y="317"/>
                    <a:pt x="185" y="318"/>
                  </a:cubicBezTo>
                  <a:cubicBezTo>
                    <a:pt x="136" y="338"/>
                    <a:pt x="136" y="338"/>
                    <a:pt x="136" y="338"/>
                  </a:cubicBezTo>
                  <a:cubicBezTo>
                    <a:pt x="136" y="326"/>
                    <a:pt x="136" y="326"/>
                    <a:pt x="136" y="326"/>
                  </a:cubicBezTo>
                  <a:cubicBezTo>
                    <a:pt x="195" y="302"/>
                    <a:pt x="195" y="302"/>
                    <a:pt x="195" y="302"/>
                  </a:cubicBezTo>
                  <a:cubicBezTo>
                    <a:pt x="200" y="300"/>
                    <a:pt x="203" y="295"/>
                    <a:pt x="203" y="290"/>
                  </a:cubicBezTo>
                  <a:cubicBezTo>
                    <a:pt x="203" y="250"/>
                    <a:pt x="203" y="250"/>
                    <a:pt x="203" y="250"/>
                  </a:cubicBezTo>
                  <a:cubicBezTo>
                    <a:pt x="203" y="245"/>
                    <a:pt x="201" y="241"/>
                    <a:pt x="197" y="239"/>
                  </a:cubicBezTo>
                  <a:cubicBezTo>
                    <a:pt x="194" y="236"/>
                    <a:pt x="189" y="236"/>
                    <a:pt x="185" y="237"/>
                  </a:cubicBezTo>
                  <a:cubicBezTo>
                    <a:pt x="136" y="257"/>
                    <a:pt x="136" y="257"/>
                    <a:pt x="136" y="257"/>
                  </a:cubicBezTo>
                  <a:cubicBezTo>
                    <a:pt x="136" y="245"/>
                    <a:pt x="136" y="245"/>
                    <a:pt x="136" y="245"/>
                  </a:cubicBezTo>
                  <a:cubicBezTo>
                    <a:pt x="195" y="221"/>
                    <a:pt x="195" y="221"/>
                    <a:pt x="195" y="221"/>
                  </a:cubicBezTo>
                  <a:cubicBezTo>
                    <a:pt x="200" y="219"/>
                    <a:pt x="203" y="214"/>
                    <a:pt x="203" y="209"/>
                  </a:cubicBezTo>
                  <a:cubicBezTo>
                    <a:pt x="203" y="169"/>
                    <a:pt x="203" y="169"/>
                    <a:pt x="203" y="169"/>
                  </a:cubicBezTo>
                  <a:cubicBezTo>
                    <a:pt x="203" y="164"/>
                    <a:pt x="201" y="160"/>
                    <a:pt x="197" y="158"/>
                  </a:cubicBezTo>
                  <a:cubicBezTo>
                    <a:pt x="194" y="155"/>
                    <a:pt x="189" y="155"/>
                    <a:pt x="185" y="156"/>
                  </a:cubicBezTo>
                  <a:cubicBezTo>
                    <a:pt x="136" y="176"/>
                    <a:pt x="136" y="176"/>
                    <a:pt x="136" y="176"/>
                  </a:cubicBezTo>
                  <a:cubicBezTo>
                    <a:pt x="136" y="164"/>
                    <a:pt x="136" y="164"/>
                    <a:pt x="136" y="164"/>
                  </a:cubicBezTo>
                  <a:cubicBezTo>
                    <a:pt x="195" y="140"/>
                    <a:pt x="195" y="140"/>
                    <a:pt x="195" y="140"/>
                  </a:cubicBezTo>
                  <a:cubicBezTo>
                    <a:pt x="200" y="138"/>
                    <a:pt x="203" y="133"/>
                    <a:pt x="203" y="128"/>
                  </a:cubicBezTo>
                  <a:cubicBezTo>
                    <a:pt x="203" y="88"/>
                    <a:pt x="203" y="88"/>
                    <a:pt x="203" y="88"/>
                  </a:cubicBezTo>
                  <a:cubicBezTo>
                    <a:pt x="203" y="83"/>
                    <a:pt x="201" y="79"/>
                    <a:pt x="197" y="77"/>
                  </a:cubicBezTo>
                  <a:cubicBezTo>
                    <a:pt x="194" y="74"/>
                    <a:pt x="189" y="74"/>
                    <a:pt x="185" y="75"/>
                  </a:cubicBezTo>
                  <a:cubicBezTo>
                    <a:pt x="123" y="100"/>
                    <a:pt x="123" y="100"/>
                    <a:pt x="123" y="100"/>
                  </a:cubicBezTo>
                  <a:cubicBezTo>
                    <a:pt x="52" y="65"/>
                    <a:pt x="52" y="65"/>
                    <a:pt x="52" y="65"/>
                  </a:cubicBezTo>
                  <a:cubicBezTo>
                    <a:pt x="123" y="29"/>
                    <a:pt x="123" y="29"/>
                    <a:pt x="123" y="29"/>
                  </a:cubicBezTo>
                  <a:cubicBezTo>
                    <a:pt x="212" y="74"/>
                    <a:pt x="212" y="74"/>
                    <a:pt x="212" y="74"/>
                  </a:cubicBezTo>
                  <a:cubicBezTo>
                    <a:pt x="212" y="385"/>
                    <a:pt x="212" y="385"/>
                    <a:pt x="212" y="385"/>
                  </a:cubicBezTo>
                  <a:cubicBezTo>
                    <a:pt x="123" y="424"/>
                    <a:pt x="123" y="424"/>
                    <a:pt x="123" y="424"/>
                  </a:cubicBezTo>
                  <a:cubicBezTo>
                    <a:pt x="27" y="378"/>
                    <a:pt x="27" y="378"/>
                    <a:pt x="27" y="378"/>
                  </a:cubicBezTo>
                  <a:cubicBezTo>
                    <a:pt x="27" y="129"/>
                    <a:pt x="27" y="129"/>
                    <a:pt x="27" y="129"/>
                  </a:cubicBezTo>
                  <a:cubicBezTo>
                    <a:pt x="27" y="122"/>
                    <a:pt x="21" y="116"/>
                    <a:pt x="13" y="116"/>
                  </a:cubicBezTo>
                  <a:cubicBezTo>
                    <a:pt x="6" y="116"/>
                    <a:pt x="0" y="122"/>
                    <a:pt x="0" y="129"/>
                  </a:cubicBezTo>
                  <a:cubicBezTo>
                    <a:pt x="0" y="386"/>
                    <a:pt x="0" y="386"/>
                    <a:pt x="0" y="386"/>
                  </a:cubicBezTo>
                  <a:cubicBezTo>
                    <a:pt x="0" y="391"/>
                    <a:pt x="3" y="396"/>
                    <a:pt x="7" y="398"/>
                  </a:cubicBezTo>
                  <a:cubicBezTo>
                    <a:pt x="117" y="450"/>
                    <a:pt x="117" y="450"/>
                    <a:pt x="117" y="450"/>
                  </a:cubicBezTo>
                  <a:cubicBezTo>
                    <a:pt x="119" y="451"/>
                    <a:pt x="121" y="452"/>
                    <a:pt x="123" y="452"/>
                  </a:cubicBezTo>
                  <a:cubicBezTo>
                    <a:pt x="124" y="452"/>
                    <a:pt x="126" y="451"/>
                    <a:pt x="128" y="451"/>
                  </a:cubicBezTo>
                  <a:cubicBezTo>
                    <a:pt x="231" y="406"/>
                    <a:pt x="231" y="406"/>
                    <a:pt x="231" y="406"/>
                  </a:cubicBezTo>
                  <a:cubicBezTo>
                    <a:pt x="236" y="404"/>
                    <a:pt x="239" y="399"/>
                    <a:pt x="239" y="394"/>
                  </a:cubicBezTo>
                  <a:cubicBezTo>
                    <a:pt x="239" y="65"/>
                    <a:pt x="239" y="65"/>
                    <a:pt x="239" y="65"/>
                  </a:cubicBezTo>
                  <a:cubicBezTo>
                    <a:pt x="239" y="60"/>
                    <a:pt x="236" y="56"/>
                    <a:pt x="231" y="54"/>
                  </a:cubicBezTo>
                  <a:close/>
                </a:path>
              </a:pathLst>
            </a:custGeom>
            <a:solidFill>
              <a:schemeClr val="bg1"/>
            </a:solidFill>
            <a:ln w="9525">
              <a:noFill/>
              <a:round/>
              <a:headEnd/>
              <a:tailEnd/>
            </a:ln>
          </p:spPr>
          <p:txBody>
            <a:bodyPr vert="horz" wrap="square" lIns="68569" tIns="34286" rIns="68569" bIns="34286" numCol="1" anchor="t" anchorCtr="0" compatLnSpc="1">
              <a:prstTxWarp prst="textNoShape">
                <a:avLst/>
              </a:prstTxWarp>
            </a:bodyPr>
            <a:lstStyle/>
            <a:p>
              <a:pPr defTabSz="685423">
                <a:defRPr/>
              </a:pPr>
              <a:endParaRPr lang="en-US" sz="1466" kern="0">
                <a:solidFill>
                  <a:srgbClr val="87D200"/>
                </a:solidFill>
                <a:latin typeface="Calibri"/>
              </a:endParaRPr>
            </a:p>
          </p:txBody>
        </p:sp>
      </p:grpSp>
      <p:grpSp>
        <p:nvGrpSpPr>
          <p:cNvPr id="57" name="Group 56"/>
          <p:cNvGrpSpPr/>
          <p:nvPr/>
        </p:nvGrpSpPr>
        <p:grpSpPr>
          <a:xfrm>
            <a:off x="6305240" y="2210120"/>
            <a:ext cx="1979484" cy="1979484"/>
            <a:chOff x="6565900" y="2146300"/>
            <a:chExt cx="1980000" cy="1980000"/>
          </a:xfrm>
        </p:grpSpPr>
        <p:sp>
          <p:nvSpPr>
            <p:cNvPr id="47" name="Rounded Rectangle 46"/>
            <p:cNvSpPr/>
            <p:nvPr/>
          </p:nvSpPr>
          <p:spPr>
            <a:xfrm>
              <a:off x="6565900" y="2146300"/>
              <a:ext cx="1980000" cy="1980000"/>
            </a:xfrm>
            <a:prstGeom prst="roundRect">
              <a:avLst>
                <a:gd name="adj" fmla="val 4565"/>
              </a:avLst>
            </a:prstGeom>
            <a:solidFill>
              <a:srgbClr val="3CCD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8051">
                <a:defRPr/>
              </a:pPr>
              <a:endParaRPr lang="en-US" sz="2399" kern="0">
                <a:solidFill>
                  <a:prstClr val="white"/>
                </a:solidFill>
                <a:latin typeface="Calibri"/>
              </a:endParaRPr>
            </a:p>
          </p:txBody>
        </p:sp>
        <p:sp>
          <p:nvSpPr>
            <p:cNvPr id="48" name="object 119"/>
            <p:cNvSpPr txBox="1"/>
            <p:nvPr/>
          </p:nvSpPr>
          <p:spPr>
            <a:xfrm>
              <a:off x="6815232" y="2479945"/>
              <a:ext cx="1481338" cy="208060"/>
            </a:xfrm>
            <a:prstGeom prst="rect">
              <a:avLst/>
            </a:prstGeom>
          </p:spPr>
          <p:txBody>
            <a:bodyPr vert="horz" wrap="square" lIns="0" tIns="0" rIns="0" bIns="0" rtlCol="0">
              <a:spAutoFit/>
            </a:bodyPr>
            <a:lstStyle/>
            <a:p>
              <a:pPr marL="124068" marR="3078" indent="-116772" algn="ctr" defTabSz="608051">
                <a:lnSpc>
                  <a:spcPct val="77600"/>
                </a:lnSpc>
                <a:defRPr/>
              </a:pPr>
              <a:r>
                <a:rPr lang="en-US" sz="1733" b="1" kern="0" dirty="0">
                  <a:solidFill>
                    <a:srgbClr val="000000"/>
                  </a:solidFill>
                  <a:latin typeface="Arial Rounded MT Std" pitchFamily="34" charset="0"/>
                  <a:cs typeface="Arial"/>
                </a:rPr>
                <a:t>ANALIZEAZA</a:t>
              </a:r>
              <a:endParaRPr sz="1733" b="1" kern="0" dirty="0">
                <a:solidFill>
                  <a:srgbClr val="000000"/>
                </a:solidFill>
                <a:latin typeface="Arial Rounded MT Std" pitchFamily="34" charset="0"/>
                <a:cs typeface="Arial"/>
              </a:endParaRPr>
            </a:p>
          </p:txBody>
        </p:sp>
        <p:sp>
          <p:nvSpPr>
            <p:cNvPr id="49" name="TextBox 48"/>
            <p:cNvSpPr txBox="1"/>
            <p:nvPr/>
          </p:nvSpPr>
          <p:spPr>
            <a:xfrm>
              <a:off x="6655900" y="3276100"/>
              <a:ext cx="1800000" cy="277071"/>
            </a:xfrm>
            <a:prstGeom prst="rect">
              <a:avLst/>
            </a:prstGeom>
            <a:noFill/>
          </p:spPr>
          <p:txBody>
            <a:bodyPr wrap="square" rtlCol="0" anchor="t">
              <a:spAutoFit/>
            </a:bodyPr>
            <a:lstStyle/>
            <a:p>
              <a:pPr algn="ctr" defTabSz="608051">
                <a:defRPr/>
              </a:pPr>
              <a:endParaRPr lang="en-US" sz="1200" kern="0" dirty="0">
                <a:solidFill>
                  <a:prstClr val="white"/>
                </a:solidFill>
                <a:latin typeface="Arial Rounded MT Std"/>
                <a:cs typeface="Arial Rounded MT Std"/>
              </a:endParaRPr>
            </a:p>
          </p:txBody>
        </p:sp>
        <p:pic>
          <p:nvPicPr>
            <p:cNvPr id="27" name="Picture 4" descr="https://www.mapr.com/sites/default/files/icon2-more-data_3.png"/>
            <p:cNvPicPr>
              <a:picLocks noChangeAspect="1" noChangeArrowheads="1"/>
            </p:cNvPicPr>
            <p:nvPr/>
          </p:nvPicPr>
          <p:blipFill>
            <a:blip r:embed="rId4" cstate="print">
              <a:lum bright="70000" contrast="-70000"/>
            </a:blip>
            <a:srcRect/>
            <a:stretch>
              <a:fillRect/>
            </a:stretch>
          </p:blipFill>
          <p:spPr bwMode="auto">
            <a:xfrm>
              <a:off x="7275721" y="2944126"/>
              <a:ext cx="474583" cy="474583"/>
            </a:xfrm>
            <a:prstGeom prst="rect">
              <a:avLst/>
            </a:prstGeom>
            <a:noFill/>
          </p:spPr>
        </p:pic>
      </p:grpSp>
      <p:sp>
        <p:nvSpPr>
          <p:cNvPr id="51" name="Rounded Rectangle 50"/>
          <p:cNvSpPr/>
          <p:nvPr/>
        </p:nvSpPr>
        <p:spPr>
          <a:xfrm>
            <a:off x="8706380" y="2210118"/>
            <a:ext cx="1979484" cy="1979484"/>
          </a:xfrm>
          <a:prstGeom prst="roundRect">
            <a:avLst>
              <a:gd name="adj" fmla="val 4565"/>
            </a:avLst>
          </a:prstGeom>
          <a:solidFill>
            <a:srgbClr val="3CCD59"/>
          </a:solidFill>
          <a:ln w="571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121840" tIns="60920" rIns="121840" bIns="60920" rtlCol="0" anchor="ctr"/>
          <a:lstStyle/>
          <a:p>
            <a:pPr algn="ctr" defTabSz="608051">
              <a:defRPr/>
            </a:pPr>
            <a:endParaRPr lang="en-US" sz="2399" kern="0">
              <a:solidFill>
                <a:prstClr val="white"/>
              </a:solidFill>
              <a:latin typeface="Calibri"/>
            </a:endParaRPr>
          </a:p>
        </p:txBody>
      </p:sp>
      <p:sp>
        <p:nvSpPr>
          <p:cNvPr id="52" name="object 119"/>
          <p:cNvSpPr txBox="1"/>
          <p:nvPr/>
        </p:nvSpPr>
        <p:spPr>
          <a:xfrm>
            <a:off x="8955646" y="2553266"/>
            <a:ext cx="1480952" cy="208006"/>
          </a:xfrm>
          <a:prstGeom prst="rect">
            <a:avLst/>
          </a:prstGeom>
        </p:spPr>
        <p:txBody>
          <a:bodyPr vert="horz" wrap="square" lIns="0" tIns="0" rIns="0" bIns="0" rtlCol="0">
            <a:spAutoFit/>
          </a:bodyPr>
          <a:lstStyle/>
          <a:p>
            <a:pPr marL="124068" marR="3078" indent="-116772" algn="ctr" defTabSz="608051">
              <a:lnSpc>
                <a:spcPct val="77600"/>
              </a:lnSpc>
              <a:defRPr/>
            </a:pPr>
            <a:r>
              <a:rPr lang="en-US" sz="1733" b="1" kern="0" dirty="0">
                <a:solidFill>
                  <a:srgbClr val="000000"/>
                </a:solidFill>
                <a:latin typeface="Arial Rounded MT Std" pitchFamily="34" charset="0"/>
                <a:cs typeface="Arial"/>
              </a:rPr>
              <a:t>ACTIONEAZA</a:t>
            </a:r>
            <a:endParaRPr sz="1733" b="1" kern="0" dirty="0">
              <a:solidFill>
                <a:srgbClr val="000000"/>
              </a:solidFill>
              <a:latin typeface="Arial Rounded MT Std" pitchFamily="34" charset="0"/>
              <a:cs typeface="Arial"/>
            </a:endParaRPr>
          </a:p>
        </p:txBody>
      </p:sp>
      <p:sp>
        <p:nvSpPr>
          <p:cNvPr id="28" name="Freeform 308"/>
          <p:cNvSpPr>
            <a:spLocks/>
          </p:cNvSpPr>
          <p:nvPr/>
        </p:nvSpPr>
        <p:spPr bwMode="auto">
          <a:xfrm>
            <a:off x="9452510" y="2939007"/>
            <a:ext cx="487234" cy="497601"/>
          </a:xfrm>
          <a:custGeom>
            <a:avLst/>
            <a:gdLst/>
            <a:ahLst/>
            <a:cxnLst>
              <a:cxn ang="0">
                <a:pos x="409" y="267"/>
              </a:cxn>
              <a:cxn ang="0">
                <a:pos x="360" y="192"/>
              </a:cxn>
              <a:cxn ang="0">
                <a:pos x="313" y="178"/>
              </a:cxn>
              <a:cxn ang="0">
                <a:pos x="239" y="0"/>
              </a:cxn>
              <a:cxn ang="0">
                <a:pos x="183" y="192"/>
              </a:cxn>
              <a:cxn ang="0">
                <a:pos x="197" y="169"/>
              </a:cxn>
              <a:cxn ang="0">
                <a:pos x="239" y="26"/>
              </a:cxn>
              <a:cxn ang="0">
                <a:pos x="287" y="165"/>
              </a:cxn>
              <a:cxn ang="0">
                <a:pos x="309" y="220"/>
              </a:cxn>
              <a:cxn ang="0">
                <a:pos x="348" y="217"/>
              </a:cxn>
              <a:cxn ang="0">
                <a:pos x="429" y="390"/>
              </a:cxn>
              <a:cxn ang="0">
                <a:pos x="329" y="392"/>
              </a:cxn>
              <a:cxn ang="0">
                <a:pos x="235" y="367"/>
              </a:cxn>
              <a:cxn ang="0">
                <a:pos x="173" y="385"/>
              </a:cxn>
              <a:cxn ang="0">
                <a:pos x="157" y="352"/>
              </a:cxn>
              <a:cxn ang="0">
                <a:pos x="207" y="336"/>
              </a:cxn>
              <a:cxn ang="0">
                <a:pos x="228" y="338"/>
              </a:cxn>
              <a:cxn ang="0">
                <a:pos x="228" y="339"/>
              </a:cxn>
              <a:cxn ang="0">
                <a:pos x="229" y="340"/>
              </a:cxn>
              <a:cxn ang="0">
                <a:pos x="230" y="341"/>
              </a:cxn>
              <a:cxn ang="0">
                <a:pos x="231" y="341"/>
              </a:cxn>
              <a:cxn ang="0">
                <a:pos x="241" y="344"/>
              </a:cxn>
              <a:cxn ang="0">
                <a:pos x="242" y="344"/>
              </a:cxn>
              <a:cxn ang="0">
                <a:pos x="243" y="344"/>
              </a:cxn>
              <a:cxn ang="0">
                <a:pos x="244" y="343"/>
              </a:cxn>
              <a:cxn ang="0">
                <a:pos x="245" y="343"/>
              </a:cxn>
              <a:cxn ang="0">
                <a:pos x="246" y="342"/>
              </a:cxn>
              <a:cxn ang="0">
                <a:pos x="247" y="342"/>
              </a:cxn>
              <a:cxn ang="0">
                <a:pos x="248" y="341"/>
              </a:cxn>
              <a:cxn ang="0">
                <a:pos x="249" y="340"/>
              </a:cxn>
              <a:cxn ang="0">
                <a:pos x="249" y="339"/>
              </a:cxn>
              <a:cxn ang="0">
                <a:pos x="252" y="330"/>
              </a:cxn>
              <a:cxn ang="0">
                <a:pos x="252" y="329"/>
              </a:cxn>
              <a:cxn ang="0">
                <a:pos x="252" y="328"/>
              </a:cxn>
              <a:cxn ang="0">
                <a:pos x="251" y="326"/>
              </a:cxn>
              <a:cxn ang="0">
                <a:pos x="251" y="325"/>
              </a:cxn>
              <a:cxn ang="0">
                <a:pos x="187" y="217"/>
              </a:cxn>
              <a:cxn ang="0">
                <a:pos x="122" y="208"/>
              </a:cxn>
              <a:cxn ang="0">
                <a:pos x="65" y="231"/>
              </a:cxn>
              <a:cxn ang="0">
                <a:pos x="2" y="246"/>
              </a:cxn>
              <a:cxn ang="0">
                <a:pos x="112" y="461"/>
              </a:cxn>
              <a:cxn ang="0">
                <a:pos x="126" y="467"/>
              </a:cxn>
              <a:cxn ang="0">
                <a:pos x="215" y="438"/>
              </a:cxn>
              <a:cxn ang="0">
                <a:pos x="130" y="440"/>
              </a:cxn>
              <a:cxn ang="0">
                <a:pos x="79" y="256"/>
              </a:cxn>
              <a:cxn ang="0">
                <a:pos x="99" y="228"/>
              </a:cxn>
              <a:cxn ang="0">
                <a:pos x="113" y="240"/>
              </a:cxn>
              <a:cxn ang="0">
                <a:pos x="128" y="251"/>
              </a:cxn>
              <a:cxn ang="0">
                <a:pos x="208" y="298"/>
              </a:cxn>
              <a:cxn ang="0">
                <a:pos x="183" y="322"/>
              </a:cxn>
              <a:cxn ang="0">
                <a:pos x="134" y="340"/>
              </a:cxn>
              <a:cxn ang="0">
                <a:pos x="159" y="408"/>
              </a:cxn>
              <a:cxn ang="0">
                <a:pos x="242" y="393"/>
              </a:cxn>
              <a:cxn ang="0">
                <a:pos x="401" y="430"/>
              </a:cxn>
              <a:cxn ang="0">
                <a:pos x="455" y="381"/>
              </a:cxn>
            </a:cxnLst>
            <a:rect l="0" t="0" r="r" b="b"/>
            <a:pathLst>
              <a:path w="457" h="468">
                <a:moveTo>
                  <a:pt x="455" y="381"/>
                </a:moveTo>
                <a:cubicBezTo>
                  <a:pt x="451" y="348"/>
                  <a:pt x="428" y="301"/>
                  <a:pt x="409" y="267"/>
                </a:cubicBezTo>
                <a:cubicBezTo>
                  <a:pt x="400" y="250"/>
                  <a:pt x="390" y="233"/>
                  <a:pt x="380" y="218"/>
                </a:cubicBezTo>
                <a:cubicBezTo>
                  <a:pt x="366" y="195"/>
                  <a:pt x="363" y="194"/>
                  <a:pt x="360" y="192"/>
                </a:cubicBezTo>
                <a:cubicBezTo>
                  <a:pt x="357" y="190"/>
                  <a:pt x="350" y="186"/>
                  <a:pt x="325" y="196"/>
                </a:cubicBezTo>
                <a:cubicBezTo>
                  <a:pt x="313" y="178"/>
                  <a:pt x="313" y="178"/>
                  <a:pt x="313" y="178"/>
                </a:cubicBezTo>
                <a:cubicBezTo>
                  <a:pt x="332" y="158"/>
                  <a:pt x="343" y="132"/>
                  <a:pt x="343" y="104"/>
                </a:cubicBezTo>
                <a:cubicBezTo>
                  <a:pt x="343" y="46"/>
                  <a:pt x="297" y="0"/>
                  <a:pt x="239" y="0"/>
                </a:cubicBezTo>
                <a:cubicBezTo>
                  <a:pt x="182" y="0"/>
                  <a:pt x="135" y="46"/>
                  <a:pt x="135" y="104"/>
                </a:cubicBezTo>
                <a:cubicBezTo>
                  <a:pt x="135" y="140"/>
                  <a:pt x="153" y="172"/>
                  <a:pt x="183" y="192"/>
                </a:cubicBezTo>
                <a:cubicBezTo>
                  <a:pt x="189" y="196"/>
                  <a:pt x="197" y="194"/>
                  <a:pt x="201" y="188"/>
                </a:cubicBezTo>
                <a:cubicBezTo>
                  <a:pt x="205" y="181"/>
                  <a:pt x="204" y="173"/>
                  <a:pt x="197" y="169"/>
                </a:cubicBezTo>
                <a:cubicBezTo>
                  <a:pt x="175" y="155"/>
                  <a:pt x="162" y="131"/>
                  <a:pt x="162" y="104"/>
                </a:cubicBezTo>
                <a:cubicBezTo>
                  <a:pt x="162" y="61"/>
                  <a:pt x="196" y="26"/>
                  <a:pt x="239" y="26"/>
                </a:cubicBezTo>
                <a:cubicBezTo>
                  <a:pt x="282" y="26"/>
                  <a:pt x="317" y="61"/>
                  <a:pt x="317" y="104"/>
                </a:cubicBezTo>
                <a:cubicBezTo>
                  <a:pt x="317" y="128"/>
                  <a:pt x="306" y="150"/>
                  <a:pt x="287" y="165"/>
                </a:cubicBezTo>
                <a:cubicBezTo>
                  <a:pt x="282" y="169"/>
                  <a:pt x="281" y="177"/>
                  <a:pt x="284" y="182"/>
                </a:cubicBezTo>
                <a:cubicBezTo>
                  <a:pt x="309" y="220"/>
                  <a:pt x="309" y="220"/>
                  <a:pt x="309" y="220"/>
                </a:cubicBezTo>
                <a:cubicBezTo>
                  <a:pt x="313" y="226"/>
                  <a:pt x="320" y="228"/>
                  <a:pt x="326" y="225"/>
                </a:cubicBezTo>
                <a:cubicBezTo>
                  <a:pt x="334" y="221"/>
                  <a:pt x="343" y="218"/>
                  <a:pt x="348" y="217"/>
                </a:cubicBezTo>
                <a:cubicBezTo>
                  <a:pt x="355" y="226"/>
                  <a:pt x="373" y="255"/>
                  <a:pt x="391" y="289"/>
                </a:cubicBezTo>
                <a:cubicBezTo>
                  <a:pt x="416" y="335"/>
                  <a:pt x="430" y="371"/>
                  <a:pt x="429" y="390"/>
                </a:cubicBezTo>
                <a:cubicBezTo>
                  <a:pt x="429" y="394"/>
                  <a:pt x="428" y="397"/>
                  <a:pt x="427" y="397"/>
                </a:cubicBezTo>
                <a:cubicBezTo>
                  <a:pt x="423" y="401"/>
                  <a:pt x="405" y="411"/>
                  <a:pt x="329" y="392"/>
                </a:cubicBezTo>
                <a:cubicBezTo>
                  <a:pt x="286" y="381"/>
                  <a:pt x="246" y="366"/>
                  <a:pt x="246" y="366"/>
                </a:cubicBezTo>
                <a:cubicBezTo>
                  <a:pt x="242" y="365"/>
                  <a:pt x="239" y="365"/>
                  <a:pt x="235" y="367"/>
                </a:cubicBezTo>
                <a:cubicBezTo>
                  <a:pt x="235" y="367"/>
                  <a:pt x="222" y="374"/>
                  <a:pt x="206" y="379"/>
                </a:cubicBezTo>
                <a:cubicBezTo>
                  <a:pt x="180" y="388"/>
                  <a:pt x="173" y="385"/>
                  <a:pt x="173" y="385"/>
                </a:cubicBezTo>
                <a:cubicBezTo>
                  <a:pt x="169" y="383"/>
                  <a:pt x="164" y="379"/>
                  <a:pt x="159" y="368"/>
                </a:cubicBezTo>
                <a:cubicBezTo>
                  <a:pt x="155" y="360"/>
                  <a:pt x="156" y="354"/>
                  <a:pt x="157" y="352"/>
                </a:cubicBezTo>
                <a:cubicBezTo>
                  <a:pt x="176" y="349"/>
                  <a:pt x="195" y="347"/>
                  <a:pt x="195" y="347"/>
                </a:cubicBezTo>
                <a:cubicBezTo>
                  <a:pt x="201" y="347"/>
                  <a:pt x="206" y="342"/>
                  <a:pt x="207" y="336"/>
                </a:cubicBezTo>
                <a:cubicBezTo>
                  <a:pt x="208" y="328"/>
                  <a:pt x="211" y="324"/>
                  <a:pt x="212" y="324"/>
                </a:cubicBezTo>
                <a:cubicBezTo>
                  <a:pt x="214" y="323"/>
                  <a:pt x="221" y="327"/>
                  <a:pt x="228" y="338"/>
                </a:cubicBezTo>
                <a:cubicBezTo>
                  <a:pt x="228" y="338"/>
                  <a:pt x="228" y="338"/>
                  <a:pt x="228" y="338"/>
                </a:cubicBezTo>
                <a:cubicBezTo>
                  <a:pt x="228" y="338"/>
                  <a:pt x="228" y="339"/>
                  <a:pt x="228" y="339"/>
                </a:cubicBezTo>
                <a:cubicBezTo>
                  <a:pt x="229" y="339"/>
                  <a:pt x="229" y="339"/>
                  <a:pt x="229" y="339"/>
                </a:cubicBezTo>
                <a:cubicBezTo>
                  <a:pt x="229" y="339"/>
                  <a:pt x="229" y="340"/>
                  <a:pt x="229" y="340"/>
                </a:cubicBezTo>
                <a:cubicBezTo>
                  <a:pt x="229" y="340"/>
                  <a:pt x="229" y="340"/>
                  <a:pt x="229" y="340"/>
                </a:cubicBezTo>
                <a:cubicBezTo>
                  <a:pt x="230" y="340"/>
                  <a:pt x="230" y="341"/>
                  <a:pt x="230" y="341"/>
                </a:cubicBezTo>
                <a:cubicBezTo>
                  <a:pt x="230" y="341"/>
                  <a:pt x="230" y="341"/>
                  <a:pt x="230" y="341"/>
                </a:cubicBezTo>
                <a:cubicBezTo>
                  <a:pt x="231" y="341"/>
                  <a:pt x="231" y="341"/>
                  <a:pt x="231" y="341"/>
                </a:cubicBezTo>
                <a:cubicBezTo>
                  <a:pt x="232" y="342"/>
                  <a:pt x="234" y="343"/>
                  <a:pt x="235" y="344"/>
                </a:cubicBezTo>
                <a:cubicBezTo>
                  <a:pt x="237" y="344"/>
                  <a:pt x="239" y="344"/>
                  <a:pt x="241" y="344"/>
                </a:cubicBezTo>
                <a:cubicBezTo>
                  <a:pt x="241" y="344"/>
                  <a:pt x="241" y="344"/>
                  <a:pt x="241" y="344"/>
                </a:cubicBezTo>
                <a:cubicBezTo>
                  <a:pt x="241" y="344"/>
                  <a:pt x="241" y="344"/>
                  <a:pt x="242" y="344"/>
                </a:cubicBezTo>
                <a:cubicBezTo>
                  <a:pt x="242" y="344"/>
                  <a:pt x="242" y="344"/>
                  <a:pt x="242" y="344"/>
                </a:cubicBezTo>
                <a:cubicBezTo>
                  <a:pt x="242" y="344"/>
                  <a:pt x="243" y="344"/>
                  <a:pt x="243" y="344"/>
                </a:cubicBezTo>
                <a:cubicBezTo>
                  <a:pt x="243" y="344"/>
                  <a:pt x="243" y="344"/>
                  <a:pt x="244" y="343"/>
                </a:cubicBezTo>
                <a:cubicBezTo>
                  <a:pt x="244" y="343"/>
                  <a:pt x="244" y="343"/>
                  <a:pt x="244" y="343"/>
                </a:cubicBezTo>
                <a:cubicBezTo>
                  <a:pt x="244" y="343"/>
                  <a:pt x="245" y="343"/>
                  <a:pt x="245" y="343"/>
                </a:cubicBezTo>
                <a:cubicBezTo>
                  <a:pt x="245" y="343"/>
                  <a:pt x="245" y="343"/>
                  <a:pt x="245" y="343"/>
                </a:cubicBezTo>
                <a:cubicBezTo>
                  <a:pt x="245" y="343"/>
                  <a:pt x="245" y="343"/>
                  <a:pt x="245" y="343"/>
                </a:cubicBezTo>
                <a:cubicBezTo>
                  <a:pt x="246" y="342"/>
                  <a:pt x="246" y="342"/>
                  <a:pt x="246" y="342"/>
                </a:cubicBezTo>
                <a:cubicBezTo>
                  <a:pt x="246" y="342"/>
                  <a:pt x="246" y="342"/>
                  <a:pt x="246" y="342"/>
                </a:cubicBezTo>
                <a:cubicBezTo>
                  <a:pt x="246" y="342"/>
                  <a:pt x="247" y="342"/>
                  <a:pt x="247" y="342"/>
                </a:cubicBezTo>
                <a:cubicBezTo>
                  <a:pt x="247" y="342"/>
                  <a:pt x="247" y="342"/>
                  <a:pt x="247" y="341"/>
                </a:cubicBezTo>
                <a:cubicBezTo>
                  <a:pt x="247" y="341"/>
                  <a:pt x="248" y="341"/>
                  <a:pt x="248" y="341"/>
                </a:cubicBezTo>
                <a:cubicBezTo>
                  <a:pt x="248" y="341"/>
                  <a:pt x="248" y="341"/>
                  <a:pt x="248" y="341"/>
                </a:cubicBezTo>
                <a:cubicBezTo>
                  <a:pt x="248" y="340"/>
                  <a:pt x="249" y="340"/>
                  <a:pt x="249" y="340"/>
                </a:cubicBezTo>
                <a:cubicBezTo>
                  <a:pt x="249" y="340"/>
                  <a:pt x="249" y="340"/>
                  <a:pt x="249" y="340"/>
                </a:cubicBezTo>
                <a:cubicBezTo>
                  <a:pt x="249" y="340"/>
                  <a:pt x="249" y="339"/>
                  <a:pt x="249" y="339"/>
                </a:cubicBezTo>
                <a:cubicBezTo>
                  <a:pt x="250" y="338"/>
                  <a:pt x="251" y="336"/>
                  <a:pt x="252" y="335"/>
                </a:cubicBezTo>
                <a:cubicBezTo>
                  <a:pt x="252" y="333"/>
                  <a:pt x="252" y="331"/>
                  <a:pt x="252" y="330"/>
                </a:cubicBezTo>
                <a:cubicBezTo>
                  <a:pt x="252" y="329"/>
                  <a:pt x="252" y="329"/>
                  <a:pt x="252" y="329"/>
                </a:cubicBezTo>
                <a:cubicBezTo>
                  <a:pt x="252" y="329"/>
                  <a:pt x="252" y="329"/>
                  <a:pt x="252" y="329"/>
                </a:cubicBezTo>
                <a:cubicBezTo>
                  <a:pt x="252" y="328"/>
                  <a:pt x="252" y="328"/>
                  <a:pt x="252" y="328"/>
                </a:cubicBezTo>
                <a:cubicBezTo>
                  <a:pt x="252" y="328"/>
                  <a:pt x="252" y="328"/>
                  <a:pt x="252" y="328"/>
                </a:cubicBezTo>
                <a:cubicBezTo>
                  <a:pt x="252" y="327"/>
                  <a:pt x="252" y="327"/>
                  <a:pt x="251" y="326"/>
                </a:cubicBezTo>
                <a:cubicBezTo>
                  <a:pt x="251" y="326"/>
                  <a:pt x="251" y="326"/>
                  <a:pt x="251" y="326"/>
                </a:cubicBezTo>
                <a:cubicBezTo>
                  <a:pt x="251" y="326"/>
                  <a:pt x="251" y="326"/>
                  <a:pt x="251" y="325"/>
                </a:cubicBezTo>
                <a:cubicBezTo>
                  <a:pt x="251" y="325"/>
                  <a:pt x="251" y="325"/>
                  <a:pt x="251" y="325"/>
                </a:cubicBezTo>
                <a:cubicBezTo>
                  <a:pt x="201" y="224"/>
                  <a:pt x="201" y="224"/>
                  <a:pt x="201" y="224"/>
                </a:cubicBezTo>
                <a:cubicBezTo>
                  <a:pt x="198" y="219"/>
                  <a:pt x="193" y="216"/>
                  <a:pt x="187" y="217"/>
                </a:cubicBezTo>
                <a:cubicBezTo>
                  <a:pt x="135" y="224"/>
                  <a:pt x="135" y="224"/>
                  <a:pt x="135" y="224"/>
                </a:cubicBezTo>
                <a:cubicBezTo>
                  <a:pt x="133" y="218"/>
                  <a:pt x="129" y="212"/>
                  <a:pt x="122" y="208"/>
                </a:cubicBezTo>
                <a:cubicBezTo>
                  <a:pt x="117" y="204"/>
                  <a:pt x="107" y="200"/>
                  <a:pt x="93" y="203"/>
                </a:cubicBezTo>
                <a:cubicBezTo>
                  <a:pt x="75" y="207"/>
                  <a:pt x="67" y="220"/>
                  <a:pt x="65" y="231"/>
                </a:cubicBezTo>
                <a:cubicBezTo>
                  <a:pt x="12" y="239"/>
                  <a:pt x="12" y="239"/>
                  <a:pt x="12" y="239"/>
                </a:cubicBezTo>
                <a:cubicBezTo>
                  <a:pt x="7" y="239"/>
                  <a:pt x="4" y="242"/>
                  <a:pt x="2" y="246"/>
                </a:cubicBezTo>
                <a:cubicBezTo>
                  <a:pt x="0" y="250"/>
                  <a:pt x="0" y="254"/>
                  <a:pt x="2" y="258"/>
                </a:cubicBezTo>
                <a:cubicBezTo>
                  <a:pt x="112" y="461"/>
                  <a:pt x="112" y="461"/>
                  <a:pt x="112" y="461"/>
                </a:cubicBezTo>
                <a:cubicBezTo>
                  <a:pt x="114" y="465"/>
                  <a:pt x="119" y="468"/>
                  <a:pt x="123" y="468"/>
                </a:cubicBezTo>
                <a:cubicBezTo>
                  <a:pt x="124" y="468"/>
                  <a:pt x="125" y="468"/>
                  <a:pt x="126" y="467"/>
                </a:cubicBezTo>
                <a:cubicBezTo>
                  <a:pt x="205" y="453"/>
                  <a:pt x="205" y="453"/>
                  <a:pt x="205" y="453"/>
                </a:cubicBezTo>
                <a:cubicBezTo>
                  <a:pt x="212" y="452"/>
                  <a:pt x="217" y="445"/>
                  <a:pt x="215" y="438"/>
                </a:cubicBezTo>
                <a:cubicBezTo>
                  <a:pt x="214" y="431"/>
                  <a:pt x="207" y="426"/>
                  <a:pt x="200" y="428"/>
                </a:cubicBezTo>
                <a:cubicBezTo>
                  <a:pt x="130" y="440"/>
                  <a:pt x="130" y="440"/>
                  <a:pt x="130" y="440"/>
                </a:cubicBezTo>
                <a:cubicBezTo>
                  <a:pt x="34" y="262"/>
                  <a:pt x="34" y="262"/>
                  <a:pt x="34" y="262"/>
                </a:cubicBezTo>
                <a:cubicBezTo>
                  <a:pt x="79" y="256"/>
                  <a:pt x="79" y="256"/>
                  <a:pt x="79" y="256"/>
                </a:cubicBezTo>
                <a:cubicBezTo>
                  <a:pt x="86" y="255"/>
                  <a:pt x="91" y="249"/>
                  <a:pt x="90" y="242"/>
                </a:cubicBezTo>
                <a:cubicBezTo>
                  <a:pt x="90" y="239"/>
                  <a:pt x="90" y="230"/>
                  <a:pt x="99" y="228"/>
                </a:cubicBezTo>
                <a:cubicBezTo>
                  <a:pt x="104" y="227"/>
                  <a:pt x="106" y="229"/>
                  <a:pt x="107" y="229"/>
                </a:cubicBezTo>
                <a:cubicBezTo>
                  <a:pt x="111" y="232"/>
                  <a:pt x="113" y="238"/>
                  <a:pt x="113" y="240"/>
                </a:cubicBezTo>
                <a:cubicBezTo>
                  <a:pt x="114" y="243"/>
                  <a:pt x="115" y="247"/>
                  <a:pt x="118" y="249"/>
                </a:cubicBezTo>
                <a:cubicBezTo>
                  <a:pt x="121" y="251"/>
                  <a:pt x="124" y="252"/>
                  <a:pt x="128" y="251"/>
                </a:cubicBezTo>
                <a:cubicBezTo>
                  <a:pt x="181" y="244"/>
                  <a:pt x="181" y="244"/>
                  <a:pt x="181" y="244"/>
                </a:cubicBezTo>
                <a:cubicBezTo>
                  <a:pt x="208" y="298"/>
                  <a:pt x="208" y="298"/>
                  <a:pt x="208" y="298"/>
                </a:cubicBezTo>
                <a:cubicBezTo>
                  <a:pt x="208" y="298"/>
                  <a:pt x="207" y="298"/>
                  <a:pt x="207" y="298"/>
                </a:cubicBezTo>
                <a:cubicBezTo>
                  <a:pt x="196" y="300"/>
                  <a:pt x="188" y="309"/>
                  <a:pt x="183" y="322"/>
                </a:cubicBezTo>
                <a:cubicBezTo>
                  <a:pt x="176" y="323"/>
                  <a:pt x="164" y="324"/>
                  <a:pt x="152" y="326"/>
                </a:cubicBezTo>
                <a:cubicBezTo>
                  <a:pt x="144" y="328"/>
                  <a:pt x="138" y="333"/>
                  <a:pt x="134" y="340"/>
                </a:cubicBezTo>
                <a:cubicBezTo>
                  <a:pt x="128" y="351"/>
                  <a:pt x="129" y="365"/>
                  <a:pt x="135" y="379"/>
                </a:cubicBezTo>
                <a:cubicBezTo>
                  <a:pt x="141" y="393"/>
                  <a:pt x="149" y="402"/>
                  <a:pt x="159" y="408"/>
                </a:cubicBezTo>
                <a:cubicBezTo>
                  <a:pt x="170" y="415"/>
                  <a:pt x="188" y="414"/>
                  <a:pt x="214" y="404"/>
                </a:cubicBezTo>
                <a:cubicBezTo>
                  <a:pt x="226" y="400"/>
                  <a:pt x="236" y="396"/>
                  <a:pt x="242" y="393"/>
                </a:cubicBezTo>
                <a:cubicBezTo>
                  <a:pt x="254" y="397"/>
                  <a:pt x="287" y="409"/>
                  <a:pt x="323" y="418"/>
                </a:cubicBezTo>
                <a:cubicBezTo>
                  <a:pt x="358" y="426"/>
                  <a:pt x="383" y="430"/>
                  <a:pt x="401" y="430"/>
                </a:cubicBezTo>
                <a:cubicBezTo>
                  <a:pt x="427" y="430"/>
                  <a:pt x="438" y="423"/>
                  <a:pt x="445" y="417"/>
                </a:cubicBezTo>
                <a:cubicBezTo>
                  <a:pt x="453" y="409"/>
                  <a:pt x="457" y="397"/>
                  <a:pt x="455" y="381"/>
                </a:cubicBezTo>
                <a:close/>
              </a:path>
            </a:pathLst>
          </a:custGeom>
          <a:solidFill>
            <a:schemeClr val="bg1"/>
          </a:solidFill>
          <a:ln w="9525">
            <a:noFill/>
            <a:round/>
            <a:headEnd/>
            <a:tailEnd/>
          </a:ln>
        </p:spPr>
        <p:txBody>
          <a:bodyPr vert="horz" wrap="square" lIns="68545" tIns="34274" rIns="68545" bIns="34274" numCol="1" anchor="t" anchorCtr="0" compatLnSpc="1">
            <a:prstTxWarp prst="textNoShape">
              <a:avLst/>
            </a:prstTxWarp>
          </a:bodyPr>
          <a:lstStyle/>
          <a:p>
            <a:pPr defTabSz="685423">
              <a:defRPr/>
            </a:pPr>
            <a:endParaRPr lang="en-US" sz="1466" kern="0">
              <a:solidFill>
                <a:srgbClr val="87D200"/>
              </a:solidFill>
              <a:latin typeface="Calibri"/>
            </a:endParaRPr>
          </a:p>
        </p:txBody>
      </p:sp>
      <p:sp>
        <p:nvSpPr>
          <p:cNvPr id="69" name="Freeform 3"/>
          <p:cNvSpPr/>
          <p:nvPr/>
        </p:nvSpPr>
        <p:spPr>
          <a:xfrm>
            <a:off x="3478577" y="3019958"/>
            <a:ext cx="275391" cy="359806"/>
          </a:xfrm>
          <a:custGeom>
            <a:avLst/>
            <a:gdLst>
              <a:gd name="connsiteX0" fmla="*/ 2420721 w 2428576"/>
              <a:gd name="connsiteY0" fmla="*/ 1628497 h 3172188"/>
              <a:gd name="connsiteX1" fmla="*/ 927265 w 2428576"/>
              <a:gd name="connsiteY1" fmla="*/ 3165806 h 3172188"/>
              <a:gd name="connsiteX2" fmla="*/ 879563 w 2428576"/>
              <a:gd name="connsiteY2" fmla="*/ 3146451 h 3172188"/>
              <a:gd name="connsiteX3" fmla="*/ 879563 w 2428576"/>
              <a:gd name="connsiteY3" fmla="*/ 2807526 h 3172188"/>
              <a:gd name="connsiteX4" fmla="*/ 851788 w 2428576"/>
              <a:gd name="connsiteY4" fmla="*/ 2779752 h 3172188"/>
              <a:gd name="connsiteX5" fmla="*/ 27774 w 2428576"/>
              <a:gd name="connsiteY5" fmla="*/ 2779752 h 3172188"/>
              <a:gd name="connsiteX6" fmla="*/ 0 w 2428576"/>
              <a:gd name="connsiteY6" fmla="*/ 2751977 h 3172188"/>
              <a:gd name="connsiteX7" fmla="*/ 0 w 2428576"/>
              <a:gd name="connsiteY7" fmla="*/ 446584 h 3172188"/>
              <a:gd name="connsiteX8" fmla="*/ 27774 w 2428576"/>
              <a:gd name="connsiteY8" fmla="*/ 418809 h 3172188"/>
              <a:gd name="connsiteX9" fmla="*/ 851788 w 2428576"/>
              <a:gd name="connsiteY9" fmla="*/ 418809 h 3172188"/>
              <a:gd name="connsiteX10" fmla="*/ 879563 w 2428576"/>
              <a:gd name="connsiteY10" fmla="*/ 391034 h 3172188"/>
              <a:gd name="connsiteX11" fmla="*/ 879563 w 2428576"/>
              <a:gd name="connsiteY11" fmla="*/ 25807 h 3172188"/>
              <a:gd name="connsiteX12" fmla="*/ 927544 w 2428576"/>
              <a:gd name="connsiteY12" fmla="*/ 6757 h 3172188"/>
              <a:gd name="connsiteX13" fmla="*/ 2421000 w 2428576"/>
              <a:gd name="connsiteY13" fmla="*/ 1590079 h 3172188"/>
              <a:gd name="connsiteX14" fmla="*/ 2420721 w 2428576"/>
              <a:gd name="connsiteY14" fmla="*/ 1628497 h 3172188"/>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Lst>
            <a:rect l="l" t="t" r="r" b="b"/>
            <a:pathLst>
              <a:path w="2428576" h="3172188">
                <a:moveTo>
                  <a:pt x="2420721" y="1628497"/>
                </a:moveTo>
                <a:lnTo>
                  <a:pt x="927265" y="3165806"/>
                </a:lnTo>
                <a:cubicBezTo>
                  <a:pt x="909891" y="3183688"/>
                  <a:pt x="879563" y="3171394"/>
                  <a:pt x="879563" y="3146451"/>
                </a:cubicBezTo>
                <a:lnTo>
                  <a:pt x="879563" y="2807526"/>
                </a:lnTo>
                <a:cubicBezTo>
                  <a:pt x="879563" y="2792185"/>
                  <a:pt x="867130" y="2779752"/>
                  <a:pt x="851788" y="2779752"/>
                </a:cubicBezTo>
                <a:lnTo>
                  <a:pt x="27774" y="2779752"/>
                </a:lnTo>
                <a:cubicBezTo>
                  <a:pt x="12432" y="2779752"/>
                  <a:pt x="0" y="2767319"/>
                  <a:pt x="0" y="2751977"/>
                </a:cubicBezTo>
                <a:lnTo>
                  <a:pt x="0" y="446584"/>
                </a:lnTo>
                <a:cubicBezTo>
                  <a:pt x="0" y="431242"/>
                  <a:pt x="12432" y="418809"/>
                  <a:pt x="27774" y="418809"/>
                </a:cubicBezTo>
                <a:lnTo>
                  <a:pt x="851788" y="418809"/>
                </a:lnTo>
                <a:cubicBezTo>
                  <a:pt x="867130" y="418809"/>
                  <a:pt x="879563" y="406375"/>
                  <a:pt x="879563" y="391034"/>
                </a:cubicBezTo>
                <a:lnTo>
                  <a:pt x="879563" y="25807"/>
                </a:lnTo>
                <a:cubicBezTo>
                  <a:pt x="879563" y="674"/>
                  <a:pt x="910297" y="-11530"/>
                  <a:pt x="927544" y="6757"/>
                </a:cubicBezTo>
                <a:lnTo>
                  <a:pt x="2421000" y="1590079"/>
                </a:lnTo>
                <a:cubicBezTo>
                  <a:pt x="2431211" y="1600899"/>
                  <a:pt x="2431084" y="1617828"/>
                  <a:pt x="2420721" y="1628497"/>
                </a:cubicBezTo>
              </a:path>
            </a:pathLst>
          </a:custGeom>
          <a:solidFill>
            <a:srgbClr val="3DCA58">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21840" tIns="60920" rIns="121840" bIns="60920" rtlCol="0" anchor="ctr"/>
          <a:lstStyle/>
          <a:p>
            <a:pPr algn="ctr" defTabSz="608051">
              <a:defRPr/>
            </a:pPr>
            <a:endParaRPr lang="zh-CN" altLang="en-US" sz="933" kern="0" dirty="0">
              <a:solidFill>
                <a:prstClr val="white"/>
              </a:solidFill>
              <a:latin typeface="Calibri"/>
              <a:ea typeface="宋体" panose="02010600030101010101" pitchFamily="2" charset="-122"/>
            </a:endParaRPr>
          </a:p>
        </p:txBody>
      </p:sp>
      <p:sp>
        <p:nvSpPr>
          <p:cNvPr id="70" name="Freeform 3"/>
          <p:cNvSpPr/>
          <p:nvPr/>
        </p:nvSpPr>
        <p:spPr>
          <a:xfrm>
            <a:off x="5878252" y="3019958"/>
            <a:ext cx="275391" cy="359806"/>
          </a:xfrm>
          <a:custGeom>
            <a:avLst/>
            <a:gdLst>
              <a:gd name="connsiteX0" fmla="*/ 2420721 w 2428576"/>
              <a:gd name="connsiteY0" fmla="*/ 1628497 h 3172188"/>
              <a:gd name="connsiteX1" fmla="*/ 927265 w 2428576"/>
              <a:gd name="connsiteY1" fmla="*/ 3165806 h 3172188"/>
              <a:gd name="connsiteX2" fmla="*/ 879563 w 2428576"/>
              <a:gd name="connsiteY2" fmla="*/ 3146451 h 3172188"/>
              <a:gd name="connsiteX3" fmla="*/ 879563 w 2428576"/>
              <a:gd name="connsiteY3" fmla="*/ 2807526 h 3172188"/>
              <a:gd name="connsiteX4" fmla="*/ 851788 w 2428576"/>
              <a:gd name="connsiteY4" fmla="*/ 2779752 h 3172188"/>
              <a:gd name="connsiteX5" fmla="*/ 27774 w 2428576"/>
              <a:gd name="connsiteY5" fmla="*/ 2779752 h 3172188"/>
              <a:gd name="connsiteX6" fmla="*/ 0 w 2428576"/>
              <a:gd name="connsiteY6" fmla="*/ 2751977 h 3172188"/>
              <a:gd name="connsiteX7" fmla="*/ 0 w 2428576"/>
              <a:gd name="connsiteY7" fmla="*/ 446584 h 3172188"/>
              <a:gd name="connsiteX8" fmla="*/ 27774 w 2428576"/>
              <a:gd name="connsiteY8" fmla="*/ 418809 h 3172188"/>
              <a:gd name="connsiteX9" fmla="*/ 851788 w 2428576"/>
              <a:gd name="connsiteY9" fmla="*/ 418809 h 3172188"/>
              <a:gd name="connsiteX10" fmla="*/ 879563 w 2428576"/>
              <a:gd name="connsiteY10" fmla="*/ 391034 h 3172188"/>
              <a:gd name="connsiteX11" fmla="*/ 879563 w 2428576"/>
              <a:gd name="connsiteY11" fmla="*/ 25807 h 3172188"/>
              <a:gd name="connsiteX12" fmla="*/ 927544 w 2428576"/>
              <a:gd name="connsiteY12" fmla="*/ 6757 h 3172188"/>
              <a:gd name="connsiteX13" fmla="*/ 2421000 w 2428576"/>
              <a:gd name="connsiteY13" fmla="*/ 1590079 h 3172188"/>
              <a:gd name="connsiteX14" fmla="*/ 2420721 w 2428576"/>
              <a:gd name="connsiteY14" fmla="*/ 1628497 h 3172188"/>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Lst>
            <a:rect l="l" t="t" r="r" b="b"/>
            <a:pathLst>
              <a:path w="2428576" h="3172188">
                <a:moveTo>
                  <a:pt x="2420721" y="1628497"/>
                </a:moveTo>
                <a:lnTo>
                  <a:pt x="927265" y="3165806"/>
                </a:lnTo>
                <a:cubicBezTo>
                  <a:pt x="909891" y="3183688"/>
                  <a:pt x="879563" y="3171394"/>
                  <a:pt x="879563" y="3146451"/>
                </a:cubicBezTo>
                <a:lnTo>
                  <a:pt x="879563" y="2807526"/>
                </a:lnTo>
                <a:cubicBezTo>
                  <a:pt x="879563" y="2792185"/>
                  <a:pt x="867130" y="2779752"/>
                  <a:pt x="851788" y="2779752"/>
                </a:cubicBezTo>
                <a:lnTo>
                  <a:pt x="27774" y="2779752"/>
                </a:lnTo>
                <a:cubicBezTo>
                  <a:pt x="12432" y="2779752"/>
                  <a:pt x="0" y="2767319"/>
                  <a:pt x="0" y="2751977"/>
                </a:cubicBezTo>
                <a:lnTo>
                  <a:pt x="0" y="446584"/>
                </a:lnTo>
                <a:cubicBezTo>
                  <a:pt x="0" y="431242"/>
                  <a:pt x="12432" y="418809"/>
                  <a:pt x="27774" y="418809"/>
                </a:cubicBezTo>
                <a:lnTo>
                  <a:pt x="851788" y="418809"/>
                </a:lnTo>
                <a:cubicBezTo>
                  <a:pt x="867130" y="418809"/>
                  <a:pt x="879563" y="406375"/>
                  <a:pt x="879563" y="391034"/>
                </a:cubicBezTo>
                <a:lnTo>
                  <a:pt x="879563" y="25807"/>
                </a:lnTo>
                <a:cubicBezTo>
                  <a:pt x="879563" y="674"/>
                  <a:pt x="910297" y="-11530"/>
                  <a:pt x="927544" y="6757"/>
                </a:cubicBezTo>
                <a:lnTo>
                  <a:pt x="2421000" y="1590079"/>
                </a:lnTo>
                <a:cubicBezTo>
                  <a:pt x="2431211" y="1600899"/>
                  <a:pt x="2431084" y="1617828"/>
                  <a:pt x="2420721" y="1628497"/>
                </a:cubicBezTo>
              </a:path>
            </a:pathLst>
          </a:custGeom>
          <a:solidFill>
            <a:srgbClr val="3DCA58">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21840" tIns="60920" rIns="121840" bIns="60920" rtlCol="0" anchor="ctr"/>
          <a:lstStyle/>
          <a:p>
            <a:pPr algn="ctr" defTabSz="608051">
              <a:defRPr/>
            </a:pPr>
            <a:endParaRPr lang="zh-CN" altLang="en-US" sz="933" kern="0" dirty="0">
              <a:solidFill>
                <a:prstClr val="white"/>
              </a:solidFill>
              <a:latin typeface="Calibri"/>
              <a:ea typeface="宋体" panose="02010600030101010101" pitchFamily="2" charset="-122"/>
            </a:endParaRPr>
          </a:p>
        </p:txBody>
      </p:sp>
      <p:sp>
        <p:nvSpPr>
          <p:cNvPr id="71" name="Freeform 3"/>
          <p:cNvSpPr/>
          <p:nvPr/>
        </p:nvSpPr>
        <p:spPr>
          <a:xfrm>
            <a:off x="8279831" y="3019958"/>
            <a:ext cx="275391" cy="359806"/>
          </a:xfrm>
          <a:custGeom>
            <a:avLst/>
            <a:gdLst>
              <a:gd name="connsiteX0" fmla="*/ 2420721 w 2428576"/>
              <a:gd name="connsiteY0" fmla="*/ 1628497 h 3172188"/>
              <a:gd name="connsiteX1" fmla="*/ 927265 w 2428576"/>
              <a:gd name="connsiteY1" fmla="*/ 3165806 h 3172188"/>
              <a:gd name="connsiteX2" fmla="*/ 879563 w 2428576"/>
              <a:gd name="connsiteY2" fmla="*/ 3146451 h 3172188"/>
              <a:gd name="connsiteX3" fmla="*/ 879563 w 2428576"/>
              <a:gd name="connsiteY3" fmla="*/ 2807526 h 3172188"/>
              <a:gd name="connsiteX4" fmla="*/ 851788 w 2428576"/>
              <a:gd name="connsiteY4" fmla="*/ 2779752 h 3172188"/>
              <a:gd name="connsiteX5" fmla="*/ 27774 w 2428576"/>
              <a:gd name="connsiteY5" fmla="*/ 2779752 h 3172188"/>
              <a:gd name="connsiteX6" fmla="*/ 0 w 2428576"/>
              <a:gd name="connsiteY6" fmla="*/ 2751977 h 3172188"/>
              <a:gd name="connsiteX7" fmla="*/ 0 w 2428576"/>
              <a:gd name="connsiteY7" fmla="*/ 446584 h 3172188"/>
              <a:gd name="connsiteX8" fmla="*/ 27774 w 2428576"/>
              <a:gd name="connsiteY8" fmla="*/ 418809 h 3172188"/>
              <a:gd name="connsiteX9" fmla="*/ 851788 w 2428576"/>
              <a:gd name="connsiteY9" fmla="*/ 418809 h 3172188"/>
              <a:gd name="connsiteX10" fmla="*/ 879563 w 2428576"/>
              <a:gd name="connsiteY10" fmla="*/ 391034 h 3172188"/>
              <a:gd name="connsiteX11" fmla="*/ 879563 w 2428576"/>
              <a:gd name="connsiteY11" fmla="*/ 25807 h 3172188"/>
              <a:gd name="connsiteX12" fmla="*/ 927544 w 2428576"/>
              <a:gd name="connsiteY12" fmla="*/ 6757 h 3172188"/>
              <a:gd name="connsiteX13" fmla="*/ 2421000 w 2428576"/>
              <a:gd name="connsiteY13" fmla="*/ 1590079 h 3172188"/>
              <a:gd name="connsiteX14" fmla="*/ 2420721 w 2428576"/>
              <a:gd name="connsiteY14" fmla="*/ 1628497 h 3172188"/>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 ang="9">
                <a:pos x="connsiteX9" y="connsiteY9"/>
              </a:cxn>
              <a:cxn ang="10">
                <a:pos x="connsiteX10" y="connsiteY10"/>
              </a:cxn>
              <a:cxn ang="11">
                <a:pos x="connsiteX11" y="connsiteY11"/>
              </a:cxn>
              <a:cxn ang="12">
                <a:pos x="connsiteX12" y="connsiteY12"/>
              </a:cxn>
              <a:cxn ang="13">
                <a:pos x="connsiteX13" y="connsiteY13"/>
              </a:cxn>
              <a:cxn ang="14">
                <a:pos x="connsiteX14" y="connsiteY14"/>
              </a:cxn>
            </a:cxnLst>
            <a:rect l="l" t="t" r="r" b="b"/>
            <a:pathLst>
              <a:path w="2428576" h="3172188">
                <a:moveTo>
                  <a:pt x="2420721" y="1628497"/>
                </a:moveTo>
                <a:lnTo>
                  <a:pt x="927265" y="3165806"/>
                </a:lnTo>
                <a:cubicBezTo>
                  <a:pt x="909891" y="3183688"/>
                  <a:pt x="879563" y="3171394"/>
                  <a:pt x="879563" y="3146451"/>
                </a:cubicBezTo>
                <a:lnTo>
                  <a:pt x="879563" y="2807526"/>
                </a:lnTo>
                <a:cubicBezTo>
                  <a:pt x="879563" y="2792185"/>
                  <a:pt x="867130" y="2779752"/>
                  <a:pt x="851788" y="2779752"/>
                </a:cubicBezTo>
                <a:lnTo>
                  <a:pt x="27774" y="2779752"/>
                </a:lnTo>
                <a:cubicBezTo>
                  <a:pt x="12432" y="2779752"/>
                  <a:pt x="0" y="2767319"/>
                  <a:pt x="0" y="2751977"/>
                </a:cubicBezTo>
                <a:lnTo>
                  <a:pt x="0" y="446584"/>
                </a:lnTo>
                <a:cubicBezTo>
                  <a:pt x="0" y="431242"/>
                  <a:pt x="12432" y="418809"/>
                  <a:pt x="27774" y="418809"/>
                </a:cubicBezTo>
                <a:lnTo>
                  <a:pt x="851788" y="418809"/>
                </a:lnTo>
                <a:cubicBezTo>
                  <a:pt x="867130" y="418809"/>
                  <a:pt x="879563" y="406375"/>
                  <a:pt x="879563" y="391034"/>
                </a:cubicBezTo>
                <a:lnTo>
                  <a:pt x="879563" y="25807"/>
                </a:lnTo>
                <a:cubicBezTo>
                  <a:pt x="879563" y="674"/>
                  <a:pt x="910297" y="-11530"/>
                  <a:pt x="927544" y="6757"/>
                </a:cubicBezTo>
                <a:lnTo>
                  <a:pt x="2421000" y="1590079"/>
                </a:lnTo>
                <a:cubicBezTo>
                  <a:pt x="2431211" y="1600899"/>
                  <a:pt x="2431084" y="1617828"/>
                  <a:pt x="2420721" y="1628497"/>
                </a:cubicBezTo>
              </a:path>
            </a:pathLst>
          </a:custGeom>
          <a:solidFill>
            <a:srgbClr val="3DCA58">
              <a:alpha val="100000"/>
            </a:srgbClr>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21840" tIns="60920" rIns="121840" bIns="60920" rtlCol="0" anchor="ctr"/>
          <a:lstStyle/>
          <a:p>
            <a:pPr algn="ctr" defTabSz="608051">
              <a:defRPr/>
            </a:pPr>
            <a:endParaRPr lang="zh-CN" altLang="en-US" sz="933" kern="0" dirty="0">
              <a:solidFill>
                <a:prstClr val="white"/>
              </a:solidFill>
              <a:latin typeface="Calibri"/>
              <a:ea typeface="宋体" panose="02010600030101010101" pitchFamily="2" charset="-122"/>
            </a:endParaRPr>
          </a:p>
        </p:txBody>
      </p:sp>
      <p:pic>
        <p:nvPicPr>
          <p:cNvPr id="79" name="Picture 78"/>
          <p:cNvPicPr>
            <a:picLocks noChangeAspect="1"/>
          </p:cNvPicPr>
          <p:nvPr/>
        </p:nvPicPr>
        <p:blipFill>
          <a:blip r:embed="rId5" cstate="print"/>
          <a:stretch>
            <a:fillRect/>
          </a:stretch>
        </p:blipFill>
        <p:spPr>
          <a:xfrm>
            <a:off x="2363172" y="4013048"/>
            <a:ext cx="7440262" cy="660228"/>
          </a:xfrm>
          <a:prstGeom prst="rect">
            <a:avLst/>
          </a:prstGeom>
          <a:ln>
            <a:noFill/>
          </a:ln>
        </p:spPr>
      </p:pic>
      <p:sp>
        <p:nvSpPr>
          <p:cNvPr id="44" name="Rectangle 43"/>
          <p:cNvSpPr/>
          <p:nvPr/>
        </p:nvSpPr>
        <p:spPr>
          <a:xfrm>
            <a:off x="1424495" y="5149197"/>
            <a:ext cx="9182903" cy="451287"/>
          </a:xfrm>
          <a:prstGeom prst="rect">
            <a:avLst/>
          </a:prstGeom>
        </p:spPr>
        <p:txBody>
          <a:bodyPr wrap="square" lIns="121867" tIns="60933" rIns="121867" bIns="60933">
            <a:spAutoFit/>
          </a:bodyPr>
          <a:lstStyle/>
          <a:p>
            <a:pPr algn="ctr" defTabSz="769190">
              <a:defRPr/>
            </a:pPr>
            <a:r>
              <a:rPr lang="fr-FR" sz="2133" kern="0" dirty="0" err="1">
                <a:solidFill>
                  <a:srgbClr val="000000"/>
                </a:solidFill>
                <a:latin typeface="Arial"/>
              </a:rPr>
              <a:t>EcoStruxure</a:t>
            </a:r>
            <a:r>
              <a:rPr lang="fr-FR" sz="2133" kern="0" dirty="0">
                <a:solidFill>
                  <a:srgbClr val="000000"/>
                </a:solidFill>
                <a:latin typeface="Arial"/>
              </a:rPr>
              <a:t>: </a:t>
            </a:r>
            <a:r>
              <a:rPr lang="fr-FR" sz="2133" kern="0" dirty="0" err="1">
                <a:solidFill>
                  <a:srgbClr val="000000"/>
                </a:solidFill>
                <a:latin typeface="Arial"/>
              </a:rPr>
              <a:t>arhitectura</a:t>
            </a:r>
            <a:r>
              <a:rPr lang="fr-FR" sz="2133" kern="0" dirty="0">
                <a:solidFill>
                  <a:srgbClr val="000000"/>
                </a:solidFill>
                <a:latin typeface="Arial"/>
              </a:rPr>
              <a:t> </a:t>
            </a:r>
            <a:r>
              <a:rPr lang="fr-FR" sz="2133" kern="0" dirty="0" err="1">
                <a:solidFill>
                  <a:srgbClr val="000000"/>
                </a:solidFill>
                <a:latin typeface="Arial"/>
              </a:rPr>
              <a:t>deschisa</a:t>
            </a:r>
            <a:r>
              <a:rPr lang="fr-FR" sz="2133" kern="0" dirty="0">
                <a:solidFill>
                  <a:srgbClr val="000000"/>
                </a:solidFill>
                <a:latin typeface="Arial"/>
              </a:rPr>
              <a:t> de management al </a:t>
            </a:r>
            <a:r>
              <a:rPr lang="fr-FR" sz="2133" kern="0" dirty="0" err="1">
                <a:solidFill>
                  <a:srgbClr val="000000"/>
                </a:solidFill>
                <a:latin typeface="Arial"/>
              </a:rPr>
              <a:t>energiei</a:t>
            </a:r>
            <a:endParaRPr lang="fr-FR" sz="2133" kern="0" dirty="0">
              <a:solidFill>
                <a:srgbClr val="000000"/>
              </a:solidFill>
              <a:latin typeface="Arial"/>
            </a:endParaRPr>
          </a:p>
        </p:txBody>
      </p:sp>
    </p:spTree>
    <p:extLst>
      <p:ext uri="{BB962C8B-B14F-4D97-AF65-F5344CB8AC3E}">
        <p14:creationId xmlns:p14="http://schemas.microsoft.com/office/powerpoint/2010/main" val="288526891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119" y="3012"/>
          <a:ext cx="2115" cy="2115"/>
        </p:xfrm>
        <a:graphic>
          <a:graphicData uri="http://schemas.openxmlformats.org/presentationml/2006/ole">
            <mc:AlternateContent xmlns:mc="http://schemas.openxmlformats.org/markup-compatibility/2006">
              <mc:Choice xmlns:v="urn:schemas-microsoft-com:vml" Requires="v">
                <p:oleObj spid="_x0000_s5209"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2119" y="3012"/>
                        <a:ext cx="2115" cy="2115"/>
                      </a:xfrm>
                      <a:prstGeom prst="rect">
                        <a:avLst/>
                      </a:prstGeom>
                    </p:spPr>
                  </p:pic>
                </p:oleObj>
              </mc:Fallback>
            </mc:AlternateContent>
          </a:graphicData>
        </a:graphic>
      </p:graphicFrame>
      <p:grpSp>
        <p:nvGrpSpPr>
          <p:cNvPr id="10" name="Group 9"/>
          <p:cNvGrpSpPr/>
          <p:nvPr/>
        </p:nvGrpSpPr>
        <p:grpSpPr>
          <a:xfrm>
            <a:off x="559597" y="2262374"/>
            <a:ext cx="2095740" cy="3545880"/>
            <a:chOff x="153331" y="2755812"/>
            <a:chExt cx="1155153" cy="2201040"/>
          </a:xfrm>
        </p:grpSpPr>
        <p:sp>
          <p:nvSpPr>
            <p:cNvPr id="62" name="Down Arrow 61"/>
            <p:cNvSpPr/>
            <p:nvPr/>
          </p:nvSpPr>
          <p:spPr>
            <a:xfrm rot="10800000">
              <a:off x="550187" y="2755812"/>
              <a:ext cx="240805" cy="2201040"/>
            </a:xfrm>
            <a:prstGeom prst="downArrow">
              <a:avLst/>
            </a:prstGeom>
            <a:solidFill>
              <a:srgbClr val="00B0F0"/>
            </a:solidFill>
            <a:ln w="9525">
              <a:noFill/>
            </a:ln>
            <a:effectLst/>
          </p:spPr>
          <p:style>
            <a:lnRef idx="1">
              <a:schemeClr val="accent1"/>
            </a:lnRef>
            <a:fillRef idx="3">
              <a:schemeClr val="accent1"/>
            </a:fillRef>
            <a:effectRef idx="2">
              <a:schemeClr val="accent1"/>
            </a:effectRef>
            <a:fontRef idx="minor">
              <a:schemeClr val="lt1"/>
            </a:fontRef>
          </p:style>
          <p:txBody>
            <a:bodyPr lIns="121736" tIns="60868" rIns="121736" bIns="60868" rtlCol="0" anchor="ctr"/>
            <a:lstStyle/>
            <a:p>
              <a:pPr algn="ctr" defTabSz="608079"/>
              <a:endParaRPr lang="en-US" sz="1466" dirty="0">
                <a:solidFill>
                  <a:prstClr val="white"/>
                </a:solidFill>
                <a:latin typeface="Arial"/>
              </a:endParaRPr>
            </a:p>
          </p:txBody>
        </p:sp>
        <p:sp>
          <p:nvSpPr>
            <p:cNvPr id="66" name="Rectangle 65"/>
            <p:cNvSpPr/>
            <p:nvPr/>
          </p:nvSpPr>
          <p:spPr>
            <a:xfrm>
              <a:off x="362288" y="4235748"/>
              <a:ext cx="725927" cy="60463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lIns="121736" tIns="60868" rIns="121736" bIns="60868" rtlCol="0" anchor="ctr"/>
            <a:lstStyle/>
            <a:p>
              <a:pPr algn="ctr" defTabSz="608079"/>
              <a:r>
                <a:rPr lang="en-US" sz="1300" dirty="0" err="1">
                  <a:solidFill>
                    <a:schemeClr val="tx1"/>
                  </a:solidFill>
                  <a:latin typeface="Arial"/>
                </a:rPr>
                <a:t>Produse</a:t>
              </a:r>
              <a:r>
                <a:rPr lang="en-US" sz="1300" dirty="0">
                  <a:solidFill>
                    <a:schemeClr val="tx1"/>
                  </a:solidFill>
                  <a:latin typeface="Arial"/>
                </a:rPr>
                <a:t> </a:t>
              </a:r>
              <a:r>
                <a:rPr lang="en-US" sz="1300" dirty="0" err="1">
                  <a:solidFill>
                    <a:schemeClr val="tx1"/>
                  </a:solidFill>
                  <a:latin typeface="Arial"/>
                </a:rPr>
                <a:t>conectate</a:t>
              </a:r>
              <a:endParaRPr lang="en-US" sz="1300" dirty="0">
                <a:solidFill>
                  <a:schemeClr val="tx1"/>
                </a:solidFill>
                <a:latin typeface="Arial"/>
              </a:endParaRPr>
            </a:p>
          </p:txBody>
        </p:sp>
        <p:sp>
          <p:nvSpPr>
            <p:cNvPr id="67" name="Rectangle 66"/>
            <p:cNvSpPr/>
            <p:nvPr/>
          </p:nvSpPr>
          <p:spPr>
            <a:xfrm>
              <a:off x="363188" y="3603241"/>
              <a:ext cx="725927" cy="60463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lIns="121736" tIns="60868" rIns="121736" bIns="60868" rtlCol="0" anchor="ctr"/>
            <a:lstStyle/>
            <a:p>
              <a:pPr algn="ctr" defTabSz="608079"/>
              <a:r>
                <a:rPr lang="en-US" sz="1400" dirty="0">
                  <a:solidFill>
                    <a:schemeClr val="tx1"/>
                  </a:solidFill>
                  <a:latin typeface="Arial"/>
                </a:rPr>
                <a:t>Software</a:t>
              </a:r>
            </a:p>
          </p:txBody>
        </p:sp>
        <p:sp>
          <p:nvSpPr>
            <p:cNvPr id="68" name="Rectangle 67"/>
            <p:cNvSpPr/>
            <p:nvPr/>
          </p:nvSpPr>
          <p:spPr>
            <a:xfrm>
              <a:off x="367131" y="2970736"/>
              <a:ext cx="725927" cy="604633"/>
            </a:xfrm>
            <a:prstGeom prst="rect">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lIns="121736" tIns="60868" rIns="121736" bIns="60868" rtlCol="0" anchor="ctr"/>
            <a:lstStyle/>
            <a:p>
              <a:pPr algn="ctr" defTabSz="608079"/>
              <a:r>
                <a:rPr lang="en-US" sz="1300" dirty="0" err="1">
                  <a:solidFill>
                    <a:schemeClr val="tx1"/>
                  </a:solidFill>
                  <a:latin typeface="Arial"/>
                </a:rPr>
                <a:t>Analize</a:t>
              </a:r>
              <a:r>
                <a:rPr lang="en-US" sz="1300" dirty="0">
                  <a:solidFill>
                    <a:schemeClr val="tx1"/>
                  </a:solidFill>
                  <a:latin typeface="Arial"/>
                </a:rPr>
                <a:t> &amp;</a:t>
              </a:r>
              <a:r>
                <a:rPr lang="en-US" sz="1300" dirty="0" err="1">
                  <a:solidFill>
                    <a:schemeClr val="tx1"/>
                  </a:solidFill>
                  <a:latin typeface="Arial"/>
                </a:rPr>
                <a:t>Servicii</a:t>
              </a:r>
              <a:endParaRPr lang="en-US" sz="1300" dirty="0">
                <a:solidFill>
                  <a:schemeClr val="tx1"/>
                </a:solidFill>
                <a:latin typeface="Arial"/>
              </a:endParaRPr>
            </a:p>
          </p:txBody>
        </p:sp>
        <p:sp>
          <p:nvSpPr>
            <p:cNvPr id="95" name="Rectangle 94"/>
            <p:cNvSpPr/>
            <p:nvPr/>
          </p:nvSpPr>
          <p:spPr>
            <a:xfrm rot="16200000">
              <a:off x="-696943" y="3821006"/>
              <a:ext cx="1869645" cy="169097"/>
            </a:xfrm>
            <a:prstGeom prst="rect">
              <a:avLst/>
            </a:prstGeom>
            <a:solidFill>
              <a:schemeClr val="bg1">
                <a:lumMod val="5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21736" tIns="60868" rIns="121736" bIns="60868" rtlCol="0" anchor="ctr"/>
            <a:lstStyle/>
            <a:p>
              <a:pPr algn="ctr" defTabSz="608079"/>
              <a:r>
                <a:rPr lang="en-US" sz="1066" dirty="0">
                  <a:solidFill>
                    <a:prstClr val="white"/>
                  </a:solidFill>
                  <a:latin typeface="Arial"/>
                </a:rPr>
                <a:t>Cyber Security</a:t>
              </a:r>
            </a:p>
          </p:txBody>
        </p:sp>
        <p:sp>
          <p:nvSpPr>
            <p:cNvPr id="96" name="Rectangle 95"/>
            <p:cNvSpPr/>
            <p:nvPr/>
          </p:nvSpPr>
          <p:spPr>
            <a:xfrm rot="16200000">
              <a:off x="289113" y="3838817"/>
              <a:ext cx="1869645" cy="169097"/>
            </a:xfrm>
            <a:prstGeom prst="rect">
              <a:avLst/>
            </a:prstGeom>
            <a:solidFill>
              <a:schemeClr val="bg1">
                <a:lumMod val="50000"/>
              </a:schemeClr>
            </a:solidFill>
            <a:ln w="9525">
              <a:noFill/>
            </a:ln>
            <a:effectLst/>
          </p:spPr>
          <p:style>
            <a:lnRef idx="1">
              <a:schemeClr val="accent1"/>
            </a:lnRef>
            <a:fillRef idx="3">
              <a:schemeClr val="accent1"/>
            </a:fillRef>
            <a:effectRef idx="2">
              <a:schemeClr val="accent1"/>
            </a:effectRef>
            <a:fontRef idx="minor">
              <a:schemeClr val="lt1"/>
            </a:fontRef>
          </p:style>
          <p:txBody>
            <a:bodyPr lIns="121736" tIns="60868" rIns="121736" bIns="60868" rtlCol="0" anchor="ctr"/>
            <a:lstStyle/>
            <a:p>
              <a:pPr algn="ctr" defTabSz="608079"/>
              <a:r>
                <a:rPr lang="en-US" sz="1066" dirty="0">
                  <a:solidFill>
                    <a:prstClr val="white"/>
                  </a:solidFill>
                  <a:latin typeface="Arial"/>
                </a:rPr>
                <a:t>Life cycle management</a:t>
              </a:r>
            </a:p>
          </p:txBody>
        </p:sp>
      </p:grpSp>
      <p:sp>
        <p:nvSpPr>
          <p:cNvPr id="117" name="Rectangle 116"/>
          <p:cNvSpPr/>
          <p:nvPr/>
        </p:nvSpPr>
        <p:spPr>
          <a:xfrm>
            <a:off x="2335653" y="6305604"/>
            <a:ext cx="8719763" cy="303600"/>
          </a:xfrm>
          <a:prstGeom prst="rect">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21747" tIns="60873" rIns="121747" bIns="60873" rtlCol="0" anchor="ctr"/>
          <a:lstStyle/>
          <a:p>
            <a:pPr algn="ctr" defTabSz="1217518"/>
            <a:r>
              <a:rPr lang="en-US" sz="1333" b="1" dirty="0">
                <a:solidFill>
                  <a:srgbClr val="626469"/>
                </a:solidFill>
              </a:rPr>
              <a:t>Open </a:t>
            </a:r>
            <a:r>
              <a:rPr lang="en-US" sz="1333" dirty="0">
                <a:solidFill>
                  <a:srgbClr val="626469"/>
                </a:solidFill>
              </a:rPr>
              <a:t>│ </a:t>
            </a:r>
            <a:r>
              <a:rPr lang="en-US" sz="1333" b="1" dirty="0">
                <a:solidFill>
                  <a:srgbClr val="626469"/>
                </a:solidFill>
              </a:rPr>
              <a:t>Scalable</a:t>
            </a:r>
            <a:r>
              <a:rPr lang="en-US" sz="1333" dirty="0">
                <a:solidFill>
                  <a:srgbClr val="626469"/>
                </a:solidFill>
              </a:rPr>
              <a:t> │ </a:t>
            </a:r>
            <a:r>
              <a:rPr lang="en-US" sz="1333" b="1" dirty="0">
                <a:solidFill>
                  <a:srgbClr val="626469"/>
                </a:solidFill>
              </a:rPr>
              <a:t>Secure</a:t>
            </a:r>
            <a:r>
              <a:rPr lang="en-US" sz="1333" dirty="0">
                <a:solidFill>
                  <a:srgbClr val="626469"/>
                </a:solidFill>
              </a:rPr>
              <a:t> │ </a:t>
            </a:r>
            <a:r>
              <a:rPr lang="en-US" sz="1333" b="1" dirty="0">
                <a:solidFill>
                  <a:srgbClr val="626469"/>
                </a:solidFill>
              </a:rPr>
              <a:t>Global </a:t>
            </a:r>
            <a:r>
              <a:rPr lang="en-US" sz="1333" dirty="0">
                <a:solidFill>
                  <a:srgbClr val="626469"/>
                </a:solidFill>
              </a:rPr>
              <a:t>│</a:t>
            </a:r>
            <a:r>
              <a:rPr lang="en-US" sz="1333" b="1" dirty="0">
                <a:solidFill>
                  <a:srgbClr val="626469"/>
                </a:solidFill>
              </a:rPr>
              <a:t>On-Premises &amp; Cloud</a:t>
            </a:r>
          </a:p>
        </p:txBody>
      </p:sp>
      <p:sp>
        <p:nvSpPr>
          <p:cNvPr id="90" name="Rectangle 78"/>
          <p:cNvSpPr>
            <a:spLocks noChangeArrowheads="1"/>
          </p:cNvSpPr>
          <p:nvPr/>
        </p:nvSpPr>
        <p:spPr bwMode="auto">
          <a:xfrm>
            <a:off x="563403" y="129586"/>
            <a:ext cx="11482474" cy="953702"/>
          </a:xfrm>
          <a:prstGeom prst="rect">
            <a:avLst/>
          </a:prstGeom>
          <a:noFill/>
          <a:ln w="9525">
            <a:noFill/>
            <a:miter lim="800000"/>
            <a:headEnd/>
            <a:tailEnd/>
          </a:ln>
        </p:spPr>
        <p:txBody>
          <a:bodyPr lIns="0" tIns="14396" rIns="0" bIns="14396" anchor="t"/>
          <a:lstStyle/>
          <a:p>
            <a:r>
              <a:rPr lang="en-US" sz="3199" dirty="0"/>
              <a:t>…care </a:t>
            </a:r>
            <a:r>
              <a:rPr lang="en-US" sz="3199" dirty="0" err="1"/>
              <a:t>ofera</a:t>
            </a:r>
            <a:r>
              <a:rPr lang="en-US" sz="3199" dirty="0"/>
              <a:t> </a:t>
            </a:r>
            <a:r>
              <a:rPr lang="en-US" sz="3199" dirty="0" err="1"/>
              <a:t>Siguranta</a:t>
            </a:r>
            <a:r>
              <a:rPr lang="en-US" sz="3199" dirty="0"/>
              <a:t>, </a:t>
            </a:r>
            <a:r>
              <a:rPr lang="en-US" sz="3199" dirty="0" err="1"/>
              <a:t>Disponibilitate</a:t>
            </a:r>
            <a:r>
              <a:rPr lang="en-US" sz="3199" dirty="0"/>
              <a:t> </a:t>
            </a:r>
            <a:r>
              <a:rPr lang="en-US" sz="3199" dirty="0" err="1"/>
              <a:t>si</a:t>
            </a:r>
            <a:r>
              <a:rPr lang="en-US" sz="3199" dirty="0"/>
              <a:t> </a:t>
            </a:r>
            <a:r>
              <a:rPr lang="en-US" sz="3199" dirty="0" err="1"/>
              <a:t>Eficienta</a:t>
            </a:r>
            <a:r>
              <a:rPr lang="en-US" sz="3199" dirty="0"/>
              <a:t> </a:t>
            </a:r>
            <a:r>
              <a:rPr lang="en-US" sz="3199" dirty="0" err="1"/>
              <a:t>Energetica</a:t>
            </a:r>
            <a:r>
              <a:rPr lang="en-US" sz="3199" dirty="0"/>
              <a:t> </a:t>
            </a:r>
            <a:endParaRPr lang="en-US" sz="3199" b="1" i="1" dirty="0"/>
          </a:p>
        </p:txBody>
      </p:sp>
      <p:sp>
        <p:nvSpPr>
          <p:cNvPr id="48" name="Rectangle 47"/>
          <p:cNvSpPr/>
          <p:nvPr/>
        </p:nvSpPr>
        <p:spPr>
          <a:xfrm>
            <a:off x="593916" y="923995"/>
            <a:ext cx="3399466" cy="84102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311" tIns="45655" rIns="91311" bIns="45655" rtlCol="0" anchor="ctr"/>
          <a:lstStyle/>
          <a:p>
            <a:pPr algn="ctr" defTabSz="913161"/>
            <a:r>
              <a:rPr lang="en-US" sz="1600" b="1" dirty="0" err="1">
                <a:solidFill>
                  <a:schemeClr val="tx1"/>
                </a:solidFill>
                <a:latin typeface="Arial" charset="0"/>
              </a:rPr>
              <a:t>Siguranta</a:t>
            </a:r>
            <a:endParaRPr lang="en-US" sz="1600" b="1" dirty="0">
              <a:solidFill>
                <a:schemeClr val="tx1"/>
              </a:solidFill>
              <a:latin typeface="Arial" charset="0"/>
            </a:endParaRPr>
          </a:p>
          <a:p>
            <a:pPr algn="ctr" defTabSz="913161"/>
            <a:r>
              <a:rPr lang="en-US" sz="1600" dirty="0" err="1">
                <a:solidFill>
                  <a:schemeClr val="tx1"/>
                </a:solidFill>
                <a:latin typeface="Arial" charset="0"/>
              </a:rPr>
              <a:t>Protectie</a:t>
            </a:r>
            <a:r>
              <a:rPr lang="en-US" sz="1600" dirty="0">
                <a:solidFill>
                  <a:schemeClr val="tx1"/>
                </a:solidFill>
                <a:latin typeface="Arial" charset="0"/>
              </a:rPr>
              <a:t> │ </a:t>
            </a:r>
            <a:r>
              <a:rPr lang="en-US" sz="1600" dirty="0" err="1">
                <a:solidFill>
                  <a:schemeClr val="tx1"/>
                </a:solidFill>
                <a:latin typeface="Arial" charset="0"/>
              </a:rPr>
              <a:t>Conformitate</a:t>
            </a:r>
            <a:endParaRPr lang="en-US" sz="1600" dirty="0">
              <a:solidFill>
                <a:schemeClr val="tx1"/>
              </a:solidFill>
            </a:endParaRPr>
          </a:p>
        </p:txBody>
      </p:sp>
      <p:sp>
        <p:nvSpPr>
          <p:cNvPr id="49" name="Rectangle 48"/>
          <p:cNvSpPr/>
          <p:nvPr/>
        </p:nvSpPr>
        <p:spPr>
          <a:xfrm>
            <a:off x="7736107" y="909021"/>
            <a:ext cx="3367066" cy="84102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311" tIns="45655" rIns="91311" bIns="45655" rtlCol="0" anchor="ctr"/>
          <a:lstStyle/>
          <a:p>
            <a:pPr algn="ctr" defTabSz="913161"/>
            <a:r>
              <a:rPr lang="en-US" sz="1600" b="1" dirty="0" err="1">
                <a:solidFill>
                  <a:schemeClr val="tx1"/>
                </a:solidFill>
                <a:latin typeface="Arial" charset="0"/>
              </a:rPr>
              <a:t>Eficienta</a:t>
            </a:r>
            <a:endParaRPr lang="en-US" sz="1600" b="1" dirty="0">
              <a:solidFill>
                <a:schemeClr val="tx1"/>
              </a:solidFill>
              <a:latin typeface="Arial" charset="0"/>
            </a:endParaRPr>
          </a:p>
          <a:p>
            <a:pPr algn="ctr" defTabSz="913161"/>
            <a:r>
              <a:rPr lang="en-US" sz="1600" dirty="0" err="1">
                <a:solidFill>
                  <a:schemeClr val="tx1"/>
                </a:solidFill>
                <a:latin typeface="Arial" charset="0"/>
              </a:rPr>
              <a:t>Operationala</a:t>
            </a:r>
            <a:r>
              <a:rPr lang="en-US" sz="1600" dirty="0">
                <a:solidFill>
                  <a:schemeClr val="tx1"/>
                </a:solidFill>
                <a:latin typeface="Arial" charset="0"/>
              </a:rPr>
              <a:t> </a:t>
            </a:r>
            <a:r>
              <a:rPr lang="en-US" sz="1600" dirty="0">
                <a:solidFill>
                  <a:schemeClr val="tx1"/>
                </a:solidFill>
              </a:rPr>
              <a:t>│ </a:t>
            </a:r>
            <a:r>
              <a:rPr lang="en-US" sz="1600" dirty="0" err="1">
                <a:solidFill>
                  <a:schemeClr val="tx1"/>
                </a:solidFill>
                <a:latin typeface="Arial" charset="0"/>
              </a:rPr>
              <a:t>Energetica</a:t>
            </a:r>
            <a:endParaRPr lang="en-US" sz="1600" dirty="0">
              <a:solidFill>
                <a:schemeClr val="tx1"/>
              </a:solidFill>
              <a:latin typeface="Arial" charset="0"/>
            </a:endParaRPr>
          </a:p>
        </p:txBody>
      </p:sp>
      <p:sp>
        <p:nvSpPr>
          <p:cNvPr id="54" name="Rectangle 53"/>
          <p:cNvSpPr/>
          <p:nvPr/>
        </p:nvSpPr>
        <p:spPr>
          <a:xfrm>
            <a:off x="4149755" y="909021"/>
            <a:ext cx="3367066" cy="84102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311" tIns="45655" rIns="91311" bIns="45655" rtlCol="0" anchor="ctr"/>
          <a:lstStyle/>
          <a:p>
            <a:pPr algn="ctr" defTabSz="913161"/>
            <a:r>
              <a:rPr lang="en-US" sz="1600" b="1" dirty="0" err="1">
                <a:solidFill>
                  <a:schemeClr val="tx1"/>
                </a:solidFill>
                <a:latin typeface="Arial" charset="0"/>
              </a:rPr>
              <a:t>Disponibilitate</a:t>
            </a:r>
            <a:endParaRPr lang="en-US" sz="1600" b="1" dirty="0">
              <a:solidFill>
                <a:schemeClr val="tx1"/>
              </a:solidFill>
              <a:latin typeface="Arial" charset="0"/>
            </a:endParaRPr>
          </a:p>
          <a:p>
            <a:pPr algn="ctr" defTabSz="913161"/>
            <a:r>
              <a:rPr lang="en-US" sz="1600" dirty="0" err="1">
                <a:solidFill>
                  <a:schemeClr val="tx1"/>
                </a:solidFill>
                <a:latin typeface="Arial" charset="0"/>
              </a:rPr>
              <a:t>Timpi</a:t>
            </a:r>
            <a:r>
              <a:rPr lang="en-US" sz="1600" dirty="0">
                <a:solidFill>
                  <a:schemeClr val="tx1"/>
                </a:solidFill>
                <a:latin typeface="Arial" charset="0"/>
              </a:rPr>
              <a:t> de </a:t>
            </a:r>
            <a:r>
              <a:rPr lang="en-US" sz="1600" dirty="0" err="1">
                <a:solidFill>
                  <a:schemeClr val="tx1"/>
                </a:solidFill>
                <a:latin typeface="Arial" charset="0"/>
              </a:rPr>
              <a:t>intrerupere</a:t>
            </a:r>
            <a:r>
              <a:rPr lang="en-US" sz="1600" dirty="0">
                <a:solidFill>
                  <a:schemeClr val="tx1"/>
                </a:solidFill>
              </a:rPr>
              <a:t>│ </a:t>
            </a:r>
            <a:r>
              <a:rPr lang="en-US" sz="1600" dirty="0" err="1">
                <a:solidFill>
                  <a:schemeClr val="tx1"/>
                </a:solidFill>
              </a:rPr>
              <a:t>Repuneri</a:t>
            </a:r>
            <a:r>
              <a:rPr lang="en-US" sz="1600" dirty="0">
                <a:solidFill>
                  <a:schemeClr val="tx1"/>
                </a:solidFill>
              </a:rPr>
              <a:t> </a:t>
            </a:r>
            <a:r>
              <a:rPr lang="en-US" sz="1600" dirty="0" err="1">
                <a:solidFill>
                  <a:schemeClr val="tx1"/>
                </a:solidFill>
              </a:rPr>
              <a:t>rapide</a:t>
            </a:r>
            <a:r>
              <a:rPr lang="en-US" sz="1600" dirty="0">
                <a:solidFill>
                  <a:schemeClr val="tx1"/>
                </a:solidFill>
              </a:rPr>
              <a:t> in </a:t>
            </a:r>
            <a:r>
              <a:rPr lang="en-US" sz="1600" dirty="0" err="1">
                <a:solidFill>
                  <a:schemeClr val="tx1"/>
                </a:solidFill>
              </a:rPr>
              <a:t>functiune</a:t>
            </a:r>
            <a:endParaRPr lang="en-US" sz="1600" dirty="0">
              <a:solidFill>
                <a:schemeClr val="tx1"/>
              </a:solidFill>
            </a:endParaRPr>
          </a:p>
        </p:txBody>
      </p:sp>
      <p:grpSp>
        <p:nvGrpSpPr>
          <p:cNvPr id="50" name="Group 49">
            <a:extLst>
              <a:ext uri="{FF2B5EF4-FFF2-40B4-BE49-F238E27FC236}">
                <a16:creationId xmlns:a16="http://schemas.microsoft.com/office/drawing/2014/main" id="{5D2BBC99-D867-411D-AFA5-1731D546004A}"/>
              </a:ext>
            </a:extLst>
          </p:cNvPr>
          <p:cNvGrpSpPr/>
          <p:nvPr/>
        </p:nvGrpSpPr>
        <p:grpSpPr>
          <a:xfrm>
            <a:off x="4444352" y="2730994"/>
            <a:ext cx="4502363" cy="3155631"/>
            <a:chOff x="423035" y="1850165"/>
            <a:chExt cx="2663379" cy="2357393"/>
          </a:xfrm>
        </p:grpSpPr>
        <p:pic>
          <p:nvPicPr>
            <p:cNvPr id="51" name="Picture 1">
              <a:extLst>
                <a:ext uri="{FF2B5EF4-FFF2-40B4-BE49-F238E27FC236}">
                  <a16:creationId xmlns:a16="http://schemas.microsoft.com/office/drawing/2014/main" id="{E2BAF19C-DAE2-4F68-AD51-2632693E6806}"/>
                </a:ext>
              </a:extLst>
            </p:cNvPr>
            <p:cNvPicPr>
              <a:picLocks noChangeAspect="1" noChangeArrowheads="1"/>
            </p:cNvPicPr>
            <p:nvPr/>
          </p:nvPicPr>
          <p:blipFill>
            <a:blip r:embed="rId7" cstate="email"/>
            <a:srcRect/>
            <a:stretch>
              <a:fillRect/>
            </a:stretch>
          </p:blipFill>
          <p:spPr bwMode="auto">
            <a:xfrm>
              <a:off x="1483904" y="3458318"/>
              <a:ext cx="473156" cy="703910"/>
            </a:xfrm>
            <a:prstGeom prst="rect">
              <a:avLst/>
            </a:prstGeom>
            <a:noFill/>
            <a:ln w="9525">
              <a:noFill/>
              <a:miter lim="800000"/>
              <a:headEnd/>
              <a:tailEnd/>
            </a:ln>
          </p:spPr>
        </p:pic>
        <p:pic>
          <p:nvPicPr>
            <p:cNvPr id="52" name="Picture 2">
              <a:extLst>
                <a:ext uri="{FF2B5EF4-FFF2-40B4-BE49-F238E27FC236}">
                  <a16:creationId xmlns:a16="http://schemas.microsoft.com/office/drawing/2014/main" id="{AF8BE83D-2368-4CE2-B2E3-0184A844E4B3}"/>
                </a:ext>
              </a:extLst>
            </p:cNvPr>
            <p:cNvPicPr>
              <a:picLocks noChangeAspect="1" noChangeArrowheads="1"/>
            </p:cNvPicPr>
            <p:nvPr/>
          </p:nvPicPr>
          <p:blipFill>
            <a:blip r:embed="rId8" cstate="email"/>
            <a:srcRect/>
            <a:stretch>
              <a:fillRect/>
            </a:stretch>
          </p:blipFill>
          <p:spPr bwMode="auto">
            <a:xfrm>
              <a:off x="2160815" y="3179136"/>
              <a:ext cx="656812" cy="1028422"/>
            </a:xfrm>
            <a:prstGeom prst="rect">
              <a:avLst/>
            </a:prstGeom>
            <a:noFill/>
            <a:ln w="9525">
              <a:noFill/>
              <a:miter lim="800000"/>
              <a:headEnd/>
              <a:tailEnd/>
            </a:ln>
          </p:spPr>
        </p:pic>
        <p:grpSp>
          <p:nvGrpSpPr>
            <p:cNvPr id="53" name="Group 185">
              <a:extLst>
                <a:ext uri="{FF2B5EF4-FFF2-40B4-BE49-F238E27FC236}">
                  <a16:creationId xmlns:a16="http://schemas.microsoft.com/office/drawing/2014/main" id="{962A8A55-124D-43B9-8B20-5FE7033AC324}"/>
                </a:ext>
              </a:extLst>
            </p:cNvPr>
            <p:cNvGrpSpPr/>
            <p:nvPr/>
          </p:nvGrpSpPr>
          <p:grpSpPr>
            <a:xfrm>
              <a:off x="423035" y="1856189"/>
              <a:ext cx="738567" cy="1089031"/>
              <a:chOff x="1670100" y="1165285"/>
              <a:chExt cx="738567" cy="961522"/>
            </a:xfrm>
          </p:grpSpPr>
          <p:cxnSp>
            <p:nvCxnSpPr>
              <p:cNvPr id="64" name="Straight Connector 63">
                <a:extLst>
                  <a:ext uri="{FF2B5EF4-FFF2-40B4-BE49-F238E27FC236}">
                    <a16:creationId xmlns:a16="http://schemas.microsoft.com/office/drawing/2014/main" id="{E9AB7447-FD63-4412-94AA-AEE9A61E72D5}"/>
                  </a:ext>
                </a:extLst>
              </p:cNvPr>
              <p:cNvCxnSpPr/>
              <p:nvPr/>
            </p:nvCxnSpPr>
            <p:spPr>
              <a:xfrm flipH="1">
                <a:off x="2023151" y="1596537"/>
                <a:ext cx="2656" cy="530270"/>
              </a:xfrm>
              <a:prstGeom prst="line">
                <a:avLst/>
              </a:prstGeom>
              <a:ln>
                <a:solidFill>
                  <a:srgbClr val="36C746"/>
                </a:solidFill>
              </a:ln>
            </p:spPr>
            <p:style>
              <a:lnRef idx="2">
                <a:schemeClr val="dk1"/>
              </a:lnRef>
              <a:fillRef idx="0">
                <a:schemeClr val="dk1"/>
              </a:fillRef>
              <a:effectRef idx="1">
                <a:schemeClr val="dk1"/>
              </a:effectRef>
              <a:fontRef idx="minor">
                <a:schemeClr val="tx1"/>
              </a:fontRef>
            </p:style>
          </p:cxnSp>
          <p:grpSp>
            <p:nvGrpSpPr>
              <p:cNvPr id="65" name="Agrupar 44">
                <a:extLst>
                  <a:ext uri="{FF2B5EF4-FFF2-40B4-BE49-F238E27FC236}">
                    <a16:creationId xmlns:a16="http://schemas.microsoft.com/office/drawing/2014/main" id="{C036FD98-8832-41B9-9582-26FD3C7E6A13}"/>
                  </a:ext>
                </a:extLst>
              </p:cNvPr>
              <p:cNvGrpSpPr/>
              <p:nvPr/>
            </p:nvGrpSpPr>
            <p:grpSpPr>
              <a:xfrm>
                <a:off x="1670100" y="1165285"/>
                <a:ext cx="738567" cy="388796"/>
                <a:chOff x="2445756" y="3065158"/>
                <a:chExt cx="1109326" cy="621402"/>
              </a:xfrm>
            </p:grpSpPr>
            <p:pic>
              <p:nvPicPr>
                <p:cNvPr id="69" name="Picture 48" descr="Laptop.jpg">
                  <a:extLst>
                    <a:ext uri="{FF2B5EF4-FFF2-40B4-BE49-F238E27FC236}">
                      <a16:creationId xmlns:a16="http://schemas.microsoft.com/office/drawing/2014/main" id="{117E666D-A19C-4DFD-9C25-8E9678C2E221}"/>
                    </a:ext>
                  </a:extLst>
                </p:cNvPr>
                <p:cNvPicPr>
                  <a:picLocks noChangeAspect="1"/>
                </p:cNvPicPr>
                <p:nvPr/>
              </p:nvPicPr>
              <p:blipFill>
                <a:blip r:embed="rId9" cstate="email"/>
                <a:stretch>
                  <a:fillRect/>
                </a:stretch>
              </p:blipFill>
              <p:spPr>
                <a:xfrm>
                  <a:off x="2445756" y="3065158"/>
                  <a:ext cx="1109326" cy="621402"/>
                </a:xfrm>
                <a:prstGeom prst="rect">
                  <a:avLst/>
                </a:prstGeom>
              </p:spPr>
            </p:pic>
            <p:pic>
              <p:nvPicPr>
                <p:cNvPr id="71" name="Picture 6">
                  <a:extLst>
                    <a:ext uri="{FF2B5EF4-FFF2-40B4-BE49-F238E27FC236}">
                      <a16:creationId xmlns:a16="http://schemas.microsoft.com/office/drawing/2014/main" id="{6C62531C-62EB-4165-9741-C4D325E9554B}"/>
                    </a:ext>
                  </a:extLst>
                </p:cNvPr>
                <p:cNvPicPr>
                  <a:picLocks noChangeAspect="1" noChangeArrowheads="1"/>
                </p:cNvPicPr>
                <p:nvPr/>
              </p:nvPicPr>
              <p:blipFill>
                <a:blip r:embed="rId10" cstate="email"/>
                <a:srcRect b="-3854"/>
                <a:stretch>
                  <a:fillRect/>
                </a:stretch>
              </p:blipFill>
              <p:spPr bwMode="auto">
                <a:xfrm>
                  <a:off x="2633733" y="3104265"/>
                  <a:ext cx="711295" cy="420517"/>
                </a:xfrm>
                <a:prstGeom prst="rect">
                  <a:avLst/>
                </a:prstGeom>
                <a:noFill/>
                <a:ln w="9525">
                  <a:noFill/>
                  <a:miter lim="800000"/>
                  <a:headEnd/>
                  <a:tailEnd/>
                </a:ln>
              </p:spPr>
            </p:pic>
          </p:grpSp>
        </p:grpSp>
        <p:pic>
          <p:nvPicPr>
            <p:cNvPr id="55" name="Picture 2">
              <a:extLst>
                <a:ext uri="{FF2B5EF4-FFF2-40B4-BE49-F238E27FC236}">
                  <a16:creationId xmlns:a16="http://schemas.microsoft.com/office/drawing/2014/main" id="{A4E29AFC-A6F3-469C-BCB7-561E1FDA6436}"/>
                </a:ext>
              </a:extLst>
            </p:cNvPr>
            <p:cNvPicPr>
              <a:picLocks noChangeAspect="1" noChangeArrowheads="1"/>
            </p:cNvPicPr>
            <p:nvPr/>
          </p:nvPicPr>
          <p:blipFill>
            <a:blip r:embed="rId11" cstate="email"/>
            <a:srcRect/>
            <a:stretch>
              <a:fillRect/>
            </a:stretch>
          </p:blipFill>
          <p:spPr bwMode="auto">
            <a:xfrm>
              <a:off x="2401398" y="1850165"/>
              <a:ext cx="685016" cy="452429"/>
            </a:xfrm>
            <a:prstGeom prst="rect">
              <a:avLst/>
            </a:prstGeom>
            <a:noFill/>
            <a:ln w="9525">
              <a:noFill/>
              <a:miter lim="800000"/>
              <a:headEnd/>
              <a:tailEnd/>
            </a:ln>
          </p:spPr>
        </p:pic>
        <p:cxnSp>
          <p:nvCxnSpPr>
            <p:cNvPr id="56" name="Straight Connector 55">
              <a:extLst>
                <a:ext uri="{FF2B5EF4-FFF2-40B4-BE49-F238E27FC236}">
                  <a16:creationId xmlns:a16="http://schemas.microsoft.com/office/drawing/2014/main" id="{24CC2493-DDF0-4CF5-B7D0-08859A0C8CA6}"/>
                </a:ext>
              </a:extLst>
            </p:cNvPr>
            <p:cNvCxnSpPr/>
            <p:nvPr/>
          </p:nvCxnSpPr>
          <p:spPr>
            <a:xfrm flipH="1">
              <a:off x="2779582" y="2352064"/>
              <a:ext cx="2656" cy="600590"/>
            </a:xfrm>
            <a:prstGeom prst="line">
              <a:avLst/>
            </a:prstGeom>
            <a:ln>
              <a:solidFill>
                <a:srgbClr val="36C746"/>
              </a:solidFill>
            </a:ln>
          </p:spPr>
          <p:style>
            <a:lnRef idx="2">
              <a:schemeClr val="dk1"/>
            </a:lnRef>
            <a:fillRef idx="0">
              <a:schemeClr val="dk1"/>
            </a:fillRef>
            <a:effectRef idx="1">
              <a:schemeClr val="dk1"/>
            </a:effectRef>
            <a:fontRef idx="minor">
              <a:schemeClr val="tx1"/>
            </a:fontRef>
          </p:style>
        </p:cxnSp>
        <p:pic>
          <p:nvPicPr>
            <p:cNvPr id="57" name="Picture 3" descr="D:\documents and Settings\ebbw407\Desktop\Standard  icons\SE_pictogram_Cloud.jpg">
              <a:extLst>
                <a:ext uri="{FF2B5EF4-FFF2-40B4-BE49-F238E27FC236}">
                  <a16:creationId xmlns:a16="http://schemas.microsoft.com/office/drawing/2014/main" id="{D79B07F5-A3DD-4B2D-A007-811944B451AB}"/>
                </a:ext>
              </a:extLst>
            </p:cNvPr>
            <p:cNvPicPr>
              <a:picLocks noChangeAspect="1" noChangeArrowheads="1"/>
            </p:cNvPicPr>
            <p:nvPr/>
          </p:nvPicPr>
          <p:blipFill>
            <a:blip r:embed="rId12" cstate="email"/>
            <a:srcRect/>
            <a:stretch>
              <a:fillRect/>
            </a:stretch>
          </p:blipFill>
          <p:spPr bwMode="auto">
            <a:xfrm>
              <a:off x="2647659" y="2468855"/>
              <a:ext cx="275828" cy="260592"/>
            </a:xfrm>
            <a:prstGeom prst="rect">
              <a:avLst/>
            </a:prstGeom>
            <a:noFill/>
          </p:spPr>
        </p:pic>
        <p:cxnSp>
          <p:nvCxnSpPr>
            <p:cNvPr id="58" name="Straight Connector 57">
              <a:extLst>
                <a:ext uri="{FF2B5EF4-FFF2-40B4-BE49-F238E27FC236}">
                  <a16:creationId xmlns:a16="http://schemas.microsoft.com/office/drawing/2014/main" id="{E2A44A31-752D-46FF-9009-6E8142245BEE}"/>
                </a:ext>
              </a:extLst>
            </p:cNvPr>
            <p:cNvCxnSpPr/>
            <p:nvPr/>
          </p:nvCxnSpPr>
          <p:spPr>
            <a:xfrm flipH="1" flipV="1">
              <a:off x="795395" y="2934586"/>
              <a:ext cx="1977655" cy="10633"/>
            </a:xfrm>
            <a:prstGeom prst="line">
              <a:avLst/>
            </a:prstGeom>
            <a:ln>
              <a:solidFill>
                <a:srgbClr val="36C746"/>
              </a:solidFill>
            </a:ln>
          </p:spPr>
          <p:style>
            <a:lnRef idx="2">
              <a:schemeClr val="dk1"/>
            </a:lnRef>
            <a:fillRef idx="0">
              <a:schemeClr val="dk1"/>
            </a:fillRef>
            <a:effectRef idx="1">
              <a:schemeClr val="dk1"/>
            </a:effectRef>
            <a:fontRef idx="minor">
              <a:schemeClr val="tx1"/>
            </a:fontRef>
          </p:style>
        </p:cxnSp>
        <p:cxnSp>
          <p:nvCxnSpPr>
            <p:cNvPr id="59" name="Straight Connector 58">
              <a:extLst>
                <a:ext uri="{FF2B5EF4-FFF2-40B4-BE49-F238E27FC236}">
                  <a16:creationId xmlns:a16="http://schemas.microsoft.com/office/drawing/2014/main" id="{E1EA1D67-3322-4FDF-8A06-6FDF2A051A9D}"/>
                </a:ext>
              </a:extLst>
            </p:cNvPr>
            <p:cNvCxnSpPr/>
            <p:nvPr/>
          </p:nvCxnSpPr>
          <p:spPr>
            <a:xfrm flipH="1">
              <a:off x="2283396" y="2955851"/>
              <a:ext cx="2604" cy="287426"/>
            </a:xfrm>
            <a:prstGeom prst="line">
              <a:avLst/>
            </a:prstGeom>
            <a:ln>
              <a:solidFill>
                <a:srgbClr val="36C746"/>
              </a:solidFill>
            </a:ln>
          </p:spPr>
          <p:style>
            <a:lnRef idx="2">
              <a:schemeClr val="dk1"/>
            </a:lnRef>
            <a:fillRef idx="0">
              <a:schemeClr val="dk1"/>
            </a:fillRef>
            <a:effectRef idx="1">
              <a:schemeClr val="dk1"/>
            </a:effectRef>
            <a:fontRef idx="minor">
              <a:schemeClr val="tx1"/>
            </a:fontRef>
          </p:style>
        </p:cxnSp>
        <p:cxnSp>
          <p:nvCxnSpPr>
            <p:cNvPr id="60" name="Straight Connector 59">
              <a:extLst>
                <a:ext uri="{FF2B5EF4-FFF2-40B4-BE49-F238E27FC236}">
                  <a16:creationId xmlns:a16="http://schemas.microsoft.com/office/drawing/2014/main" id="{C6CD7F08-9481-4E00-9BD0-71AC497E83C7}"/>
                </a:ext>
              </a:extLst>
            </p:cNvPr>
            <p:cNvCxnSpPr/>
            <p:nvPr/>
          </p:nvCxnSpPr>
          <p:spPr>
            <a:xfrm flipH="1">
              <a:off x="1585197" y="2934586"/>
              <a:ext cx="9693" cy="540000"/>
            </a:xfrm>
            <a:prstGeom prst="line">
              <a:avLst/>
            </a:prstGeom>
            <a:ln>
              <a:solidFill>
                <a:srgbClr val="36C746"/>
              </a:solidFill>
            </a:ln>
          </p:spPr>
          <p:style>
            <a:lnRef idx="2">
              <a:schemeClr val="dk1"/>
            </a:lnRef>
            <a:fillRef idx="0">
              <a:schemeClr val="dk1"/>
            </a:fillRef>
            <a:effectRef idx="1">
              <a:schemeClr val="dk1"/>
            </a:effectRef>
            <a:fontRef idx="minor">
              <a:schemeClr val="tx1"/>
            </a:fontRef>
          </p:style>
        </p:cxnSp>
        <p:pic>
          <p:nvPicPr>
            <p:cNvPr id="61" name="Picture 1">
              <a:extLst>
                <a:ext uri="{FF2B5EF4-FFF2-40B4-BE49-F238E27FC236}">
                  <a16:creationId xmlns:a16="http://schemas.microsoft.com/office/drawing/2014/main" id="{B6DE2D79-3DAC-4B39-9D8F-CF256057E1D9}"/>
                </a:ext>
              </a:extLst>
            </p:cNvPr>
            <p:cNvPicPr>
              <a:picLocks noChangeAspect="1" noChangeArrowheads="1"/>
            </p:cNvPicPr>
            <p:nvPr/>
          </p:nvPicPr>
          <p:blipFill>
            <a:blip r:embed="rId7" cstate="email"/>
            <a:srcRect/>
            <a:stretch>
              <a:fillRect/>
            </a:stretch>
          </p:blipFill>
          <p:spPr bwMode="auto">
            <a:xfrm>
              <a:off x="828230" y="3472495"/>
              <a:ext cx="473156" cy="703910"/>
            </a:xfrm>
            <a:prstGeom prst="rect">
              <a:avLst/>
            </a:prstGeom>
            <a:noFill/>
            <a:ln w="9525">
              <a:noFill/>
              <a:miter lim="800000"/>
              <a:headEnd/>
              <a:tailEnd/>
            </a:ln>
          </p:spPr>
        </p:pic>
        <p:cxnSp>
          <p:nvCxnSpPr>
            <p:cNvPr id="63" name="Straight Connector 62">
              <a:extLst>
                <a:ext uri="{FF2B5EF4-FFF2-40B4-BE49-F238E27FC236}">
                  <a16:creationId xmlns:a16="http://schemas.microsoft.com/office/drawing/2014/main" id="{2FF943CC-7A63-4079-A5C6-D3204EDA71AF}"/>
                </a:ext>
              </a:extLst>
            </p:cNvPr>
            <p:cNvCxnSpPr/>
            <p:nvPr/>
          </p:nvCxnSpPr>
          <p:spPr>
            <a:xfrm flipH="1">
              <a:off x="929523" y="2948763"/>
              <a:ext cx="9693" cy="540000"/>
            </a:xfrm>
            <a:prstGeom prst="line">
              <a:avLst/>
            </a:prstGeom>
            <a:ln>
              <a:solidFill>
                <a:srgbClr val="36C746"/>
              </a:solidFill>
            </a:ln>
          </p:spPr>
          <p:style>
            <a:lnRef idx="2">
              <a:schemeClr val="dk1"/>
            </a:lnRef>
            <a:fillRef idx="0">
              <a:schemeClr val="dk1"/>
            </a:fillRef>
            <a:effectRef idx="1">
              <a:schemeClr val="dk1"/>
            </a:effectRef>
            <a:fontRef idx="minor">
              <a:schemeClr val="tx1"/>
            </a:fontRef>
          </p:style>
        </p:cxnSp>
      </p:grpSp>
      <p:sp>
        <p:nvSpPr>
          <p:cNvPr id="72" name="Rectangle 71">
            <a:extLst>
              <a:ext uri="{FF2B5EF4-FFF2-40B4-BE49-F238E27FC236}">
                <a16:creationId xmlns:a16="http://schemas.microsoft.com/office/drawing/2014/main" id="{21B09BA6-4766-4886-B156-76860172E18D}"/>
              </a:ext>
            </a:extLst>
          </p:cNvPr>
          <p:cNvSpPr/>
          <p:nvPr/>
        </p:nvSpPr>
        <p:spPr>
          <a:xfrm>
            <a:off x="5268116" y="3755599"/>
            <a:ext cx="2735288" cy="297454"/>
          </a:xfrm>
          <a:prstGeom prst="rect">
            <a:avLst/>
          </a:prstGeom>
        </p:spPr>
        <p:txBody>
          <a:bodyPr wrap="square">
            <a:spAutoFit/>
          </a:bodyPr>
          <a:lstStyle/>
          <a:p>
            <a:pPr lvl="0" algn="ctr"/>
            <a:r>
              <a:rPr lang="en-US" sz="1333" dirty="0">
                <a:solidFill>
                  <a:schemeClr val="bg2"/>
                </a:solidFill>
              </a:rPr>
              <a:t>Open Ethernet protocol</a:t>
            </a:r>
          </a:p>
        </p:txBody>
      </p:sp>
      <p:sp>
        <p:nvSpPr>
          <p:cNvPr id="2" name="Rectangle 1">
            <a:extLst>
              <a:ext uri="{FF2B5EF4-FFF2-40B4-BE49-F238E27FC236}">
                <a16:creationId xmlns:a16="http://schemas.microsoft.com/office/drawing/2014/main" id="{2E6BA25B-67E9-4136-A5D4-15630F48C47A}"/>
              </a:ext>
            </a:extLst>
          </p:cNvPr>
          <p:cNvSpPr/>
          <p:nvPr/>
        </p:nvSpPr>
        <p:spPr>
          <a:xfrm>
            <a:off x="2390544" y="1869591"/>
            <a:ext cx="9075122" cy="461665"/>
          </a:xfrm>
          <a:prstGeom prst="rect">
            <a:avLst/>
          </a:prstGeom>
        </p:spPr>
        <p:txBody>
          <a:bodyPr wrap="square">
            <a:spAutoFit/>
          </a:bodyPr>
          <a:lstStyle/>
          <a:p>
            <a:r>
              <a:rPr lang="en-US" sz="2400" b="1" dirty="0" err="1"/>
              <a:t>Solutie</a:t>
            </a:r>
            <a:r>
              <a:rPr lang="en-US" sz="2400" b="1" dirty="0"/>
              <a:t> </a:t>
            </a:r>
            <a:r>
              <a:rPr lang="en-US" sz="2400" b="1" dirty="0" err="1"/>
              <a:t>simpla</a:t>
            </a:r>
            <a:r>
              <a:rPr lang="en-US" sz="2400" b="1" dirty="0"/>
              <a:t> </a:t>
            </a:r>
            <a:r>
              <a:rPr lang="en-US" sz="2400" b="1" dirty="0" err="1"/>
              <a:t>si</a:t>
            </a:r>
            <a:r>
              <a:rPr lang="en-US" sz="2400" b="1" dirty="0"/>
              <a:t> </a:t>
            </a:r>
            <a:r>
              <a:rPr lang="en-US" sz="2400" b="1" dirty="0" err="1"/>
              <a:t>deschisa</a:t>
            </a:r>
            <a:r>
              <a:rPr lang="en-US" sz="2400" b="1" dirty="0"/>
              <a:t>, </a:t>
            </a:r>
            <a:r>
              <a:rPr lang="en-US" sz="2400" b="1" dirty="0" err="1"/>
              <a:t>bazata</a:t>
            </a:r>
            <a:r>
              <a:rPr lang="en-US" sz="2400" b="1" dirty="0"/>
              <a:t> </a:t>
            </a:r>
            <a:r>
              <a:rPr lang="en-US" sz="2400" b="1" dirty="0" err="1"/>
              <a:t>pe</a:t>
            </a:r>
            <a:r>
              <a:rPr lang="en-US" sz="2400" b="1" dirty="0"/>
              <a:t> </a:t>
            </a:r>
            <a:r>
              <a:rPr lang="en-US" sz="2400" b="1" dirty="0" err="1"/>
              <a:t>echipamente</a:t>
            </a:r>
            <a:r>
              <a:rPr lang="en-US" sz="2400" b="1" dirty="0"/>
              <a:t> </a:t>
            </a:r>
            <a:r>
              <a:rPr lang="en-US" sz="2400" b="1" dirty="0" err="1"/>
              <a:t>conectate</a:t>
            </a:r>
            <a:endParaRPr lang="en-US" sz="2400" b="1" dirty="0"/>
          </a:p>
        </p:txBody>
      </p:sp>
    </p:spTree>
    <p:extLst>
      <p:ext uri="{BB962C8B-B14F-4D97-AF65-F5344CB8AC3E}">
        <p14:creationId xmlns:p14="http://schemas.microsoft.com/office/powerpoint/2010/main" val="20142305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_Presentation_Template_16x9_BETA_PPD1">
  <a:themeElements>
    <a:clrScheme name="Schneider Electric">
      <a:dk1>
        <a:srgbClr val="87D200"/>
      </a:dk1>
      <a:lt1>
        <a:sysClr val="window" lastClr="FFFFFF"/>
      </a:lt1>
      <a:dk2>
        <a:srgbClr val="009530"/>
      </a:dk2>
      <a:lt2>
        <a:srgbClr val="4FA600"/>
      </a:lt2>
      <a:accent1>
        <a:srgbClr val="FFD100"/>
      </a:accent1>
      <a:accent2>
        <a:srgbClr val="E47F00"/>
      </a:accent2>
      <a:accent3>
        <a:srgbClr val="B10043"/>
      </a:accent3>
      <a:accent4>
        <a:srgbClr val="42B4E6"/>
      </a:accent4>
      <a:accent5>
        <a:srgbClr val="626469"/>
      </a:accent5>
      <a:accent6>
        <a:srgbClr val="9FA0A4"/>
      </a:accent6>
      <a:hlink>
        <a:srgbClr val="116082"/>
      </a:hlink>
      <a:folHlink>
        <a:srgbClr val="5F00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FA0A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rgbClr val="626469"/>
            </a:solidFill>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1_SE_Presentation_Template_16x9_BETA_PPD1">
  <a:themeElements>
    <a:clrScheme name="Schneider Electric">
      <a:dk1>
        <a:srgbClr val="87D200"/>
      </a:dk1>
      <a:lt1>
        <a:sysClr val="window" lastClr="FFFFFF"/>
      </a:lt1>
      <a:dk2>
        <a:srgbClr val="009530"/>
      </a:dk2>
      <a:lt2>
        <a:srgbClr val="4FA600"/>
      </a:lt2>
      <a:accent1>
        <a:srgbClr val="FFD100"/>
      </a:accent1>
      <a:accent2>
        <a:srgbClr val="E47F00"/>
      </a:accent2>
      <a:accent3>
        <a:srgbClr val="B10043"/>
      </a:accent3>
      <a:accent4>
        <a:srgbClr val="42B4E6"/>
      </a:accent4>
      <a:accent5>
        <a:srgbClr val="626469"/>
      </a:accent5>
      <a:accent6>
        <a:srgbClr val="9FA0A4"/>
      </a:accent6>
      <a:hlink>
        <a:srgbClr val="116082"/>
      </a:hlink>
      <a:folHlink>
        <a:srgbClr val="5F00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FA0A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rgbClr val="626469"/>
            </a:solidFill>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blank">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Schneider Title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SE16_16x9_LIO_TextOnly">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Schneider Title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6_Présentation Schneider Electric">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1782</TotalTime>
  <Words>2273</Words>
  <Application>Microsoft Office PowerPoint</Application>
  <PresentationFormat>Custom</PresentationFormat>
  <Paragraphs>403</Paragraphs>
  <Slides>21</Slides>
  <Notes>18</Notes>
  <HiddenSlides>0</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21</vt:i4>
      </vt:variant>
    </vt:vector>
  </HeadingPairs>
  <TitlesOfParts>
    <vt:vector size="44" baseType="lpstr">
      <vt:lpstr>Arial Unicode MS</vt:lpstr>
      <vt:lpstr>ＭＳ Ｐゴシック</vt:lpstr>
      <vt:lpstr>宋体</vt:lpstr>
      <vt:lpstr>Andalus</vt:lpstr>
      <vt:lpstr>Arial</vt:lpstr>
      <vt:lpstr>Arial MT Pro</vt:lpstr>
      <vt:lpstr>Arial Rounded MT Std</vt:lpstr>
      <vt:lpstr>Arial Rounded MT Std Light</vt:lpstr>
      <vt:lpstr>Calibri</vt:lpstr>
      <vt:lpstr>Lucida Grande</vt:lpstr>
      <vt:lpstr>SE Rounded Medium</vt:lpstr>
      <vt:lpstr>SEOptimist</vt:lpstr>
      <vt:lpstr>SEOptimistBlack</vt:lpstr>
      <vt:lpstr>Times New Roman</vt:lpstr>
      <vt:lpstr>Wingdings</vt:lpstr>
      <vt:lpstr>SE_Presentation_Template_16x9_BETA_PPD1</vt:lpstr>
      <vt:lpstr>1_SE_Presentation_Template_16x9_BETA_PPD1</vt:lpstr>
      <vt:lpstr>blank</vt:lpstr>
      <vt:lpstr>Schneider Title Slides</vt:lpstr>
      <vt:lpstr>SE16_16x9_LIO_TextOnly</vt:lpstr>
      <vt:lpstr>1_Schneider Title Slides</vt:lpstr>
      <vt:lpstr>16_Présentation Schneider Electric</vt:lpstr>
      <vt:lpstr>think-cell Slide</vt:lpstr>
      <vt:lpstr>PowerPoint Presentation</vt:lpstr>
      <vt:lpstr>PowerPoint Presentation</vt:lpstr>
      <vt:lpstr>Noile  standarde privind nivelul performantelor de consum pentru cladiri noi si in curs de renovare</vt:lpstr>
      <vt:lpstr>PowerPoint Presentation</vt:lpstr>
      <vt:lpstr>PowerPoint Presentation</vt:lpstr>
      <vt:lpstr>PowerPoint Presentation</vt:lpstr>
      <vt:lpstr>  “Ce nu masuram nu putem optimiza”     Propunerea noastra - solutii care conduc la:</vt:lpstr>
      <vt:lpstr>PowerPoint Presentation</vt:lpstr>
      <vt:lpstr>PowerPoint Presentation</vt:lpstr>
      <vt:lpstr>Concret… Echipamente de distributie de energie de medie si joasa tensiune inteligent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chneider Electr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urt</dc:creator>
  <cp:lastModifiedBy>Mihaela GUSA</cp:lastModifiedBy>
  <cp:revision>926</cp:revision>
  <dcterms:created xsi:type="dcterms:W3CDTF">2014-01-15T00:33:44Z</dcterms:created>
  <dcterms:modified xsi:type="dcterms:W3CDTF">2018-02-27T20:53:16Z</dcterms:modified>
</cp:coreProperties>
</file>